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7"/>
  </p:notesMasterIdLst>
  <p:handoutMasterIdLst>
    <p:handoutMasterId r:id="rId38"/>
  </p:handoutMasterIdLst>
  <p:sldIdLst>
    <p:sldId id="586" r:id="rId2"/>
    <p:sldId id="588" r:id="rId3"/>
    <p:sldId id="644" r:id="rId4"/>
    <p:sldId id="562" r:id="rId5"/>
    <p:sldId id="611" r:id="rId6"/>
    <p:sldId id="564" r:id="rId7"/>
    <p:sldId id="565" r:id="rId8"/>
    <p:sldId id="566" r:id="rId9"/>
    <p:sldId id="612" r:id="rId10"/>
    <p:sldId id="613" r:id="rId11"/>
    <p:sldId id="614" r:id="rId12"/>
    <p:sldId id="615" r:id="rId13"/>
    <p:sldId id="616" r:id="rId14"/>
    <p:sldId id="617" r:id="rId15"/>
    <p:sldId id="618" r:id="rId16"/>
    <p:sldId id="619" r:id="rId17"/>
    <p:sldId id="620" r:id="rId18"/>
    <p:sldId id="621" r:id="rId19"/>
    <p:sldId id="622" r:id="rId20"/>
    <p:sldId id="623" r:id="rId21"/>
    <p:sldId id="599" r:id="rId22"/>
    <p:sldId id="580" r:id="rId23"/>
    <p:sldId id="635" r:id="rId24"/>
    <p:sldId id="636" r:id="rId25"/>
    <p:sldId id="637" r:id="rId26"/>
    <p:sldId id="638" r:id="rId27"/>
    <p:sldId id="639" r:id="rId28"/>
    <p:sldId id="582" r:id="rId29"/>
    <p:sldId id="642" r:id="rId30"/>
    <p:sldId id="643" r:id="rId31"/>
    <p:sldId id="632" r:id="rId32"/>
    <p:sldId id="640" r:id="rId33"/>
    <p:sldId id="641" r:id="rId34"/>
    <p:sldId id="626" r:id="rId35"/>
    <p:sldId id="628" r:id="rId36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аниел Сержанулы" initials="ДС" lastIdx="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7321"/>
    <a:srgbClr val="C4F42C"/>
    <a:srgbClr val="E41AA1"/>
    <a:srgbClr val="777777"/>
    <a:srgbClr val="3F266C"/>
    <a:srgbClr val="CC66FF"/>
    <a:srgbClr val="41A151"/>
    <a:srgbClr val="FFFF21"/>
    <a:srgbClr val="EA5C5C"/>
    <a:srgbClr val="EE86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46F890A9-2807-4EBB-B81D-B2AA78EC7F39}" styleName="Темный стиль 2 —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35" autoAdjust="0"/>
    <p:restoredTop sz="92405" autoAdjust="0"/>
  </p:normalViewPr>
  <p:slideViewPr>
    <p:cSldViewPr snapToGrid="0" showGuides="1">
      <p:cViewPr>
        <p:scale>
          <a:sx n="100" d="100"/>
          <a:sy n="100" d="100"/>
        </p:scale>
        <p:origin x="858" y="96"/>
      </p:cViewPr>
      <p:guideLst>
        <p:guide orient="horz" pos="2115"/>
        <p:guide pos="3840"/>
      </p:guideLst>
    </p:cSldViewPr>
  </p:slideViewPr>
  <p:notesTextViewPr>
    <p:cViewPr>
      <p:scale>
        <a:sx n="75" d="100"/>
        <a:sy n="7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ommentAuthors" Target="commentAuthor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A67503-12F3-47FB-805E-F6B1C7473CB8}" type="datetimeFigureOut">
              <a:rPr lang="ru-RU" smtClean="0"/>
              <a:pPr/>
              <a:t>27.05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E360DF-657F-4311-983E-E480C187629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72578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>
              <a:defRPr sz="1200"/>
            </a:lvl1pPr>
          </a:lstStyle>
          <a:p>
            <a:fld id="{B2D64BE5-640F-43AB-9F6B-1593F682D594}" type="datetimeFigureOut">
              <a:rPr lang="ru-RU" smtClean="0"/>
              <a:pPr/>
              <a:t>27.05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3" tIns="45717" rIns="91433" bIns="4571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33" tIns="45717" rIns="91433" bIns="45717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>
              <a:defRPr sz="1200"/>
            </a:lvl1pPr>
          </a:lstStyle>
          <a:p>
            <a:fld id="{2086F18F-82B4-4841-9BAF-EB0DBF98FDA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90666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ru.wikipedia.org/wiki/%D0%A2%D1%83%D1%80%D0%B8%D0%B7%D0%BC" TargetMode="External"/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ru.wikipedia.org/wiki/%D0%9D%D0%B5%D0%BC%D0%B5%D1%86%D0%BA%D0%B8%D0%B9_%D1%8F%D0%B7%D1%8B%D0%BA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емой Международной специализированной выставки ЭКСПО-2017 выбрана «Энергия Будущего». Она созвучна с зеленой экономикой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е случайно на 70-й сессии Генеральная Ассамблея ООН провозгласила 2017 год «Международным годом устойчивого туризма в интересах развития».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ами достигнута договоренность об организации конференции UNWTO на тему: «Туризм и энергия будущего» в период проведения ЭКСПО-2017 в г.Астане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D29937-2CBD-F74A-8304-7B4B4DE5482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11431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ХОЛЛ ЭНЕРГИИ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концертный зал (1 тыс. посадочных мест), предназначенный для спектаклей всех видов современного исполнительского искусства и форума «Энергия будущего»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данной площадке планируется организация Форума «Энергия будущего» (46 дней), вместе с тем, предусматривается проведение порядка 13 крупных международных форумов и конференций (различными государственными органами)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реди культурных мероприятий, определены знаковые, такие, как фестиваль «Джаз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онтре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» (1 неделя), «Парад оркестров» (1 раз в месяц по 3 дня), гастроли симфонического оркестра Алматы под управлением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.Бисенгалиева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1 раз в месяц по 3 дня)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6F18F-82B4-4841-9BAF-EB0DBF98FDA4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97767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PO PLAZA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ЭКСПО ПЛАЗА)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легко-разборной сцена, для проведения концертов в рамках Национальных дней Официальных участников (пятно «К-1», до 300 посадочных мест). Открытая сцена 300 мест, посвящена для проведения национальных дней официальных участников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ЦИОНАЛЬНЫЙ ДЕНЬ ОФИЦИАЛЬНЫХ УЧАСТНИКОВ </a:t>
            </a: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ЕРОПРИЯТИЯ ТРАДИЦОННОЙ МУЗЫКИ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на протяжении работы Выставки предлагается использовать данную сцену для организации фестиваля этнической музыки «Тенгри», а также концертов фольклорных коллективов регионов Казахстана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6F18F-82B4-4841-9BAF-EB0DBF98FDA4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32790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РТ-ЦЕНТР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- многофункциональное выставочное пространство с гибкой планировочной структурой. Проходимость - до 1 тыс. чел. в час. Предназначено для проведения мероприятий официальных участников, выставок современного искусства, образовательных мастер-классов, лекций для широкой аудитории, детской и интерактивной программы. ВРЕМЕННАЯ КОНСТРУКЦИЯ 500-600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ДОСТУПНО ДЛЯ ОФИЦИАЛЬНЫХ УЧАСТНИКОВ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странство Арт центра будет разделено на 4 блока: 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ыставочное пространство;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етский творческий центр;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ал для проведения специальных мероприятий участников (национальных дней);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Зоны отдыха, кафе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ая площадка будет функционировать по примеру таких известных современных центров, как Тейт Модерн (Лондон), МСИ «Гараж» (Москва), МОМА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S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 (Нью-Йорк).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течение 93 дней планируется проведение не менее 3 крупных международных выставок, посвященных теме «Энергия будущего» (паблик-арт, мультимедийные инсталляции и др.), создание уникальной интерактивной, образовательной программы для широкой аудитории, кинопоказы, интерактивные лекции.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рограмме детского творческого центра предусмотрены открытые творческие мастерские (живопись, скульптура, фотография, дизайн, архитектура), образовательные курсы и мастер-классы, развлекательные программы и игры. Странам-участницам будет предлагаться возможность организации специальных тематических мероприятий (национальных дней)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ЫСТАВКА СОВРЕМЕННОГО ИСКУССТВА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БРАЗОВАТЕЛЬНЫЕ МЕРОПРИЯТИЯ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ВОРЧЕСКИЙ ЦЕНТР ДЛЯ ДЕТЕЙ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6F18F-82B4-4841-9BAF-EB0DBF98FDA4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32452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График</a:t>
            </a:r>
            <a:r>
              <a:rPr lang="ru-RU" baseline="0" dirty="0" smtClean="0"/>
              <a:t> одного дн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6F18F-82B4-4841-9BAF-EB0DBF98FDA4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68411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Формируется календарь</a:t>
            </a:r>
            <a:r>
              <a:rPr lang="ru-RU" baseline="0" dirty="0" smtClean="0"/>
              <a:t> событийных мероприятий.</a:t>
            </a:r>
          </a:p>
          <a:p>
            <a:r>
              <a:rPr lang="ru-RU" baseline="0" dirty="0" smtClean="0"/>
              <a:t>На слайде вы можете увидеть график по примеру </a:t>
            </a:r>
            <a:r>
              <a:rPr lang="ru-RU" baseline="0" dirty="0" err="1" smtClean="0"/>
              <a:t>г.Астана</a:t>
            </a:r>
            <a:r>
              <a:rPr lang="ru-RU" baseline="0" dirty="0" smtClean="0"/>
              <a:t>, куда на сегодняшний день вошли 35 событийных мероприятий. Также планируются специальные мероприятия для школьников: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 Light" pitchFamily="34" charset="-52"/>
              </a:rPr>
              <a:t>конкурсы, олимпиады, форумы, конференции, фестивали и акции в г. Астана и на пяти площадках ЭКСПО-2017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ланируется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организация летнего каникулярного отдыха детей с включением различных мероприятий по ознакомлению с ЭКСПО-2017: конкурсы, </a:t>
            </a:r>
            <a:r>
              <a:rPr lang="ru-RU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правтакиад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6F18F-82B4-4841-9BAF-EB0DBF98FDA4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25271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7346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мимо Астаны, экономический эффект ЭКСПО мы будем распространять и на другие регионы.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ля этого формируются туристские маршруты РК с посещением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г.Астана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 Выставки. </a:t>
            </a: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5734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fld id="{56283D2F-F92B-4DC1-8483-097CC02A9C0E}" type="slidenum">
              <a:rPr lang="ru-RU" altLang="ru-RU">
                <a:solidFill>
                  <a:srgbClr val="000000"/>
                </a:solidFill>
              </a:rPr>
              <a:pPr/>
              <a:t>16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7388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MS PGothic" panose="020B0600070205080204" pitchFamily="34" charset="-128"/>
                <a:cs typeface="+mn-cs"/>
              </a:rPr>
              <a:t>Last year we have launched the program “Recommended by EXPO” inviting hotels, logistic and tourist companies, restaurants and others to participate in it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D29937-2CBD-F74A-8304-7B4B4DE5482B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55106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ритерий для </a:t>
            </a:r>
            <a:r>
              <a:rPr lang="ru-RU" dirty="0" err="1" smtClean="0"/>
              <a:t>турмаршрутов</a:t>
            </a:r>
            <a:endParaRPr lang="ru-RU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сновное:</a:t>
            </a:r>
            <a:r>
              <a:rPr lang="ru-RU" baseline="0" dirty="0" smtClean="0"/>
              <a:t>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посещение </a:t>
            </a:r>
            <a:r>
              <a:rPr lang="ru-RU" dirty="0" err="1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г.Астана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 и ЭКСПО-2017</a:t>
            </a:r>
          </a:p>
          <a:p>
            <a:r>
              <a:rPr lang="ru-RU" dirty="0" smtClean="0"/>
              <a:t>Инфраструктурные:</a:t>
            </a:r>
            <a:r>
              <a:rPr lang="ru-RU" baseline="0" dirty="0" smtClean="0"/>
              <a:t>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наличие подъездных дорог, указателей к </a:t>
            </a:r>
            <a:r>
              <a:rPr lang="ru-RU" dirty="0" err="1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туробъектам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, аудиогидов, приемников синхронного перевода.</a:t>
            </a:r>
            <a:r>
              <a:rPr lang="ru-RU" baseline="0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 </a:t>
            </a: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F75D40-B178-40F0-BEC6-7834698FB956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07602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ритерий для </a:t>
            </a:r>
            <a:r>
              <a:rPr lang="ru-RU" dirty="0" err="1" smtClean="0"/>
              <a:t>турмаршрутов</a:t>
            </a:r>
            <a:endParaRPr lang="ru-RU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сновное:</a:t>
            </a:r>
            <a:r>
              <a:rPr lang="ru-RU" baseline="0" dirty="0" smtClean="0"/>
              <a:t>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посещение </a:t>
            </a:r>
            <a:r>
              <a:rPr lang="ru-RU" dirty="0" err="1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г.Астана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 и ЭКСПО-2017</a:t>
            </a:r>
          </a:p>
          <a:p>
            <a:r>
              <a:rPr lang="ru-RU" dirty="0" smtClean="0"/>
              <a:t>Инфраструктурные:</a:t>
            </a:r>
            <a:r>
              <a:rPr lang="ru-RU" baseline="0" dirty="0" smtClean="0"/>
              <a:t>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наличие подъездных дорог, указателей к </a:t>
            </a:r>
            <a:r>
              <a:rPr lang="ru-RU" dirty="0" err="1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туробъектам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, аудиогидов, приемников синхронного перевода.</a:t>
            </a:r>
            <a:r>
              <a:rPr lang="ru-RU" baseline="0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 </a:t>
            </a: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F75D40-B178-40F0-BEC6-7834698FB956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865623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ритерий для </a:t>
            </a:r>
            <a:r>
              <a:rPr lang="ru-RU" dirty="0" err="1" smtClean="0"/>
              <a:t>турмаршрутов</a:t>
            </a:r>
            <a:endParaRPr lang="ru-RU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Основное:</a:t>
            </a:r>
            <a:r>
              <a:rPr lang="ru-RU" baseline="0" dirty="0" smtClean="0"/>
              <a:t>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посещение </a:t>
            </a:r>
            <a:r>
              <a:rPr lang="ru-RU" dirty="0" err="1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г.Астана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 и ЭКСПО-2017</a:t>
            </a:r>
          </a:p>
          <a:p>
            <a:r>
              <a:rPr lang="ru-RU" dirty="0" smtClean="0"/>
              <a:t>Инфраструктурные:</a:t>
            </a:r>
            <a:r>
              <a:rPr lang="ru-RU" baseline="0" dirty="0" smtClean="0"/>
              <a:t>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наличие подъездных дорог, указателей к </a:t>
            </a:r>
            <a:r>
              <a:rPr lang="ru-RU" dirty="0" err="1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туробъектам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, аудиогидов, приемников синхронного перевода.</a:t>
            </a:r>
            <a:r>
              <a:rPr lang="ru-RU" baseline="0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 </a:t>
            </a: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F75D40-B178-40F0-BEC6-7834698FB956}" type="slidenum">
              <a:rPr lang="ru-RU" smtClean="0"/>
              <a:pPr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42597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ыставка будет проходить в течение 93 дней с 10 июня по 10 сентября 2017 года. Мы прогнозируем порядка 5 млн. посещений внутренних и иностранных посетителей. </a:t>
            </a:r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D29937-2CBD-F74A-8304-7B4B4DE5482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088753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Для повышения квалификации персонала необходимо проведение</a:t>
            </a:r>
            <a:r>
              <a:rPr lang="ru-RU" baseline="0" dirty="0" smtClean="0"/>
              <a:t> тренингов для 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гостиничного сектора,</a:t>
            </a:r>
            <a:r>
              <a:rPr lang="ru-RU" sz="1200" baseline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культурно-досуговых учреждений</a:t>
            </a:r>
            <a:r>
              <a:rPr lang="ru-RU" sz="1200" baseline="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и сопутствующих сфер: 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такси, пограничная служба, миграционная служба</a:t>
            </a:r>
          </a:p>
          <a:p>
            <a:endParaRPr lang="ru-RU" dirty="0" smtClean="0"/>
          </a:p>
          <a:p>
            <a:r>
              <a:rPr lang="ru-RU" dirty="0" smtClean="0"/>
              <a:t>Правительством разработана</a:t>
            </a:r>
            <a:r>
              <a:rPr lang="ru-RU" baseline="0" dirty="0" smtClean="0"/>
              <a:t> Дорожная карта занятости 2020, в рамках которой предусмотрено подготовка персонала для ЭКСПО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6F18F-82B4-4841-9BAF-EB0DBF98FDA4}" type="slidenum">
              <a:rPr lang="ru-RU" smtClean="0"/>
              <a:pPr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984833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оведена работа по привлечению волонтерской программы из Германии повышения</a:t>
            </a:r>
            <a:r>
              <a:rPr lang="ru-RU" baseline="0" dirty="0" smtClean="0"/>
              <a:t> квалификации персонала сферы услуг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6F18F-82B4-4841-9BAF-EB0DBF98FDA4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087297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 г. Астана</a:t>
            </a:r>
            <a:r>
              <a:rPr lang="ru-RU" baseline="0" dirty="0" smtClean="0"/>
              <a:t> пилотно внедряется система указателей, для ориентирования туристов. Также, на экране вы сможете увидеть мировой опыт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6F18F-82B4-4841-9BAF-EB0DBF98FDA4}" type="slidenum">
              <a:rPr lang="ru-RU" smtClean="0"/>
              <a:pPr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932024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 итогам</a:t>
            </a:r>
            <a:r>
              <a:rPr lang="ru-RU" baseline="0" dirty="0" smtClean="0"/>
              <a:t> инвентаризации </a:t>
            </a:r>
            <a:r>
              <a:rPr lang="ru-RU" baseline="0" dirty="0" err="1" smtClean="0"/>
              <a:t>Акиматом</a:t>
            </a:r>
            <a:r>
              <a:rPr lang="ru-RU" baseline="0" dirty="0" smtClean="0"/>
              <a:t> должен быть прията программа по улучшению туристских объектов, включенных в туристские маршруты. Например, обеспечение аудиогидами музеев и основных туристских объектов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6F18F-82B4-4841-9BAF-EB0DBF98FDA4}" type="slidenum">
              <a:rPr lang="ru-RU" smtClean="0"/>
              <a:pPr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653408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еобходимо</a:t>
            </a:r>
            <a:r>
              <a:rPr lang="ru-RU" baseline="0" dirty="0" smtClean="0"/>
              <a:t> повышение осведомленности населения и бизнеса о туристских возможностях в рамках ЭКСПО-2017. Для этого просим </a:t>
            </a:r>
            <a:r>
              <a:rPr lang="ru-RU" baseline="0" dirty="0" err="1" smtClean="0"/>
              <a:t>Акимат</a:t>
            </a:r>
            <a:r>
              <a:rPr lang="ru-RU" baseline="0" dirty="0" smtClean="0"/>
              <a:t> проводить различные туристские мероприятия. Участвовать в мероприятиях, </a:t>
            </a:r>
            <a:r>
              <a:rPr lang="ru-RU" baseline="0" dirty="0" err="1" smtClean="0"/>
              <a:t>органзиуемых</a:t>
            </a:r>
            <a:r>
              <a:rPr lang="ru-RU" baseline="0" dirty="0" smtClean="0"/>
              <a:t> Национальной компанией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6F18F-82B4-4841-9BAF-EB0DBF98FDA4}" type="slidenum">
              <a:rPr lang="ru-RU" smtClean="0"/>
              <a:pPr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144838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еобходимо</a:t>
            </a:r>
            <a:r>
              <a:rPr lang="ru-RU" baseline="0" dirty="0" smtClean="0"/>
              <a:t> консолидация усилии: </a:t>
            </a:r>
          </a:p>
          <a:p>
            <a:r>
              <a:rPr lang="ru-RU" baseline="0" dirty="0" err="1" smtClean="0"/>
              <a:t>Акимат</a:t>
            </a:r>
            <a:r>
              <a:rPr lang="ru-RU" baseline="0" dirty="0" smtClean="0"/>
              <a:t> обеспечивает производство мультимедийной продукции, проводит постоянные </a:t>
            </a:r>
            <a:r>
              <a:rPr lang="ru-RU" baseline="0" dirty="0" err="1" smtClean="0"/>
              <a:t>исслеования</a:t>
            </a:r>
            <a:r>
              <a:rPr lang="ru-RU" baseline="0" dirty="0" smtClean="0"/>
              <a:t>. </a:t>
            </a:r>
          </a:p>
          <a:p>
            <a:r>
              <a:rPr lang="ru-RU" baseline="0" dirty="0" err="1" smtClean="0"/>
              <a:t>Туркомпаниям</a:t>
            </a:r>
            <a:r>
              <a:rPr lang="ru-RU" baseline="0" dirty="0" smtClean="0"/>
              <a:t> же нужно участвовать в мероприятиях Общества. Нужно обеспечит функционирование сайта на нескольких языках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635FC5-3AFB-4059-BF77-8D0B3350C1C8}" type="slidenum">
              <a:rPr lang="ru-RU" smtClean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995868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ребования к официальным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еселерам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Гарантированный объем продаж: не менее 5000 билетов;</a:t>
            </a:r>
          </a:p>
          <a:p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Маркетингове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вложения: сайт, раздаточные материалы, карты на нескольких языках (казахский, русский, английский, немецкий, японский, фарси);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акетирование (договорные отношения с билетным оператором)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6F18F-82B4-4841-9BAF-EB0DBF98FDA4}" type="slidenum">
              <a:rPr lang="ru-RU" smtClean="0"/>
              <a:pPr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260362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епартаментом продвижения и туризма проводится работа по привлечению посетителей из Российской Федерации, в том числе, из приграничных регионов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итывая, что в 12 приграничных регионах России и Свердловской области проживает более 28 млн. человек, а также тесные социально-экономические связи с Казахстаном, данный целевой рынок представляет особый интерес, с точки зрения привлечения посетителей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этой связи, по Вашему поручению Департаментом составлен проект графика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оуд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шоу в данные регионы. Так, предлагается осуществлять рабочие поездки в период с мая по июль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.г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, начиная с визита Комиссара ЭКСПО-2017 в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г.Астрахань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При этом, основные усилия будут направлены на продвижение Выставки в 5 наиболее индустриально- технологически развитых областях России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 данные мероприятия наряду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с администрацией регионов и российскими </a:t>
            </a:r>
            <a:r>
              <a:rPr lang="ru-RU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уркомпаниями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будут  приглашены СМИ, </a:t>
            </a:r>
            <a:r>
              <a:rPr lang="ru-RU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урблогеры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 лидеры мнений. 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 этом, планируемый общий охват</a:t>
            </a:r>
          </a:p>
          <a:p>
            <a:pPr marL="171450" indent="-171450">
              <a:buFontTx/>
              <a:buChar char="-"/>
            </a:pP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500 туроператоров с общей клиентской базов 10 млн. туристов;</a:t>
            </a:r>
          </a:p>
          <a:p>
            <a:pPr marL="171450" indent="-171450">
              <a:buFontTx/>
              <a:buChar char="-"/>
            </a:pP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0 </a:t>
            </a:r>
            <a:r>
              <a:rPr lang="ru-RU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логеров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лидеров мнений с базой </a:t>
            </a:r>
            <a:r>
              <a:rPr lang="ru-RU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фоллоуеров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 млн. человек.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казахстанской стороны в поездках будут задействованы Астана </a:t>
            </a:r>
            <a:r>
              <a:rPr lang="ru-RU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онвеншн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Бюро, туроператоры Астаны, Алматы и регионов, а также </a:t>
            </a:r>
            <a:r>
              <a:rPr lang="ru-RU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киматы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риграничных регионов РК.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BF395-A915-47DE-AF6D-CEECBBA49BDE}" type="slidenum">
              <a:rPr lang="ru-RU" smtClean="0"/>
              <a:pPr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94018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о апреля 2017 года планируется проведение еще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3 </a:t>
            </a:r>
            <a:r>
              <a:rPr lang="ru-RU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оуд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шоу в 30 городах мира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а в сентябре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.г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запланировано проведение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нфотуро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для 100 иностранных туроператоров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астниками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оуд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шоу являются туроператоры, а также СМИ и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урблогеры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 этом общий охват всех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оуд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шоу: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</a:t>
            </a:r>
            <a:r>
              <a:rPr lang="ru-RU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500 </a:t>
            </a:r>
            <a:r>
              <a:rPr lang="ru-RU" sz="1200" b="1" dirty="0" smtClean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туроператоров с клиентской базой порядка 300 млн. туристов</a:t>
            </a:r>
            <a:r>
              <a:rPr lang="ru-RU" sz="1200" b="1" baseline="0" dirty="0" smtClean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 и </a:t>
            </a:r>
            <a:r>
              <a:rPr lang="ru-RU" sz="1200" b="1" dirty="0" smtClean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1 500 СМИ, </a:t>
            </a:r>
            <a:r>
              <a:rPr lang="ru-RU" sz="1200" b="1" dirty="0" err="1" smtClean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блогеров</a:t>
            </a:r>
            <a:r>
              <a:rPr lang="ru-RU" sz="1200" b="1" dirty="0" smtClean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 с базой читателей 11 млн. человек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dirty="0" smtClean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По итогам</a:t>
            </a:r>
            <a:r>
              <a:rPr lang="ru-RU" sz="1200" b="0" baseline="0" dirty="0" smtClean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 1 этапа </a:t>
            </a:r>
            <a:r>
              <a:rPr lang="ru-RU" sz="1200" b="0" baseline="0" dirty="0" err="1" smtClean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роуд</a:t>
            </a:r>
            <a:r>
              <a:rPr lang="ru-RU" sz="1200" b="0" baseline="0" dirty="0" smtClean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-шоу </a:t>
            </a:r>
            <a:r>
              <a:rPr lang="ru-RU" sz="1200" b="1" baseline="0" dirty="0" smtClean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ТОП 100 </a:t>
            </a:r>
            <a:r>
              <a:rPr lang="ru-RU" sz="1200" b="0" baseline="0" dirty="0" smtClean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туроператоров будут приглашены для участие в </a:t>
            </a:r>
            <a:r>
              <a:rPr lang="ru-RU" sz="1200" b="0" baseline="0" dirty="0" err="1" smtClean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инфотуре</a:t>
            </a:r>
            <a:r>
              <a:rPr lang="ru-RU" sz="1200" b="0" baseline="0" dirty="0" smtClean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 по Казахстану в сентябре </a:t>
            </a:r>
            <a:r>
              <a:rPr lang="ru-RU" sz="1200" b="0" baseline="0" dirty="0" err="1" smtClean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т.г</a:t>
            </a:r>
            <a:r>
              <a:rPr lang="ru-RU" sz="1200" b="0" baseline="0" dirty="0" smtClean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. По итогам </a:t>
            </a:r>
            <a:r>
              <a:rPr lang="ru-RU" sz="1200" b="0" baseline="0" dirty="0" err="1" smtClean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втрого</a:t>
            </a:r>
            <a:r>
              <a:rPr lang="ru-RU" sz="1200" b="0" baseline="0" dirty="0" smtClean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 этапе будут приглашены </a:t>
            </a:r>
            <a:r>
              <a:rPr lang="ru-RU" sz="1200" b="1" baseline="0" dirty="0" smtClean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ТОП 150.</a:t>
            </a:r>
            <a:endParaRPr lang="ru-RU" sz="1200" b="1" dirty="0" smtClean="0">
              <a:solidFill>
                <a:srgbClr val="92D050"/>
              </a:solidFill>
              <a:latin typeface="Neo Sans Pro"/>
              <a:ea typeface="Microsoft JhengHei UI Light" panose="020B0304030504040204" pitchFamily="34" charset="-12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BF395-A915-47DE-AF6D-CEECBBA49BDE}" type="slidenum">
              <a:rPr lang="ru-RU" smtClean="0"/>
              <a:pPr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874985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ля привлечения наибольшего количества туристов, Организатор</a:t>
            </a:r>
            <a:r>
              <a:rPr lang="ru-RU" baseline="0" dirty="0" smtClean="0"/>
              <a:t> регулярно принимает участие в туристских выставках. Так, выставка ЭКСПО-2017 была представлена на выставках в РФ, КНР, Германии, Великобритании, Турции, Дубае, Индии и т.д. Кроме того, нами проводятся </a:t>
            </a:r>
            <a:r>
              <a:rPr lang="ru-RU" baseline="0" dirty="0" err="1" smtClean="0"/>
              <a:t>роуд</a:t>
            </a:r>
            <a:r>
              <a:rPr lang="ru-RU" baseline="0" dirty="0" smtClean="0"/>
              <a:t>-шоу и встречи с туристскими компаниями в зарубежных странах. На слайде вы можете видеть некоторых партнеров из числа международных туристских организации как ЮНВТО, </a:t>
            </a:r>
            <a:r>
              <a:rPr lang="en-US" baseline="0" dirty="0" smtClean="0"/>
              <a:t>PATA</a:t>
            </a:r>
            <a:r>
              <a:rPr lang="ru-RU" baseline="0" dirty="0" smtClean="0"/>
              <a:t>. Также в привлечении посетителей на ЭКСПО-2017 мы сотрудничаем с профессиональными ассоциациями и организациями как Казахстана, так и зарубежных стран (Китая, России, Ю. Кореи, Индии, Азербайджана, Беларуси, Латвии, Швеции). На сегодняшний день, мы работаем с крупнейшими 30 казахстанскими туроператорами и 12 туристскими компаниями Китая, Индии, Ирана, Украины и других стран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635FC5-3AFB-4059-BF77-8D0B3350C1C8}" type="slidenum">
              <a:rPr lang="ru-RU" smtClean="0"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81745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азрабатывается график посещений Выставки жителями регионов РК. </a:t>
            </a:r>
            <a:r>
              <a:rPr lang="ru-RU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а</a:t>
            </a:r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сегодняшний день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определено количество посетителей на весь период Выставки в разбивке на 92 дня (без учета последнего дня работы Выставки) с определением способов прибытия.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ект графика посещений направлен МИР РК для проработки вопросов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величения авиарейсов и запуска новых поездо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о отдельным направлениям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з регионов в </a:t>
            </a:r>
            <a:r>
              <a:rPr lang="ru-RU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г.Астана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ru-RU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ак, например, для обеспечения перевозки 65 тыс. посетителей </a:t>
            </a:r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з </a:t>
            </a:r>
            <a:r>
              <a:rPr lang="ru-RU" sz="1200" b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ангистауской</a:t>
            </a:r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области, </a:t>
            </a:r>
            <a:r>
              <a:rPr lang="ru-RU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еобходимо запустить</a:t>
            </a:r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ополнительные авиарейсы (на 150 чел. ежедневно) </a:t>
            </a:r>
            <a:r>
              <a:rPr lang="ru-RU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 поезда с 15 вагонами (688 чел. ежедневно) по маршруту г. Актау – г.Астана.</a:t>
            </a:r>
          </a:p>
          <a:p>
            <a:endParaRPr lang="ru-RU" sz="1200" b="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b="0" dirty="0" smtClean="0"/>
              <a:t>Всего на территории города имеется 30 298 койко-мест, к 2017 году</a:t>
            </a:r>
            <a:r>
              <a:rPr lang="ru-RU" b="0" baseline="0" dirty="0" smtClean="0"/>
              <a:t> </a:t>
            </a:r>
            <a:r>
              <a:rPr lang="ru-RU" b="0" dirty="0" smtClean="0"/>
              <a:t>планируется увеличение их до 33 624</a:t>
            </a:r>
            <a:r>
              <a:rPr lang="ru-RU" b="0" baseline="0" dirty="0" smtClean="0"/>
              <a:t> (</a:t>
            </a:r>
            <a:r>
              <a:rPr lang="ru-RU" b="0" dirty="0" smtClean="0"/>
              <a:t>ввод в эксплуатацию 4-х</a:t>
            </a:r>
            <a:r>
              <a:rPr lang="ru-RU" b="0" baseline="0" dirty="0" smtClean="0"/>
              <a:t> </a:t>
            </a:r>
            <a:r>
              <a:rPr lang="ru-RU" b="0" dirty="0" smtClean="0"/>
              <a:t>общежитий с 2078 койко-мест и 24-х гостиничных объектов, с 1248</a:t>
            </a:r>
            <a:r>
              <a:rPr lang="ru-RU" b="0" baseline="0" dirty="0" smtClean="0"/>
              <a:t> </a:t>
            </a:r>
            <a:r>
              <a:rPr lang="ru-RU" b="0" dirty="0" smtClean="0"/>
              <a:t>номерным фондом),</a:t>
            </a:r>
            <a:r>
              <a:rPr lang="ru-RU" b="0" baseline="0" dirty="0" smtClean="0"/>
              <a:t> что покрывает потребность в средний день (32 тыс.). Однако, в пиковые дни потребность в койко-местах может возрасти до 40 тыс. </a:t>
            </a:r>
            <a:endParaRPr lang="ru-RU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BF395-A915-47DE-AF6D-CEECBBA49BDE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558015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ведены выездные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оуд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шоу по вопросам привлечения посетителей на Выставку с участием представителей туристского рынка в 8 областях страны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По итогам отмечаем готовность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0% казахстанских туроператоров реализовать порядка 200 тыс. билетов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на ЭКСПО-2017 (10% от общего количества посетителей, для сравнения, на миланскую Выставку посредством туристических агентств было реализовано порядка 15-18% билетов). До конца 1 полугодия запланировано посещение оставшихся 6 регионов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рамках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оуд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шоу проведены мастер-классы, тренинги тренеров, двусторонние встречи в формате b2b и создана площадка для подписания соглашений о сотрудничестве между субъектами туристского рынка г. Астана, регионов и зарубежных туроператоров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BF395-A915-47DE-AF6D-CEECBBA49BDE}" type="slidenum">
              <a:rPr lang="ru-RU" smtClean="0"/>
              <a:pPr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79835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акже, проведены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оуд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шоу в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г.г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Берлин (Германия), Москва, Казань (Россия), Урумчи (Китай), Киев (Украина), Париж (Франция) с общим охватом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00 тыс. человек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BF395-A915-47DE-AF6D-CEECBBA49BDE}" type="slidenum">
              <a:rPr lang="ru-RU" smtClean="0"/>
              <a:pPr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0988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40000" lnSpcReduction="20000"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а примере проведения Выставки в г. Милане, который находиться в числе пяти топ - городов с самой высокой посещаемостью иностранных туристов в Италии, показал эффект распространения Выставки на регионы. Уже в июне-июле 2015 г. поток туристов из-за рубежа превысил 47% в Ломбардии.  58.3% опрошенных туристов спланировали свою поездку в Ломбардию именно благодаря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Экспо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2015. Повысилась загрузка отелей на 4.5%, на период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Экспо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стали больше бронировать 2-3 ночи (уикенд), а посещаемость регионов почти вдвое. </a:t>
            </a:r>
          </a:p>
          <a:p>
            <a:endParaRPr lang="ru-RU" dirty="0" smtClean="0"/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Успех казахстанского павильона на выставке ЭКСПО-2015 в Милане свидетельствует о возросшей популярности нашей страны, как международной туристской дестинации. Заметно активизировались международные туроператоры, особенно из Японии, Италии и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р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стран, которые уже тестируют туры по Астане, Алматы,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Мангистау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и Южному Казахстану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авильон Казахстана был одним из самых посещаемых павильонов среди посетителей выставки и послужил отличной площадкой для знакомства с Казахстаном. На выставках в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Бангалоре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Токио и Лондоне мы встречали туристов, которые посетив павильон Казахстана, теперь хотят посетить нашу страну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а экране Вы видите миллионного посетителя Национального павильона Республики Казахстан на Всемирной выставке EXPO-2015 в Милане. Даниеле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Берго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57 лет, он из Италии и работает программным консультантом.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Ему был вручен сертификат, который дает право бесплатного тура по Республике Казахстан 2-м персонам Авиабилеты для посещения нашей страны были предоставлены официальным перевозчиком «EXPO-2017» – АО «Эйр Астана». В рамках тура гости смогут бесплатно посетить Астану, Боровое, Алматы, ЮКО и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Мангистау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Спонсоры тура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«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аят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ravel», «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руиз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», «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maty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ity Tours», «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ras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ravel»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и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«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урист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».</a:t>
            </a:r>
            <a:endParaRPr lang="ru-R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 Милане специально была создана компания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Эксплора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которая занималась привлечением туристов на выставку. Мы же,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ацкомпания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ЭКСПО, делегируем эту работу с отечественными туроператорами. Мы создаем площадку, чтобы наши туроператоры привлекали туристов на ЭКСПО и на этом зарабатывали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 примеру, в рамках рабочего визита Председателя Правления НК «Астана ЭКСПО-2017»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Есимова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А.С. в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Актобе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подписаны соглашения между Пекин Паласом и туроператорами Актюбинской,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Мангистауской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областей. Более того, подписаны договора: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между туроператором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Мангистау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ТОО «Турист» и российской компанией «Экспресс тур» (Пермь) по запуску круизного судна по Каспийскому морю в рамках подготовки к ЭКСПО-2017.  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между Ассоциацией туризма «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Ак-Жайык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ЗКО» и оренбургской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уркомпанией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«Вокруг Света»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И сегодняшние подписания между китайским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TS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и отечественными «Туран Азия», «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Арман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тур» и «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Байтерек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аяхат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рталыгы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» также свидетельствует тому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У нас уже наработана огромная база для отечественных туроператоров. В числе наших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арнтеров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</a:t>
            </a:r>
          </a:p>
          <a:p>
            <a:r>
              <a: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оссийский Союз Туристкой Индустрии (РСТ)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ru-RU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рупнейшее предпринимательское объединение </a:t>
            </a:r>
            <a:r>
              <a:rPr lang="ru-RU" sz="1200" i="1" u="none" strike="noStrike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hlinkClick r:id="rId3" tooltip="Туризм"/>
              </a:rPr>
              <a:t>отрасли</a:t>
            </a:r>
            <a:r>
              <a:rPr lang="ru-RU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в состав которого входит более 1000 организаций турбизнеса;</a:t>
            </a:r>
            <a:endParaRPr lang="ru-R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ina</a:t>
            </a:r>
            <a:r>
              <a: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vel</a:t>
            </a:r>
            <a:r>
              <a: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rvice</a:t>
            </a:r>
            <a:r>
              <a: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CTS)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– </a:t>
            </a:r>
            <a:r>
              <a:rPr lang="ru-RU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рупный туроператор КНР, основанный в 1928 году. Компания имеет более 100 представительств по Китаю, более 40 представительств в специальных регионах Гонконг и Макао и 20 представительств в 16 странах мира.</a:t>
            </a:r>
            <a:endParaRPr lang="ru-R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ina</a:t>
            </a:r>
            <a:r>
              <a: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ernational</a:t>
            </a:r>
            <a:r>
              <a: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vel</a:t>
            </a:r>
            <a:r>
              <a: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rvice</a:t>
            </a:r>
            <a:r>
              <a: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imited</a:t>
            </a:r>
            <a:r>
              <a: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ru-RU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ad</a:t>
            </a:r>
            <a:r>
              <a: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ffice</a:t>
            </a:r>
            <a:r>
              <a: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CITS) </a:t>
            </a:r>
            <a:r>
              <a:rPr lang="ru-RU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крупный туроператор в Китае, который владеет 122 филиалами и офисами по стране и более 150 филиалами и представительствами за рубежом. </a:t>
            </a:r>
            <a:endParaRPr lang="ru-R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 2012 году CITS стала компанией номер один в индустрии туризма КНР со стоимостью бренда в 3,53 млрд. долл. США.</a:t>
            </a:r>
            <a:br>
              <a:rPr lang="ru-RU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ru-RU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ITS входит в ТОП 500 предприятий страны, с активами на сумму 1.56 млрд. долл. США. </a:t>
            </a:r>
            <a:endParaRPr lang="ru-R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u="sng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правочно</a:t>
            </a:r>
            <a:r>
              <a:rPr lang="ru-RU" sz="1200" u="sng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:</a:t>
            </a:r>
            <a:endParaRPr lang="ru-R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u="sng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 2004 г. CITS совместно с </a:t>
            </a:r>
            <a:r>
              <a:rPr lang="ru-RU" sz="1200" u="sng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ina</a:t>
            </a:r>
            <a:r>
              <a:rPr lang="ru-RU" sz="1200" u="sng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u="sng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uty</a:t>
            </a:r>
            <a:r>
              <a:rPr lang="ru-RU" sz="1200" u="sng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u="sng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ree</a:t>
            </a:r>
            <a:r>
              <a:rPr lang="ru-RU" sz="1200" u="sng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u="sng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up</a:t>
            </a:r>
            <a:r>
              <a:rPr lang="ru-RU" sz="1200" u="sng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u="sng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rporation</a:t>
            </a:r>
            <a:r>
              <a:rPr lang="ru-RU" sz="1200" u="sng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объединились в CITS GROUP CORPORATION с уставным капиталом в 61,1 миллионов долларов США. В 2014 г. доход корпорации составил 3,1 млрд. долларов США.</a:t>
            </a:r>
            <a:endParaRPr lang="ru-R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Азиатско-Тихоокеанская туристская ассоциация (РАТА)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- </a:t>
            </a:r>
            <a:r>
              <a:rPr lang="ru-RU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более 2 тыс. членов, представляющих страны Азиатско-Тихоокеанского региона.</a:t>
            </a:r>
            <a:endParaRPr lang="ru-R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ациональная организация туризма Кореи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– </a:t>
            </a:r>
            <a:r>
              <a:rPr lang="ru-RU" sz="1200" i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государственная организация по туризму, основанная в 1962.</a:t>
            </a:r>
            <a:endParaRPr lang="ru-R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l</a:t>
            </a:r>
            <a:r>
              <a: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easons</a:t>
            </a:r>
            <a:r>
              <a: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– японский туроператор, который провел тест тур в Астане в минувшей осенью,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уроператор </a:t>
            </a:r>
            <a:r>
              <a: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kraine Monaco Group </a:t>
            </a:r>
            <a:r>
              <a:rPr lang="kk-KZ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(Украина)</a:t>
            </a:r>
            <a:r>
              <a:rPr lang="kk-KZ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которые также присутствуют здесь сегодня на конференции.</a:t>
            </a:r>
            <a:endParaRPr lang="ru-R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едавно мы провели в Берлине переговоры с одним из потенциальных партнеров - крупнейшим туроператором мира, компанией </a:t>
            </a:r>
            <a:r>
              <a: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UI </a:t>
            </a:r>
            <a:r>
              <a:rPr lang="ru-RU" sz="1200" b="1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up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(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uristic Union International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. 24 июля с ними проведены переговоры. </a:t>
            </a:r>
          </a:p>
          <a:p>
            <a:r>
              <a:rPr lang="ru-RU" sz="1200" u="sng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правочно</a:t>
            </a:r>
            <a:r>
              <a:rPr lang="ru-RU" sz="1200" u="sng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TUI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up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(</a:t>
            </a:r>
            <a:r>
              <a:rPr lang="ru-RU" sz="1200" u="sng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hlinkClick r:id="rId4"/>
              </a:rPr>
              <a:t>нем.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ouristik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nion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ernational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обслуживает более 30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млн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клиентов в год в 180 странах мира. Группа TUI включает туроператоров, более 300 отелей, 6 авиакомпаний, 12 круизных лайнеров и др. Только в Европе TUI имеет более 1 800 туристических агентств. Общее количество сотрудников компании превышает 77 тыс. TUI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oup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обладает самым большим чартерным флотом в Европе - 136 самолетов. Всего в группу TUI входят более 240 брендов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Уже назначена встреча с представителями ТУИ на выставке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TB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Они очень заинтересовались проектом поезда-гостиницы «Туран Экспресс»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«Доходы компании 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po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за 2015  составили 736,1 млн евро, из которых 373,7 млн благодаря продаже билетов. Было продано 21,476,957 билетов, в среднем доход составил 17,4 евро за билет.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67. Предоставлено почти 90 тысяч рабочих мест. Было заработано 223,9 млн со спонсорства, остальные 138,5 млн с других  источников.  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правленческие расходы - 721,2 млн:</a:t>
            </a:r>
          </a:p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з общей потраченной суммы, 234,7 млн, расходованы на "деятельность, тесно 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вязання</a:t>
            </a:r>
            <a:r>
              <a:rPr lang="ru-RU" sz="12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с оперативным управлением и общей работой выставочной площадки" и 76,5 млн потрачено на "мероприятия и другие инициативы", 178,7  млн -"товары и услуги ", в то время как на продвижение, маркетинг и другие похожие мероприятия было потрачено 185,7 млн, остальные 45,6 млн - другие расходы по персоналу»</a:t>
            </a: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6F18F-82B4-4841-9BAF-EB0DBF98FDA4}" type="slidenum">
              <a:rPr lang="ru-RU" smtClean="0"/>
              <a:pPr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73445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Учитывая результаты исследований нами формируется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ртфолио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урпродукта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ЭКСПО-2017, который содержит:             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Экскурсии по территории ЭКСПО-2017 с посещением тематических зон,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     международных и корпоративных павильонов;</a:t>
            </a:r>
          </a:p>
          <a:p>
            <a:pPr lvl="0"/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Более 3 000 тематических, культурно - массовых, развлекательных мероприятий на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территории выставки и в городе Астана;</a:t>
            </a:r>
          </a:p>
          <a:p>
            <a:pPr lvl="0"/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урпродукты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туроператоров регионов, включающие событийные мероприятия областей, с посещением г.Астана и ЭКСПО-2017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6F18F-82B4-4841-9BAF-EB0DBF98FDA4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09897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Общая территория Выставки</a:t>
            </a:r>
            <a:r>
              <a:rPr lang="ru-RU" baseline="0" dirty="0" smtClean="0"/>
              <a:t> занимается около 174 га, при этом выставочная площадь 25 га. Помимо выставочных павильонов на территории расположены жилые кварталы, отели 3 и 4*, </a:t>
            </a:r>
            <a:r>
              <a:rPr lang="ru-RU" baseline="0" dirty="0" err="1" smtClean="0"/>
              <a:t>Конгрес</a:t>
            </a:r>
            <a:r>
              <a:rPr lang="ru-RU" baseline="0" dirty="0" smtClean="0"/>
              <a:t> офис, Офис </a:t>
            </a:r>
            <a:r>
              <a:rPr lang="ru-RU" baseline="0" dirty="0" err="1" smtClean="0"/>
              <a:t>Организацтора</a:t>
            </a:r>
            <a:r>
              <a:rPr lang="ru-RU" baseline="0" dirty="0" smtClean="0"/>
              <a:t>, Торговый центр и т.д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6F18F-82B4-4841-9BAF-EB0DBF98FDA4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71421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А это главный павильон – </a:t>
            </a:r>
            <a:r>
              <a: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омплекс «Сфера». </a:t>
            </a:r>
            <a:endParaRPr lang="ru-R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ематическая концепция объекта «Сфера» представлена как «Музей будущего». На 7 этажах сферического здания тема «Энергия Будущего» разделена поэтажно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8 этаж павильона представляет посетителям Астану в качестве города будущего.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7 этаж павильона показан в тематике энергии космоса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6 этаж павильона показан в тематике солнечной энергии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5 этаж представляет собой тематику ветра как составляющую атмосферы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4 этаж павильона демонстрирует тему использования биомассы планеты Земля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 этаж павильона представлен как кинетическая энергия планеты Земля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 этаж павильона представляет тематику энергии воды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ациональный павильон Выставки площадью 5000 кв. м. будет располагаться в основании объекта «Сфера».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 В соответствии концепции, павильон будет разделен на 2 основные зоны: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Зона знакомства с Казахстаном;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Зона раскрытия энергетического потенциала страны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В первой зоне павильона планируется представить ландшафт, культуру, историю, настоящее и будущее Казахстана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       В зоне раскрытия энергетического потенциала страны будут представлены лучшие научные проекты и разработки казахстанских ученых и научных организаций соответствующие тематике Выставки.</a:t>
            </a:r>
            <a:endParaRPr lang="ru-RU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C7527A-DDBD-4A6A-BE0D-F0363D56F10B}" type="slidenum">
              <a:rPr lang="ru-RU" altLang="ru-RU" smtClean="0"/>
              <a:pPr/>
              <a:t>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016348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авильон «Зона лучших практик» (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ergy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t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actices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rea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 (далее –«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BPa</a:t>
            </a:r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») посвящена демонстрации успешно внедренных методов, проектов и технологий в области энергетики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анный павильон будет служить символическим центром Выставки, в котором будут представлены лучшие достижения в разных областях устойчивой энергетики: производстве, сохранении и использовании электроэнергии, борьбе с изменениями климата, или обеспечении доступа к электроэнергии в развивающихся странах.</a:t>
            </a:r>
            <a:endParaRPr lang="ru-RU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6F18F-82B4-4841-9BAF-EB0DBF98FDA4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69453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Мероприяти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6F18F-82B4-4841-9BAF-EB0DBF98FDA4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86311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УДИТОРИУМ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– открытая площадка, предназначенная для проведения крупных концертных и театрализованных мероприятий. Открытая сцена 2000 мест/ 10 000 стоячих мест.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оступно для бронирования мероприятий официальных участников</a:t>
            </a: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ЦЕРЕМОНИЯ ОТКРЫТИЯ: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ариант 1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рганизация официальной церемонии открытия и театрализованного, мультимедийного (3-5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, пиротехнического шоу, праздничного концерта (с участием казахстанских и зарубежных звезд) на площадке Амфитеатра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ариант 2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рганизация официальной церемонии открытия, театрализованного, мультимедийного шоу (3-5D) на крытой площадке Холла Энергии, с интерактивным включением на экраны Амфитеатра и лед-экраны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гг.Астана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Алматы, областных центров.</a:t>
            </a: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ЦЕРЕМОНИЯ ЗАКРЫТИЯ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организация официальной церемонии закрытия предполагает официально-протокольную часть, праздничный концерт с участием казахстанских и международных звезд, пиротехническое, мультимедийное шоу с прямой телевизионной трансляцией на казахстанских телеканалах.</a:t>
            </a: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ЕНЬ АСТАНЫ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ЕНЬ КОНСТИТУЦИИ: 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рамках празднования Дня города и Дня Конституции предлагается проведение 2 специальных праздничных концертов и шоу в Амфитеатре для широкой аудитории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В случае организации концертов мирового уровня представляется целесообразным проработать с МБВ возможность коммерциализации (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илетирования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</a:t>
            </a: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ЕЖЕДНЕВНЫЕ ШОУ: 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) Формат ежедневного шоу предполагает собой вечернее повторяющееся развлекательное мероприятие продолжительностью от 15 до 30 минут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едлагается организовать мультимедийное шоу c проекцией на «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Нур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лем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» с использованием 3-5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технологий со световыми-голографическими спецэффектами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роме того, в случае проектирования фонтанов возле Арт центра прорабатывается возможность организации водного шоу возле Арт центра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) Ежедневные шоу (2 раза в день) предлагается организовать в формате совмещения циркового искусства и уличных представлений.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ассматривается возможность организации ежедневных парадов в сотрудничестве с Цирк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ю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Солей с использованием ресурса ГККП «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згосцирк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».</a:t>
            </a:r>
          </a:p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П &amp; РОК КОНЦЕРТЫ </a:t>
            </a: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86F18F-82B4-4841-9BAF-EB0DBF98FDA4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90992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D9A8A1-5FE0-472C-87DA-9F0A94DF27D3}" type="datetimeFigureOut">
              <a:rPr lang="ru-RU" smtClean="0"/>
              <a:pPr/>
              <a:t>27.05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A21FD-A232-473A-A5D6-26812066D0B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50747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D9A8A1-5FE0-472C-87DA-9F0A94DF27D3}" type="datetimeFigureOut">
              <a:rPr lang="ru-RU" smtClean="0"/>
              <a:pPr/>
              <a:t>27.05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A21FD-A232-473A-A5D6-26812066D0B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81645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D9A8A1-5FE0-472C-87DA-9F0A94DF27D3}" type="datetimeFigureOut">
              <a:rPr lang="ru-RU" smtClean="0"/>
              <a:pPr/>
              <a:t>27.05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A21FD-A232-473A-A5D6-26812066D0B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42728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/>
          <p:nvPr userDrawn="1"/>
        </p:nvSpPr>
        <p:spPr>
          <a:xfrm>
            <a:off x="0" y="6561138"/>
            <a:ext cx="12192000" cy="2524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/>
          </a:p>
        </p:txBody>
      </p:sp>
      <p:sp>
        <p:nvSpPr>
          <p:cNvPr id="6" name="Rectangle 11"/>
          <p:cNvSpPr/>
          <p:nvPr userDrawn="1"/>
        </p:nvSpPr>
        <p:spPr>
          <a:xfrm>
            <a:off x="11089218" y="6381751"/>
            <a:ext cx="670983" cy="3603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/>
          </a:p>
        </p:txBody>
      </p:sp>
      <p:pic>
        <p:nvPicPr>
          <p:cNvPr id="9" name="Image 2" descr="Description : Y:\Outils Travail\Communication Horwath 2012\LOGOS\Horwath_HTL_logo original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0568" y="5292726"/>
            <a:ext cx="3647017" cy="728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O:\FRURB0344_Astana_Tourism_MP\URB1\TRAVAIL_ARTE\Presentation\Travail_Ur\131112_PPT_3.3_Short\AC_logo_NB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2300" y="6470651"/>
            <a:ext cx="2252133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31928" y="3234680"/>
            <a:ext cx="11116733" cy="914400"/>
          </a:xfrm>
          <a:prstGeom prst="rect">
            <a:avLst/>
          </a:prstGeom>
          <a:ln>
            <a:solidFill>
              <a:srgbClr val="00204E"/>
            </a:solidFill>
          </a:ln>
        </p:spPr>
        <p:txBody>
          <a:bodyPr anchor="b">
            <a:normAutofit/>
          </a:bodyPr>
          <a:lstStyle>
            <a:lvl1pPr algn="l">
              <a:defRPr sz="2800">
                <a:solidFill>
                  <a:srgbClr val="00204E"/>
                </a:solidFill>
                <a:latin typeface="StoneSansSemiITC T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31928" y="4403576"/>
            <a:ext cx="11116733" cy="609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Times" pitchFamily="1" charset="0"/>
              <a:buNone/>
              <a:defRPr sz="2000">
                <a:solidFill>
                  <a:srgbClr val="FDB815"/>
                </a:solidFill>
                <a:latin typeface="StoneSansSemiITC TT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912284" y="5780088"/>
            <a:ext cx="2751667" cy="457200"/>
          </a:xfrm>
          <a:prstGeom prst="rect">
            <a:avLst/>
          </a:prstGeom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400">
                <a:solidFill>
                  <a:srgbClr val="002E62"/>
                </a:solidFill>
                <a:latin typeface="StoneSansSemiITC T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4767"/>
            <a:ext cx="12192000" cy="3279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7262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contenu 2"/>
          <p:cNvSpPr>
            <a:spLocks noGrp="1"/>
          </p:cNvSpPr>
          <p:nvPr>
            <p:ph sz="half" idx="1" hasCustomPrompt="1"/>
          </p:nvPr>
        </p:nvSpPr>
        <p:spPr>
          <a:xfrm>
            <a:off x="239349" y="692697"/>
            <a:ext cx="6350496" cy="5433467"/>
          </a:xfrm>
        </p:spPr>
        <p:txBody>
          <a:bodyPr>
            <a:normAutofit/>
          </a:bodyPr>
          <a:lstStyle>
            <a:lvl1pPr marL="85725" indent="-85725">
              <a:defRPr sz="1000"/>
            </a:lvl1pPr>
            <a:lvl2pPr marL="355600" indent="-182563">
              <a:defRPr sz="1000"/>
            </a:lvl2pPr>
            <a:lvl3pPr marL="538163" indent="-184150">
              <a:defRPr sz="1000"/>
            </a:lvl3pPr>
            <a:lvl4pPr marL="720725" indent="-171450">
              <a:defRPr sz="1000"/>
            </a:lvl4pPr>
            <a:lvl5pPr marL="892175" indent="-182563"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BE" dirty="0"/>
          </a:p>
        </p:txBody>
      </p:sp>
      <p:sp>
        <p:nvSpPr>
          <p:cNvPr id="5" name="Espace réservé du titre 1"/>
          <p:cNvSpPr>
            <a:spLocks noGrp="1"/>
          </p:cNvSpPr>
          <p:nvPr>
            <p:ph type="title"/>
          </p:nvPr>
        </p:nvSpPr>
        <p:spPr>
          <a:xfrm>
            <a:off x="820672" y="116632"/>
            <a:ext cx="11227989" cy="3460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pour modifier le style du titre	</a:t>
            </a:r>
            <a:endParaRPr lang="fr-BE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53189"/>
            <a:ext cx="1632181" cy="408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0263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5/27/2016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06" b="0" i="0">
                <a:solidFill>
                  <a:srgbClr val="002C61"/>
                </a:solidFill>
                <a:latin typeface="Arial"/>
                <a:cs typeface="Arial"/>
              </a:defRPr>
            </a:lvl1pPr>
          </a:lstStyle>
          <a:p>
            <a:pPr marL="73402">
              <a:lnSpc>
                <a:spcPts val="777"/>
              </a:lnSpc>
            </a:pPr>
            <a:fld id="{81D60167-4931-47E6-BA6A-407CBD079E47}" type="slidenum">
              <a:rPr lang="ru-RU" smtClean="0"/>
              <a:pPr marL="73402">
                <a:lnSpc>
                  <a:spcPts val="777"/>
                </a:lnSpc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33242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D9A8A1-5FE0-472C-87DA-9F0A94DF27D3}" type="datetimeFigureOut">
              <a:rPr lang="ru-RU" smtClean="0"/>
              <a:pPr/>
              <a:t>27.05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A21FD-A232-473A-A5D6-26812066D0B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35396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D9A8A1-5FE0-472C-87DA-9F0A94DF27D3}" type="datetimeFigureOut">
              <a:rPr lang="ru-RU" smtClean="0"/>
              <a:pPr/>
              <a:t>27.05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A21FD-A232-473A-A5D6-26812066D0B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38126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D9A8A1-5FE0-472C-87DA-9F0A94DF27D3}" type="datetimeFigureOut">
              <a:rPr lang="ru-RU" smtClean="0"/>
              <a:pPr/>
              <a:t>27.05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A21FD-A232-473A-A5D6-26812066D0B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35073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D9A8A1-5FE0-472C-87DA-9F0A94DF27D3}" type="datetimeFigureOut">
              <a:rPr lang="ru-RU" smtClean="0"/>
              <a:pPr/>
              <a:t>27.05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A21FD-A232-473A-A5D6-26812066D0B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26542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D9A8A1-5FE0-472C-87DA-9F0A94DF27D3}" type="datetimeFigureOut">
              <a:rPr lang="ru-RU" smtClean="0"/>
              <a:pPr/>
              <a:t>27.05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A21FD-A232-473A-A5D6-26812066D0B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9417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D9A8A1-5FE0-472C-87DA-9F0A94DF27D3}" type="datetimeFigureOut">
              <a:rPr lang="ru-RU" smtClean="0"/>
              <a:pPr/>
              <a:t>27.05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A21FD-A232-473A-A5D6-26812066D0B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97572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D9A8A1-5FE0-472C-87DA-9F0A94DF27D3}" type="datetimeFigureOut">
              <a:rPr lang="ru-RU" smtClean="0"/>
              <a:pPr/>
              <a:t>27.05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A21FD-A232-473A-A5D6-26812066D0B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4498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D9A8A1-5FE0-472C-87DA-9F0A94DF27D3}" type="datetimeFigureOut">
              <a:rPr lang="ru-RU" smtClean="0"/>
              <a:pPr/>
              <a:t>27.05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A21FD-A232-473A-A5D6-26812066D0B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26841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D9A8A1-5FE0-472C-87DA-9F0A94DF27D3}" type="datetimeFigureOut">
              <a:rPr lang="ru-RU" smtClean="0"/>
              <a:pPr/>
              <a:t>27.05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EA21FD-A232-473A-A5D6-26812066D0B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9438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90.jpeg"/><Relationship Id="rId7" Type="http://schemas.openxmlformats.org/officeDocument/2006/relationships/image" Target="../media/image8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png"/><Relationship Id="rId5" Type="http://schemas.openxmlformats.org/officeDocument/2006/relationships/image" Target="../media/image43.png"/><Relationship Id="rId4" Type="http://schemas.openxmlformats.org/officeDocument/2006/relationships/image" Target="../media/image91.jp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90.jpeg"/><Relationship Id="rId7" Type="http://schemas.openxmlformats.org/officeDocument/2006/relationships/image" Target="../media/image8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png"/><Relationship Id="rId5" Type="http://schemas.openxmlformats.org/officeDocument/2006/relationships/image" Target="../media/image43.png"/><Relationship Id="rId4" Type="http://schemas.openxmlformats.org/officeDocument/2006/relationships/image" Target="../media/image92.jpg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90.jpeg"/><Relationship Id="rId7" Type="http://schemas.openxmlformats.org/officeDocument/2006/relationships/image" Target="../media/image8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png"/><Relationship Id="rId5" Type="http://schemas.openxmlformats.org/officeDocument/2006/relationships/image" Target="../media/image43.png"/><Relationship Id="rId4" Type="http://schemas.openxmlformats.org/officeDocument/2006/relationships/image" Target="../media/image86.jpeg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90.jpeg"/><Relationship Id="rId7" Type="http://schemas.openxmlformats.org/officeDocument/2006/relationships/image" Target="../media/image8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png"/><Relationship Id="rId5" Type="http://schemas.openxmlformats.org/officeDocument/2006/relationships/image" Target="../media/image43.png"/><Relationship Id="rId4" Type="http://schemas.openxmlformats.org/officeDocument/2006/relationships/image" Target="../media/image93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image" Target="../media/image101.jpeg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image" Target="../media/image104.jpeg"/><Relationship Id="rId47" Type="http://schemas.openxmlformats.org/officeDocument/2006/relationships/image" Target="../media/image109.jpeg"/><Relationship Id="rId50" Type="http://schemas.openxmlformats.org/officeDocument/2006/relationships/image" Target="../media/image112.jpeg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image" Target="../media/image43.png"/><Relationship Id="rId40" Type="http://schemas.openxmlformats.org/officeDocument/2006/relationships/image" Target="../media/image102.jpeg"/><Relationship Id="rId45" Type="http://schemas.openxmlformats.org/officeDocument/2006/relationships/image" Target="../media/image107.jpeg"/><Relationship Id="rId53" Type="http://schemas.openxmlformats.org/officeDocument/2006/relationships/image" Target="../media/image45.png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image" Target="../media/image106.jpeg"/><Relationship Id="rId52" Type="http://schemas.openxmlformats.org/officeDocument/2006/relationships/image" Target="../media/image44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slideLayout" Target="../slideLayouts/slideLayout7.xml"/><Relationship Id="rId43" Type="http://schemas.openxmlformats.org/officeDocument/2006/relationships/image" Target="../media/image105.jpeg"/><Relationship Id="rId48" Type="http://schemas.openxmlformats.org/officeDocument/2006/relationships/image" Target="../media/image110.png"/><Relationship Id="rId8" Type="http://schemas.openxmlformats.org/officeDocument/2006/relationships/tags" Target="../tags/tag8.xml"/><Relationship Id="rId51" Type="http://schemas.openxmlformats.org/officeDocument/2006/relationships/image" Target="../media/image113.jpeg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image" Target="../media/image100.jpeg"/><Relationship Id="rId46" Type="http://schemas.openxmlformats.org/officeDocument/2006/relationships/image" Target="../media/image108.png"/><Relationship Id="rId20" Type="http://schemas.openxmlformats.org/officeDocument/2006/relationships/tags" Target="../tags/tag20.xml"/><Relationship Id="rId41" Type="http://schemas.openxmlformats.org/officeDocument/2006/relationships/image" Target="../media/image103.jpeg"/><Relationship Id="rId54" Type="http://schemas.openxmlformats.org/officeDocument/2006/relationships/image" Target="../media/image114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notesSlide" Target="../notesSlides/notesSlide15.xml"/><Relationship Id="rId49" Type="http://schemas.openxmlformats.org/officeDocument/2006/relationships/image" Target="../media/image111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13" Type="http://schemas.openxmlformats.org/officeDocument/2006/relationships/image" Target="../media/image124.png"/><Relationship Id="rId3" Type="http://schemas.openxmlformats.org/officeDocument/2006/relationships/image" Target="../media/image115.png"/><Relationship Id="rId7" Type="http://schemas.openxmlformats.org/officeDocument/2006/relationships/image" Target="../media/image119.png"/><Relationship Id="rId12" Type="http://schemas.openxmlformats.org/officeDocument/2006/relationships/image" Target="../media/image4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8.png"/><Relationship Id="rId11" Type="http://schemas.openxmlformats.org/officeDocument/2006/relationships/image" Target="../media/image123.png"/><Relationship Id="rId5" Type="http://schemas.openxmlformats.org/officeDocument/2006/relationships/image" Target="../media/image117.png"/><Relationship Id="rId10" Type="http://schemas.openxmlformats.org/officeDocument/2006/relationships/image" Target="../media/image122.png"/><Relationship Id="rId4" Type="http://schemas.openxmlformats.org/officeDocument/2006/relationships/image" Target="../media/image116.png"/><Relationship Id="rId9" Type="http://schemas.openxmlformats.org/officeDocument/2006/relationships/image" Target="../media/image121.png"/><Relationship Id="rId14" Type="http://schemas.openxmlformats.org/officeDocument/2006/relationships/image" Target="../media/image50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9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12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18" Type="http://schemas.openxmlformats.org/officeDocument/2006/relationships/image" Target="../media/image31.png"/><Relationship Id="rId26" Type="http://schemas.openxmlformats.org/officeDocument/2006/relationships/image" Target="../media/image39.png"/><Relationship Id="rId3" Type="http://schemas.openxmlformats.org/officeDocument/2006/relationships/image" Target="../media/image16.png"/><Relationship Id="rId21" Type="http://schemas.openxmlformats.org/officeDocument/2006/relationships/image" Target="../media/image34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30.png"/><Relationship Id="rId25" Type="http://schemas.openxmlformats.org/officeDocument/2006/relationships/image" Target="../media/image38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9.png"/><Relationship Id="rId20" Type="http://schemas.openxmlformats.org/officeDocument/2006/relationships/image" Target="../media/image33.png"/><Relationship Id="rId29" Type="http://schemas.openxmlformats.org/officeDocument/2006/relationships/image" Target="../media/image4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24" Type="http://schemas.openxmlformats.org/officeDocument/2006/relationships/image" Target="../media/image37.png"/><Relationship Id="rId32" Type="http://schemas.openxmlformats.org/officeDocument/2006/relationships/image" Target="../media/image45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23" Type="http://schemas.openxmlformats.org/officeDocument/2006/relationships/image" Target="../media/image36.png"/><Relationship Id="rId28" Type="http://schemas.openxmlformats.org/officeDocument/2006/relationships/image" Target="../media/image41.png"/><Relationship Id="rId10" Type="http://schemas.openxmlformats.org/officeDocument/2006/relationships/image" Target="../media/image23.png"/><Relationship Id="rId19" Type="http://schemas.openxmlformats.org/officeDocument/2006/relationships/image" Target="../media/image32.png"/><Relationship Id="rId31" Type="http://schemas.openxmlformats.org/officeDocument/2006/relationships/image" Target="../media/image44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Relationship Id="rId22" Type="http://schemas.openxmlformats.org/officeDocument/2006/relationships/image" Target="../media/image35.png"/><Relationship Id="rId27" Type="http://schemas.openxmlformats.org/officeDocument/2006/relationships/image" Target="../media/image40.png"/><Relationship Id="rId30" Type="http://schemas.openxmlformats.org/officeDocument/2006/relationships/image" Target="../media/image4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9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4.png"/><Relationship Id="rId5" Type="http://schemas.openxmlformats.org/officeDocument/2006/relationships/image" Target="../media/image128.png"/><Relationship Id="rId4" Type="http://schemas.openxmlformats.org/officeDocument/2006/relationships/image" Target="../media/image99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129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1.jpeg"/><Relationship Id="rId5" Type="http://schemas.openxmlformats.org/officeDocument/2006/relationships/image" Target="../media/image130.jpeg"/><Relationship Id="rId4" Type="http://schemas.openxmlformats.org/officeDocument/2006/relationships/image" Target="../media/image4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13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jpeg"/><Relationship Id="rId3" Type="http://schemas.openxmlformats.org/officeDocument/2006/relationships/image" Target="../media/image135.png"/><Relationship Id="rId7" Type="http://schemas.openxmlformats.org/officeDocument/2006/relationships/image" Target="../media/image138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7.jpeg"/><Relationship Id="rId5" Type="http://schemas.openxmlformats.org/officeDocument/2006/relationships/image" Target="../media/image136.jpeg"/><Relationship Id="rId10" Type="http://schemas.openxmlformats.org/officeDocument/2006/relationships/image" Target="../media/image45.png"/><Relationship Id="rId4" Type="http://schemas.openxmlformats.org/officeDocument/2006/relationships/image" Target="../media/image43.png"/><Relationship Id="rId9" Type="http://schemas.openxmlformats.org/officeDocument/2006/relationships/image" Target="../media/image44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4.png"/><Relationship Id="rId13" Type="http://schemas.openxmlformats.org/officeDocument/2006/relationships/image" Target="../media/image149.png"/><Relationship Id="rId3" Type="http://schemas.openxmlformats.org/officeDocument/2006/relationships/image" Target="../media/image140.jpeg"/><Relationship Id="rId7" Type="http://schemas.openxmlformats.org/officeDocument/2006/relationships/image" Target="../media/image143.png"/><Relationship Id="rId12" Type="http://schemas.openxmlformats.org/officeDocument/2006/relationships/image" Target="../media/image148.png"/><Relationship Id="rId17" Type="http://schemas.openxmlformats.org/officeDocument/2006/relationships/image" Target="../media/image45.png"/><Relationship Id="rId2" Type="http://schemas.openxmlformats.org/officeDocument/2006/relationships/image" Target="../media/image43.png"/><Relationship Id="rId16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2.png"/><Relationship Id="rId11" Type="http://schemas.openxmlformats.org/officeDocument/2006/relationships/image" Target="../media/image147.png"/><Relationship Id="rId5" Type="http://schemas.openxmlformats.org/officeDocument/2006/relationships/image" Target="../media/image141.png"/><Relationship Id="rId15" Type="http://schemas.openxmlformats.org/officeDocument/2006/relationships/image" Target="../media/image151.png"/><Relationship Id="rId10" Type="http://schemas.openxmlformats.org/officeDocument/2006/relationships/image" Target="../media/image146.png"/><Relationship Id="rId4" Type="http://schemas.openxmlformats.org/officeDocument/2006/relationships/image" Target="../media/image15.png"/><Relationship Id="rId9" Type="http://schemas.openxmlformats.org/officeDocument/2006/relationships/image" Target="../media/image145.png"/><Relationship Id="rId14" Type="http://schemas.openxmlformats.org/officeDocument/2006/relationships/image" Target="../media/image150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7.png"/><Relationship Id="rId13" Type="http://schemas.openxmlformats.org/officeDocument/2006/relationships/image" Target="../media/image161.png"/><Relationship Id="rId18" Type="http://schemas.openxmlformats.org/officeDocument/2006/relationships/image" Target="../media/image166.png"/><Relationship Id="rId3" Type="http://schemas.openxmlformats.org/officeDocument/2006/relationships/image" Target="../media/image152.png"/><Relationship Id="rId21" Type="http://schemas.openxmlformats.org/officeDocument/2006/relationships/image" Target="../media/image169.jpeg"/><Relationship Id="rId7" Type="http://schemas.openxmlformats.org/officeDocument/2006/relationships/image" Target="../media/image156.png"/><Relationship Id="rId12" Type="http://schemas.openxmlformats.org/officeDocument/2006/relationships/image" Target="../media/image43.png"/><Relationship Id="rId17" Type="http://schemas.openxmlformats.org/officeDocument/2006/relationships/image" Target="../media/image165.png"/><Relationship Id="rId2" Type="http://schemas.openxmlformats.org/officeDocument/2006/relationships/notesSlide" Target="../notesSlides/notesSlide26.xml"/><Relationship Id="rId16" Type="http://schemas.openxmlformats.org/officeDocument/2006/relationships/image" Target="../media/image164.png"/><Relationship Id="rId20" Type="http://schemas.openxmlformats.org/officeDocument/2006/relationships/image" Target="../media/image16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55.png"/><Relationship Id="rId11" Type="http://schemas.openxmlformats.org/officeDocument/2006/relationships/image" Target="../media/image160.png"/><Relationship Id="rId5" Type="http://schemas.openxmlformats.org/officeDocument/2006/relationships/image" Target="../media/image154.png"/><Relationship Id="rId15" Type="http://schemas.openxmlformats.org/officeDocument/2006/relationships/image" Target="../media/image163.png"/><Relationship Id="rId23" Type="http://schemas.openxmlformats.org/officeDocument/2006/relationships/image" Target="../media/image45.png"/><Relationship Id="rId10" Type="http://schemas.openxmlformats.org/officeDocument/2006/relationships/image" Target="../media/image159.png"/><Relationship Id="rId19" Type="http://schemas.openxmlformats.org/officeDocument/2006/relationships/image" Target="../media/image167.png"/><Relationship Id="rId4" Type="http://schemas.openxmlformats.org/officeDocument/2006/relationships/image" Target="../media/image153.png"/><Relationship Id="rId9" Type="http://schemas.openxmlformats.org/officeDocument/2006/relationships/image" Target="../media/image158.png"/><Relationship Id="rId14" Type="http://schemas.openxmlformats.org/officeDocument/2006/relationships/image" Target="../media/image162.png"/><Relationship Id="rId22" Type="http://schemas.openxmlformats.org/officeDocument/2006/relationships/image" Target="../media/image44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image" Target="../media/image46.jpe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6" Type="http://schemas.microsoft.com/office/2007/relationships/hdphoto" Target="../media/hdphoto2.wdp"/><Relationship Id="rId5" Type="http://schemas.openxmlformats.org/officeDocument/2006/relationships/image" Target="../media/image171.png"/><Relationship Id="rId4" Type="http://schemas.openxmlformats.org/officeDocument/2006/relationships/image" Target="../media/image17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9.jpe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9.jpeg"/><Relationship Id="rId4" Type="http://schemas.openxmlformats.org/officeDocument/2006/relationships/image" Target="../media/image48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4.jpeg"/><Relationship Id="rId13" Type="http://schemas.openxmlformats.org/officeDocument/2006/relationships/image" Target="../media/image179.png"/><Relationship Id="rId3" Type="http://schemas.openxmlformats.org/officeDocument/2006/relationships/image" Target="../media/image43.png"/><Relationship Id="rId7" Type="http://schemas.openxmlformats.org/officeDocument/2006/relationships/image" Target="../media/image173.jpeg"/><Relationship Id="rId12" Type="http://schemas.openxmlformats.org/officeDocument/2006/relationships/image" Target="../media/image178.png"/><Relationship Id="rId2" Type="http://schemas.openxmlformats.org/officeDocument/2006/relationships/notesSlide" Target="../notesSlides/notesSlide29.xml"/><Relationship Id="rId16" Type="http://schemas.openxmlformats.org/officeDocument/2006/relationships/image" Target="../media/image18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2.jpeg"/><Relationship Id="rId11" Type="http://schemas.openxmlformats.org/officeDocument/2006/relationships/image" Target="../media/image177.jpeg"/><Relationship Id="rId5" Type="http://schemas.openxmlformats.org/officeDocument/2006/relationships/image" Target="../media/image45.png"/><Relationship Id="rId15" Type="http://schemas.openxmlformats.org/officeDocument/2006/relationships/image" Target="../media/image181.png"/><Relationship Id="rId10" Type="http://schemas.openxmlformats.org/officeDocument/2006/relationships/image" Target="../media/image176.jpeg"/><Relationship Id="rId4" Type="http://schemas.openxmlformats.org/officeDocument/2006/relationships/image" Target="../media/image44.png"/><Relationship Id="rId9" Type="http://schemas.openxmlformats.org/officeDocument/2006/relationships/image" Target="../media/image175.png"/><Relationship Id="rId14" Type="http://schemas.openxmlformats.org/officeDocument/2006/relationships/image" Target="../media/image180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4.png"/><Relationship Id="rId5" Type="http://schemas.openxmlformats.org/officeDocument/2006/relationships/image" Target="../media/image49.jpeg"/><Relationship Id="rId4" Type="http://schemas.openxmlformats.org/officeDocument/2006/relationships/image" Target="../media/image4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9.jpeg"/><Relationship Id="rId5" Type="http://schemas.openxmlformats.org/officeDocument/2006/relationships/image" Target="../media/image48.png"/><Relationship Id="rId4" Type="http://schemas.openxmlformats.org/officeDocument/2006/relationships/image" Target="../media/image185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9.gif"/><Relationship Id="rId3" Type="http://schemas.openxmlformats.org/officeDocument/2006/relationships/image" Target="../media/image186.png"/><Relationship Id="rId7" Type="http://schemas.openxmlformats.org/officeDocument/2006/relationships/image" Target="../media/image166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8.jpeg"/><Relationship Id="rId5" Type="http://schemas.openxmlformats.org/officeDocument/2006/relationships/image" Target="../media/image43.png"/><Relationship Id="rId10" Type="http://schemas.openxmlformats.org/officeDocument/2006/relationships/image" Target="../media/image45.png"/><Relationship Id="rId4" Type="http://schemas.openxmlformats.org/officeDocument/2006/relationships/image" Target="../media/image187.jpeg"/><Relationship Id="rId9" Type="http://schemas.openxmlformats.org/officeDocument/2006/relationships/image" Target="../media/image44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0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0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51.jpeg"/><Relationship Id="rId7" Type="http://schemas.openxmlformats.org/officeDocument/2006/relationships/image" Target="../media/image5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jpeg"/><Relationship Id="rId5" Type="http://schemas.openxmlformats.org/officeDocument/2006/relationships/image" Target="../media/image53.jpeg"/><Relationship Id="rId10" Type="http://schemas.openxmlformats.org/officeDocument/2006/relationships/image" Target="../media/image45.png"/><Relationship Id="rId4" Type="http://schemas.openxmlformats.org/officeDocument/2006/relationships/image" Target="../media/image52.jpeg"/><Relationship Id="rId9" Type="http://schemas.openxmlformats.org/officeDocument/2006/relationships/image" Target="../media/image4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png"/><Relationship Id="rId11" Type="http://schemas.openxmlformats.org/officeDocument/2006/relationships/image" Target="../media/image65.png"/><Relationship Id="rId5" Type="http://schemas.openxmlformats.org/officeDocument/2006/relationships/image" Target="../media/image59.png"/><Relationship Id="rId10" Type="http://schemas.openxmlformats.org/officeDocument/2006/relationships/image" Target="../media/image64.png"/><Relationship Id="rId4" Type="http://schemas.openxmlformats.org/officeDocument/2006/relationships/image" Target="../media/image58.png"/><Relationship Id="rId9" Type="http://schemas.openxmlformats.org/officeDocument/2006/relationships/image" Target="../media/image6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13" Type="http://schemas.openxmlformats.org/officeDocument/2006/relationships/image" Target="../media/image76.png"/><Relationship Id="rId18" Type="http://schemas.openxmlformats.org/officeDocument/2006/relationships/image" Target="../media/image81.png"/><Relationship Id="rId3" Type="http://schemas.openxmlformats.org/officeDocument/2006/relationships/image" Target="../media/image66.png"/><Relationship Id="rId21" Type="http://schemas.openxmlformats.org/officeDocument/2006/relationships/image" Target="../media/image43.png"/><Relationship Id="rId7" Type="http://schemas.openxmlformats.org/officeDocument/2006/relationships/image" Target="../media/image70.png"/><Relationship Id="rId12" Type="http://schemas.openxmlformats.org/officeDocument/2006/relationships/image" Target="../media/image75.png"/><Relationship Id="rId17" Type="http://schemas.openxmlformats.org/officeDocument/2006/relationships/image" Target="../media/image80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79.png"/><Relationship Id="rId20" Type="http://schemas.microsoft.com/office/2007/relationships/hdphoto" Target="../media/hdphoto1.wdp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9.png"/><Relationship Id="rId11" Type="http://schemas.openxmlformats.org/officeDocument/2006/relationships/image" Target="../media/image74.png"/><Relationship Id="rId5" Type="http://schemas.openxmlformats.org/officeDocument/2006/relationships/image" Target="../media/image68.png"/><Relationship Id="rId15" Type="http://schemas.openxmlformats.org/officeDocument/2006/relationships/image" Target="../media/image78.png"/><Relationship Id="rId23" Type="http://schemas.openxmlformats.org/officeDocument/2006/relationships/image" Target="../media/image45.png"/><Relationship Id="rId10" Type="http://schemas.openxmlformats.org/officeDocument/2006/relationships/image" Target="../media/image73.png"/><Relationship Id="rId19" Type="http://schemas.openxmlformats.org/officeDocument/2006/relationships/image" Target="../media/image82.png"/><Relationship Id="rId4" Type="http://schemas.openxmlformats.org/officeDocument/2006/relationships/image" Target="../media/image67.png"/><Relationship Id="rId9" Type="http://schemas.openxmlformats.org/officeDocument/2006/relationships/image" Target="../media/image72.png"/><Relationship Id="rId14" Type="http://schemas.openxmlformats.org/officeDocument/2006/relationships/image" Target="../media/image77.png"/><Relationship Id="rId22" Type="http://schemas.openxmlformats.org/officeDocument/2006/relationships/image" Target="../media/image8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7" Type="http://schemas.microsoft.com/office/2007/relationships/hdphoto" Target="../media/hdphoto1.wd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png"/><Relationship Id="rId5" Type="http://schemas.openxmlformats.org/officeDocument/2006/relationships/image" Target="../media/image45.png"/><Relationship Id="rId4" Type="http://schemas.openxmlformats.org/officeDocument/2006/relationships/image" Target="../media/image4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jpeg"/><Relationship Id="rId3" Type="http://schemas.openxmlformats.org/officeDocument/2006/relationships/image" Target="../media/image43.png"/><Relationship Id="rId7" Type="http://schemas.openxmlformats.org/officeDocument/2006/relationships/image" Target="../media/image8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7.jpeg"/><Relationship Id="rId5" Type="http://schemas.openxmlformats.org/officeDocument/2006/relationships/image" Target="../media/image86.jpeg"/><Relationship Id="rId10" Type="http://schemas.openxmlformats.org/officeDocument/2006/relationships/image" Target="../media/image45.png"/><Relationship Id="rId4" Type="http://schemas.openxmlformats.org/officeDocument/2006/relationships/image" Target="../media/image85.jpeg"/><Relationship Id="rId9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-26720"/>
            <a:ext cx="12192000" cy="688471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15" dirty="0"/>
          </a:p>
        </p:txBody>
      </p:sp>
      <p:grpSp>
        <p:nvGrpSpPr>
          <p:cNvPr id="32" name="Группа 31"/>
          <p:cNvGrpSpPr/>
          <p:nvPr/>
        </p:nvGrpSpPr>
        <p:grpSpPr>
          <a:xfrm>
            <a:off x="4607090" y="1901989"/>
            <a:ext cx="2977819" cy="3546706"/>
            <a:chOff x="4607090" y="1901989"/>
            <a:chExt cx="2977819" cy="3546706"/>
          </a:xfrm>
        </p:grpSpPr>
        <p:sp>
          <p:nvSpPr>
            <p:cNvPr id="3" name="object 3"/>
            <p:cNvSpPr/>
            <p:nvPr/>
          </p:nvSpPr>
          <p:spPr>
            <a:xfrm>
              <a:off x="5023674" y="4001428"/>
              <a:ext cx="187309" cy="321469"/>
            </a:xfrm>
            <a:custGeom>
              <a:avLst/>
              <a:gdLst/>
              <a:ahLst/>
              <a:cxnLst/>
              <a:rect l="l" t="t" r="r" b="b"/>
              <a:pathLst>
                <a:path w="277495" h="476250">
                  <a:moveTo>
                    <a:pt x="145376" y="0"/>
                  </a:moveTo>
                  <a:lnTo>
                    <a:pt x="101748" y="2818"/>
                  </a:lnTo>
                  <a:lnTo>
                    <a:pt x="63561" y="12350"/>
                  </a:lnTo>
                  <a:lnTo>
                    <a:pt x="24739" y="41119"/>
                  </a:lnTo>
                  <a:lnTo>
                    <a:pt x="6407" y="76863"/>
                  </a:lnTo>
                  <a:lnTo>
                    <a:pt x="0" y="128524"/>
                  </a:lnTo>
                  <a:lnTo>
                    <a:pt x="0" y="347383"/>
                  </a:lnTo>
                  <a:lnTo>
                    <a:pt x="6407" y="399175"/>
                  </a:lnTo>
                  <a:lnTo>
                    <a:pt x="24739" y="434938"/>
                  </a:lnTo>
                  <a:lnTo>
                    <a:pt x="63561" y="463583"/>
                  </a:lnTo>
                  <a:lnTo>
                    <a:pt x="101748" y="473131"/>
                  </a:lnTo>
                  <a:lnTo>
                    <a:pt x="145376" y="475907"/>
                  </a:lnTo>
                  <a:lnTo>
                    <a:pt x="158946" y="475842"/>
                  </a:lnTo>
                  <a:lnTo>
                    <a:pt x="201896" y="474412"/>
                  </a:lnTo>
                  <a:lnTo>
                    <a:pt x="241858" y="470903"/>
                  </a:lnTo>
                  <a:lnTo>
                    <a:pt x="247916" y="469849"/>
                  </a:lnTo>
                  <a:lnTo>
                    <a:pt x="253885" y="468884"/>
                  </a:lnTo>
                  <a:lnTo>
                    <a:pt x="259422" y="467918"/>
                  </a:lnTo>
                  <a:lnTo>
                    <a:pt x="264426" y="467220"/>
                  </a:lnTo>
                  <a:lnTo>
                    <a:pt x="269074" y="466255"/>
                  </a:lnTo>
                  <a:lnTo>
                    <a:pt x="272326" y="464934"/>
                  </a:lnTo>
                  <a:lnTo>
                    <a:pt x="274167" y="463181"/>
                  </a:lnTo>
                  <a:lnTo>
                    <a:pt x="276186" y="461683"/>
                  </a:lnTo>
                  <a:lnTo>
                    <a:pt x="276986" y="458698"/>
                  </a:lnTo>
                  <a:lnTo>
                    <a:pt x="276986" y="410502"/>
                  </a:lnTo>
                  <a:lnTo>
                    <a:pt x="275755" y="407517"/>
                  </a:lnTo>
                  <a:lnTo>
                    <a:pt x="273291" y="404977"/>
                  </a:lnTo>
                  <a:lnTo>
                    <a:pt x="270662" y="402691"/>
                  </a:lnTo>
                  <a:lnTo>
                    <a:pt x="267754" y="401383"/>
                  </a:lnTo>
                  <a:lnTo>
                    <a:pt x="136690" y="401383"/>
                  </a:lnTo>
                  <a:lnTo>
                    <a:pt x="123900" y="400649"/>
                  </a:lnTo>
                  <a:lnTo>
                    <a:pt x="89781" y="373719"/>
                  </a:lnTo>
                  <a:lnTo>
                    <a:pt x="87007" y="347383"/>
                  </a:lnTo>
                  <a:lnTo>
                    <a:pt x="87007" y="266357"/>
                  </a:lnTo>
                  <a:lnTo>
                    <a:pt x="260299" y="266357"/>
                  </a:lnTo>
                  <a:lnTo>
                    <a:pt x="263283" y="265214"/>
                  </a:lnTo>
                  <a:lnTo>
                    <a:pt x="265823" y="262851"/>
                  </a:lnTo>
                  <a:lnTo>
                    <a:pt x="268287" y="260299"/>
                  </a:lnTo>
                  <a:lnTo>
                    <a:pt x="269519" y="257314"/>
                  </a:lnTo>
                  <a:lnTo>
                    <a:pt x="269519" y="205524"/>
                  </a:lnTo>
                  <a:lnTo>
                    <a:pt x="268287" y="202615"/>
                  </a:lnTo>
                  <a:lnTo>
                    <a:pt x="265823" y="199986"/>
                  </a:lnTo>
                  <a:lnTo>
                    <a:pt x="263283" y="197523"/>
                  </a:lnTo>
                  <a:lnTo>
                    <a:pt x="260299" y="196303"/>
                  </a:lnTo>
                  <a:lnTo>
                    <a:pt x="87007" y="196303"/>
                  </a:lnTo>
                  <a:lnTo>
                    <a:pt x="87007" y="128524"/>
                  </a:lnTo>
                  <a:lnTo>
                    <a:pt x="98145" y="85953"/>
                  </a:lnTo>
                  <a:lnTo>
                    <a:pt x="136690" y="74714"/>
                  </a:lnTo>
                  <a:lnTo>
                    <a:pt x="267754" y="74714"/>
                  </a:lnTo>
                  <a:lnTo>
                    <a:pt x="270662" y="73304"/>
                  </a:lnTo>
                  <a:lnTo>
                    <a:pt x="273291" y="70942"/>
                  </a:lnTo>
                  <a:lnTo>
                    <a:pt x="275755" y="68389"/>
                  </a:lnTo>
                  <a:lnTo>
                    <a:pt x="276986" y="65493"/>
                  </a:lnTo>
                  <a:lnTo>
                    <a:pt x="276986" y="17297"/>
                  </a:lnTo>
                  <a:lnTo>
                    <a:pt x="276186" y="14401"/>
                  </a:lnTo>
                  <a:lnTo>
                    <a:pt x="274167" y="12725"/>
                  </a:lnTo>
                  <a:lnTo>
                    <a:pt x="272326" y="10883"/>
                  </a:lnTo>
                  <a:lnTo>
                    <a:pt x="269074" y="9664"/>
                  </a:lnTo>
                  <a:lnTo>
                    <a:pt x="264426" y="8788"/>
                  </a:lnTo>
                  <a:lnTo>
                    <a:pt x="259422" y="7899"/>
                  </a:lnTo>
                  <a:lnTo>
                    <a:pt x="253885" y="7112"/>
                  </a:lnTo>
                  <a:lnTo>
                    <a:pt x="247916" y="6057"/>
                  </a:lnTo>
                  <a:lnTo>
                    <a:pt x="201896" y="1504"/>
                  </a:lnTo>
                  <a:lnTo>
                    <a:pt x="158946" y="79"/>
                  </a:lnTo>
                  <a:lnTo>
                    <a:pt x="14537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4" name="object 4"/>
            <p:cNvSpPr/>
            <p:nvPr/>
          </p:nvSpPr>
          <p:spPr>
            <a:xfrm>
              <a:off x="5245770" y="4004806"/>
              <a:ext cx="255032" cy="314611"/>
            </a:xfrm>
            <a:custGeom>
              <a:avLst/>
              <a:gdLst/>
              <a:ahLst/>
              <a:cxnLst/>
              <a:rect l="l" t="t" r="r" b="b"/>
              <a:pathLst>
                <a:path w="377825" h="466089">
                  <a:moveTo>
                    <a:pt x="87350" y="0"/>
                  </a:moveTo>
                  <a:lnTo>
                    <a:pt x="3340" y="0"/>
                  </a:lnTo>
                  <a:lnTo>
                    <a:pt x="0" y="2730"/>
                  </a:lnTo>
                  <a:lnTo>
                    <a:pt x="0" y="9042"/>
                  </a:lnTo>
                  <a:lnTo>
                    <a:pt x="520" y="10363"/>
                  </a:lnTo>
                  <a:lnTo>
                    <a:pt x="1320" y="11937"/>
                  </a:lnTo>
                  <a:lnTo>
                    <a:pt x="138531" y="230797"/>
                  </a:lnTo>
                  <a:lnTo>
                    <a:pt x="5003" y="453351"/>
                  </a:lnTo>
                  <a:lnTo>
                    <a:pt x="4203" y="454837"/>
                  </a:lnTo>
                  <a:lnTo>
                    <a:pt x="3766" y="456158"/>
                  </a:lnTo>
                  <a:lnTo>
                    <a:pt x="3683" y="463092"/>
                  </a:lnTo>
                  <a:lnTo>
                    <a:pt x="7188" y="465899"/>
                  </a:lnTo>
                  <a:lnTo>
                    <a:pt x="88493" y="465899"/>
                  </a:lnTo>
                  <a:lnTo>
                    <a:pt x="93840" y="461517"/>
                  </a:lnTo>
                  <a:lnTo>
                    <a:pt x="98501" y="453351"/>
                  </a:lnTo>
                  <a:lnTo>
                    <a:pt x="184886" y="305422"/>
                  </a:lnTo>
                  <a:lnTo>
                    <a:pt x="283674" y="305422"/>
                  </a:lnTo>
                  <a:lnTo>
                    <a:pt x="238264" y="232740"/>
                  </a:lnTo>
                  <a:lnTo>
                    <a:pt x="282706" y="158115"/>
                  </a:lnTo>
                  <a:lnTo>
                    <a:pt x="191731" y="158115"/>
                  </a:lnTo>
                  <a:lnTo>
                    <a:pt x="100342" y="11937"/>
                  </a:lnTo>
                  <a:lnTo>
                    <a:pt x="98145" y="9042"/>
                  </a:lnTo>
                  <a:lnTo>
                    <a:pt x="95783" y="6324"/>
                  </a:lnTo>
                  <a:lnTo>
                    <a:pt x="93141" y="3784"/>
                  </a:lnTo>
                  <a:lnTo>
                    <a:pt x="90424" y="1320"/>
                  </a:lnTo>
                  <a:lnTo>
                    <a:pt x="87350" y="0"/>
                  </a:lnTo>
                  <a:close/>
                </a:path>
                <a:path w="377825" h="466089">
                  <a:moveTo>
                    <a:pt x="283674" y="305422"/>
                  </a:moveTo>
                  <a:lnTo>
                    <a:pt x="184886" y="305422"/>
                  </a:lnTo>
                  <a:lnTo>
                    <a:pt x="276974" y="453351"/>
                  </a:lnTo>
                  <a:lnTo>
                    <a:pt x="289966" y="465899"/>
                  </a:lnTo>
                  <a:lnTo>
                    <a:pt x="370738" y="465899"/>
                  </a:lnTo>
                  <a:lnTo>
                    <a:pt x="373278" y="465112"/>
                  </a:lnTo>
                  <a:lnTo>
                    <a:pt x="374865" y="463613"/>
                  </a:lnTo>
                  <a:lnTo>
                    <a:pt x="376618" y="462394"/>
                  </a:lnTo>
                  <a:lnTo>
                    <a:pt x="377494" y="460375"/>
                  </a:lnTo>
                  <a:lnTo>
                    <a:pt x="377494" y="456158"/>
                  </a:lnTo>
                  <a:lnTo>
                    <a:pt x="376961" y="454571"/>
                  </a:lnTo>
                  <a:lnTo>
                    <a:pt x="376097" y="453351"/>
                  </a:lnTo>
                  <a:lnTo>
                    <a:pt x="283674" y="305422"/>
                  </a:lnTo>
                  <a:close/>
                </a:path>
                <a:path w="377825" h="466089">
                  <a:moveTo>
                    <a:pt x="367753" y="0"/>
                  </a:moveTo>
                  <a:lnTo>
                    <a:pt x="289534" y="0"/>
                  </a:lnTo>
                  <a:lnTo>
                    <a:pt x="286283" y="1320"/>
                  </a:lnTo>
                  <a:lnTo>
                    <a:pt x="283298" y="3784"/>
                  </a:lnTo>
                  <a:lnTo>
                    <a:pt x="280492" y="6324"/>
                  </a:lnTo>
                  <a:lnTo>
                    <a:pt x="278117" y="9042"/>
                  </a:lnTo>
                  <a:lnTo>
                    <a:pt x="191731" y="158115"/>
                  </a:lnTo>
                  <a:lnTo>
                    <a:pt x="282706" y="158115"/>
                  </a:lnTo>
                  <a:lnTo>
                    <a:pt x="369760" y="11937"/>
                  </a:lnTo>
                  <a:lnTo>
                    <a:pt x="370738" y="10363"/>
                  </a:lnTo>
                  <a:lnTo>
                    <a:pt x="371081" y="9042"/>
                  </a:lnTo>
                  <a:lnTo>
                    <a:pt x="371081" y="2730"/>
                  </a:lnTo>
                  <a:lnTo>
                    <a:pt x="36775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5" name="object 5"/>
            <p:cNvSpPr/>
            <p:nvPr/>
          </p:nvSpPr>
          <p:spPr>
            <a:xfrm>
              <a:off x="5538565" y="4001428"/>
              <a:ext cx="219027" cy="318040"/>
            </a:xfrm>
            <a:custGeom>
              <a:avLst/>
              <a:gdLst/>
              <a:ahLst/>
              <a:cxnLst/>
              <a:rect l="l" t="t" r="r" b="b"/>
              <a:pathLst>
                <a:path w="324484" h="471170">
                  <a:moveTo>
                    <a:pt x="143179" y="0"/>
                  </a:moveTo>
                  <a:lnTo>
                    <a:pt x="92816" y="1259"/>
                  </a:lnTo>
                  <a:lnTo>
                    <a:pt x="46520" y="4802"/>
                  </a:lnTo>
                  <a:lnTo>
                    <a:pt x="20015" y="8254"/>
                  </a:lnTo>
                  <a:lnTo>
                    <a:pt x="13779" y="9042"/>
                  </a:lnTo>
                  <a:lnTo>
                    <a:pt x="8864" y="10883"/>
                  </a:lnTo>
                  <a:lnTo>
                    <a:pt x="5359" y="13525"/>
                  </a:lnTo>
                  <a:lnTo>
                    <a:pt x="1833" y="16351"/>
                  </a:lnTo>
                  <a:lnTo>
                    <a:pt x="0" y="20637"/>
                  </a:lnTo>
                  <a:lnTo>
                    <a:pt x="0" y="461683"/>
                  </a:lnTo>
                  <a:lnTo>
                    <a:pt x="1320" y="464667"/>
                  </a:lnTo>
                  <a:lnTo>
                    <a:pt x="3784" y="467220"/>
                  </a:lnTo>
                  <a:lnTo>
                    <a:pt x="6324" y="469760"/>
                  </a:lnTo>
                  <a:lnTo>
                    <a:pt x="9131" y="470903"/>
                  </a:lnTo>
                  <a:lnTo>
                    <a:pt x="78574" y="470903"/>
                  </a:lnTo>
                  <a:lnTo>
                    <a:pt x="81381" y="469760"/>
                  </a:lnTo>
                  <a:lnTo>
                    <a:pt x="83667" y="467220"/>
                  </a:lnTo>
                  <a:lnTo>
                    <a:pt x="86029" y="464667"/>
                  </a:lnTo>
                  <a:lnTo>
                    <a:pt x="87083" y="461683"/>
                  </a:lnTo>
                  <a:lnTo>
                    <a:pt x="87083" y="294792"/>
                  </a:lnTo>
                  <a:lnTo>
                    <a:pt x="183449" y="294792"/>
                  </a:lnTo>
                  <a:lnTo>
                    <a:pt x="228050" y="285723"/>
                  </a:lnTo>
                  <a:lnTo>
                    <a:pt x="269773" y="265658"/>
                  </a:lnTo>
                  <a:lnTo>
                    <a:pt x="301354" y="233554"/>
                  </a:lnTo>
                  <a:lnTo>
                    <a:pt x="306126" y="225615"/>
                  </a:lnTo>
                  <a:lnTo>
                    <a:pt x="136512" y="225615"/>
                  </a:lnTo>
                  <a:lnTo>
                    <a:pt x="131330" y="225437"/>
                  </a:lnTo>
                  <a:lnTo>
                    <a:pt x="126161" y="225183"/>
                  </a:lnTo>
                  <a:lnTo>
                    <a:pt x="120891" y="225094"/>
                  </a:lnTo>
                  <a:lnTo>
                    <a:pt x="115011" y="224739"/>
                  </a:lnTo>
                  <a:lnTo>
                    <a:pt x="103936" y="224396"/>
                  </a:lnTo>
                  <a:lnTo>
                    <a:pt x="98767" y="224307"/>
                  </a:lnTo>
                  <a:lnTo>
                    <a:pt x="89636" y="223862"/>
                  </a:lnTo>
                  <a:lnTo>
                    <a:pt x="87083" y="223862"/>
                  </a:lnTo>
                  <a:lnTo>
                    <a:pt x="87083" y="74104"/>
                  </a:lnTo>
                  <a:lnTo>
                    <a:pt x="90068" y="73659"/>
                  </a:lnTo>
                  <a:lnTo>
                    <a:pt x="93941" y="73126"/>
                  </a:lnTo>
                  <a:lnTo>
                    <a:pt x="98767" y="73126"/>
                  </a:lnTo>
                  <a:lnTo>
                    <a:pt x="114122" y="72605"/>
                  </a:lnTo>
                  <a:lnTo>
                    <a:pt x="124828" y="72085"/>
                  </a:lnTo>
                  <a:lnTo>
                    <a:pt x="130187" y="71983"/>
                  </a:lnTo>
                  <a:lnTo>
                    <a:pt x="135280" y="71551"/>
                  </a:lnTo>
                  <a:lnTo>
                    <a:pt x="143014" y="71462"/>
                  </a:lnTo>
                  <a:lnTo>
                    <a:pt x="306885" y="71462"/>
                  </a:lnTo>
                  <a:lnTo>
                    <a:pt x="301379" y="62404"/>
                  </a:lnTo>
                  <a:lnTo>
                    <a:pt x="269773" y="30645"/>
                  </a:lnTo>
                  <a:lnTo>
                    <a:pt x="228125" y="11031"/>
                  </a:lnTo>
                  <a:lnTo>
                    <a:pt x="178704" y="1757"/>
                  </a:lnTo>
                  <a:lnTo>
                    <a:pt x="161185" y="442"/>
                  </a:lnTo>
                  <a:lnTo>
                    <a:pt x="143179" y="0"/>
                  </a:lnTo>
                  <a:close/>
                </a:path>
                <a:path w="324484" h="471170">
                  <a:moveTo>
                    <a:pt x="183449" y="294792"/>
                  </a:moveTo>
                  <a:lnTo>
                    <a:pt x="87083" y="294792"/>
                  </a:lnTo>
                  <a:lnTo>
                    <a:pt x="122137" y="296615"/>
                  </a:lnTo>
                  <a:lnTo>
                    <a:pt x="129590" y="296918"/>
                  </a:lnTo>
                  <a:lnTo>
                    <a:pt x="136596" y="297103"/>
                  </a:lnTo>
                  <a:lnTo>
                    <a:pt x="143179" y="297167"/>
                  </a:lnTo>
                  <a:lnTo>
                    <a:pt x="161128" y="296746"/>
                  </a:lnTo>
                  <a:lnTo>
                    <a:pt x="178609" y="295436"/>
                  </a:lnTo>
                  <a:lnTo>
                    <a:pt x="183449" y="294792"/>
                  </a:lnTo>
                  <a:close/>
                </a:path>
                <a:path w="324484" h="471170">
                  <a:moveTo>
                    <a:pt x="306885" y="71462"/>
                  </a:moveTo>
                  <a:lnTo>
                    <a:pt x="143014" y="71462"/>
                  </a:lnTo>
                  <a:lnTo>
                    <a:pt x="165061" y="72516"/>
                  </a:lnTo>
                  <a:lnTo>
                    <a:pt x="184212" y="75679"/>
                  </a:lnTo>
                  <a:lnTo>
                    <a:pt x="223763" y="98015"/>
                  </a:lnTo>
                  <a:lnTo>
                    <a:pt x="236943" y="144589"/>
                  </a:lnTo>
                  <a:lnTo>
                    <a:pt x="236917" y="150482"/>
                  </a:lnTo>
                  <a:lnTo>
                    <a:pt x="224835" y="196302"/>
                  </a:lnTo>
                  <a:lnTo>
                    <a:pt x="186489" y="221006"/>
                  </a:lnTo>
                  <a:lnTo>
                    <a:pt x="143014" y="225615"/>
                  </a:lnTo>
                  <a:lnTo>
                    <a:pt x="306126" y="225615"/>
                  </a:lnTo>
                  <a:lnTo>
                    <a:pt x="320473" y="188610"/>
                  </a:lnTo>
                  <a:lnTo>
                    <a:pt x="324116" y="150482"/>
                  </a:lnTo>
                  <a:lnTo>
                    <a:pt x="324100" y="144589"/>
                  </a:lnTo>
                  <a:lnTo>
                    <a:pt x="323208" y="125033"/>
                  </a:lnTo>
                  <a:lnTo>
                    <a:pt x="320473" y="106887"/>
                  </a:lnTo>
                  <a:lnTo>
                    <a:pt x="315892" y="90454"/>
                  </a:lnTo>
                  <a:lnTo>
                    <a:pt x="309442" y="75669"/>
                  </a:lnTo>
                  <a:lnTo>
                    <a:pt x="306885" y="7146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6" name="object 6"/>
            <p:cNvSpPr/>
            <p:nvPr/>
          </p:nvSpPr>
          <p:spPr>
            <a:xfrm>
              <a:off x="5793493" y="4001428"/>
              <a:ext cx="240887" cy="321469"/>
            </a:xfrm>
            <a:custGeom>
              <a:avLst/>
              <a:gdLst/>
              <a:ahLst/>
              <a:cxnLst/>
              <a:rect l="l" t="t" r="r" b="b"/>
              <a:pathLst>
                <a:path w="356870" h="476250">
                  <a:moveTo>
                    <a:pt x="178219" y="0"/>
                  </a:moveTo>
                  <a:lnTo>
                    <a:pt x="123614" y="6440"/>
                  </a:lnTo>
                  <a:lnTo>
                    <a:pt x="76547" y="25711"/>
                  </a:lnTo>
                  <a:lnTo>
                    <a:pt x="39300" y="58695"/>
                  </a:lnTo>
                  <a:lnTo>
                    <a:pt x="13436" y="106921"/>
                  </a:lnTo>
                  <a:lnTo>
                    <a:pt x="3327" y="147793"/>
                  </a:lnTo>
                  <a:lnTo>
                    <a:pt x="0" y="195770"/>
                  </a:lnTo>
                  <a:lnTo>
                    <a:pt x="0" y="280212"/>
                  </a:lnTo>
                  <a:lnTo>
                    <a:pt x="3327" y="328556"/>
                  </a:lnTo>
                  <a:lnTo>
                    <a:pt x="13436" y="369328"/>
                  </a:lnTo>
                  <a:lnTo>
                    <a:pt x="39300" y="417202"/>
                  </a:lnTo>
                  <a:lnTo>
                    <a:pt x="76547" y="450267"/>
                  </a:lnTo>
                  <a:lnTo>
                    <a:pt x="123614" y="469531"/>
                  </a:lnTo>
                  <a:lnTo>
                    <a:pt x="178219" y="475907"/>
                  </a:lnTo>
                  <a:lnTo>
                    <a:pt x="197295" y="475186"/>
                  </a:lnTo>
                  <a:lnTo>
                    <a:pt x="249593" y="464667"/>
                  </a:lnTo>
                  <a:lnTo>
                    <a:pt x="293496" y="440816"/>
                  </a:lnTo>
                  <a:lnTo>
                    <a:pt x="327104" y="402926"/>
                  </a:lnTo>
                  <a:lnTo>
                    <a:pt x="328754" y="399884"/>
                  </a:lnTo>
                  <a:lnTo>
                    <a:pt x="178219" y="399884"/>
                  </a:lnTo>
                  <a:lnTo>
                    <a:pt x="156475" y="398131"/>
                  </a:lnTo>
                  <a:lnTo>
                    <a:pt x="109562" y="371436"/>
                  </a:lnTo>
                  <a:lnTo>
                    <a:pt x="92656" y="334387"/>
                  </a:lnTo>
                  <a:lnTo>
                    <a:pt x="87007" y="280212"/>
                  </a:lnTo>
                  <a:lnTo>
                    <a:pt x="87007" y="195770"/>
                  </a:lnTo>
                  <a:lnTo>
                    <a:pt x="92656" y="141460"/>
                  </a:lnTo>
                  <a:lnTo>
                    <a:pt x="109562" y="104457"/>
                  </a:lnTo>
                  <a:lnTo>
                    <a:pt x="156475" y="77711"/>
                  </a:lnTo>
                  <a:lnTo>
                    <a:pt x="178219" y="75933"/>
                  </a:lnTo>
                  <a:lnTo>
                    <a:pt x="328655" y="75933"/>
                  </a:lnTo>
                  <a:lnTo>
                    <a:pt x="327104" y="73051"/>
                  </a:lnTo>
                  <a:lnTo>
                    <a:pt x="293496" y="35165"/>
                  </a:lnTo>
                  <a:lnTo>
                    <a:pt x="249593" y="11315"/>
                  </a:lnTo>
                  <a:lnTo>
                    <a:pt x="197295" y="732"/>
                  </a:lnTo>
                  <a:lnTo>
                    <a:pt x="178219" y="0"/>
                  </a:lnTo>
                  <a:close/>
                </a:path>
                <a:path w="356870" h="476250">
                  <a:moveTo>
                    <a:pt x="328655" y="75933"/>
                  </a:moveTo>
                  <a:lnTo>
                    <a:pt x="178219" y="75933"/>
                  </a:lnTo>
                  <a:lnTo>
                    <a:pt x="199998" y="77711"/>
                  </a:lnTo>
                  <a:lnTo>
                    <a:pt x="218732" y="83051"/>
                  </a:lnTo>
                  <a:lnTo>
                    <a:pt x="256923" y="120816"/>
                  </a:lnTo>
                  <a:lnTo>
                    <a:pt x="268119" y="166431"/>
                  </a:lnTo>
                  <a:lnTo>
                    <a:pt x="269519" y="195770"/>
                  </a:lnTo>
                  <a:lnTo>
                    <a:pt x="269519" y="280212"/>
                  </a:lnTo>
                  <a:lnTo>
                    <a:pt x="263920" y="334387"/>
                  </a:lnTo>
                  <a:lnTo>
                    <a:pt x="247129" y="371436"/>
                  </a:lnTo>
                  <a:lnTo>
                    <a:pt x="199998" y="398131"/>
                  </a:lnTo>
                  <a:lnTo>
                    <a:pt x="178219" y="399884"/>
                  </a:lnTo>
                  <a:lnTo>
                    <a:pt x="328754" y="399884"/>
                  </a:lnTo>
                  <a:lnTo>
                    <a:pt x="349031" y="349859"/>
                  </a:lnTo>
                  <a:lnTo>
                    <a:pt x="355698" y="305361"/>
                  </a:lnTo>
                  <a:lnTo>
                    <a:pt x="356527" y="280212"/>
                  </a:lnTo>
                  <a:lnTo>
                    <a:pt x="356527" y="195770"/>
                  </a:lnTo>
                  <a:lnTo>
                    <a:pt x="353204" y="147793"/>
                  </a:lnTo>
                  <a:lnTo>
                    <a:pt x="343166" y="106921"/>
                  </a:lnTo>
                  <a:lnTo>
                    <a:pt x="335760" y="89134"/>
                  </a:lnTo>
                  <a:lnTo>
                    <a:pt x="328655" y="7593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7" name="object 7"/>
            <p:cNvSpPr/>
            <p:nvPr/>
          </p:nvSpPr>
          <p:spPr>
            <a:xfrm>
              <a:off x="6197987" y="4001428"/>
              <a:ext cx="200168" cy="318040"/>
            </a:xfrm>
            <a:custGeom>
              <a:avLst/>
              <a:gdLst/>
              <a:ahLst/>
              <a:cxnLst/>
              <a:rect l="l" t="t" r="r" b="b"/>
              <a:pathLst>
                <a:path w="296545" h="471170">
                  <a:moveTo>
                    <a:pt x="288090" y="68389"/>
                  </a:moveTo>
                  <a:lnTo>
                    <a:pt x="141693" y="68389"/>
                  </a:lnTo>
                  <a:lnTo>
                    <a:pt x="160020" y="69058"/>
                  </a:lnTo>
                  <a:lnTo>
                    <a:pt x="175515" y="71043"/>
                  </a:lnTo>
                  <a:lnTo>
                    <a:pt x="210753" y="93017"/>
                  </a:lnTo>
                  <a:lnTo>
                    <a:pt x="214998" y="114833"/>
                  </a:lnTo>
                  <a:lnTo>
                    <a:pt x="214998" y="123609"/>
                  </a:lnTo>
                  <a:lnTo>
                    <a:pt x="204292" y="153987"/>
                  </a:lnTo>
                  <a:lnTo>
                    <a:pt x="200075" y="159156"/>
                  </a:lnTo>
                  <a:lnTo>
                    <a:pt x="166011" y="185457"/>
                  </a:lnTo>
                  <a:lnTo>
                    <a:pt x="95250" y="232638"/>
                  </a:lnTo>
                  <a:lnTo>
                    <a:pt x="85652" y="239496"/>
                  </a:lnTo>
                  <a:lnTo>
                    <a:pt x="50155" y="272454"/>
                  </a:lnTo>
                  <a:lnTo>
                    <a:pt x="21946" y="312634"/>
                  </a:lnTo>
                  <a:lnTo>
                    <a:pt x="4189" y="359159"/>
                  </a:lnTo>
                  <a:lnTo>
                    <a:pt x="0" y="396989"/>
                  </a:lnTo>
                  <a:lnTo>
                    <a:pt x="0" y="461683"/>
                  </a:lnTo>
                  <a:lnTo>
                    <a:pt x="1143" y="464667"/>
                  </a:lnTo>
                  <a:lnTo>
                    <a:pt x="3771" y="467220"/>
                  </a:lnTo>
                  <a:lnTo>
                    <a:pt x="6146" y="469760"/>
                  </a:lnTo>
                  <a:lnTo>
                    <a:pt x="9131" y="470903"/>
                  </a:lnTo>
                  <a:lnTo>
                    <a:pt x="281546" y="470903"/>
                  </a:lnTo>
                  <a:lnTo>
                    <a:pt x="284530" y="469760"/>
                  </a:lnTo>
                  <a:lnTo>
                    <a:pt x="287159" y="467220"/>
                  </a:lnTo>
                  <a:lnTo>
                    <a:pt x="289699" y="464667"/>
                  </a:lnTo>
                  <a:lnTo>
                    <a:pt x="290753" y="461683"/>
                  </a:lnTo>
                  <a:lnTo>
                    <a:pt x="290753" y="407161"/>
                  </a:lnTo>
                  <a:lnTo>
                    <a:pt x="289699" y="404621"/>
                  </a:lnTo>
                  <a:lnTo>
                    <a:pt x="287159" y="402513"/>
                  </a:lnTo>
                  <a:lnTo>
                    <a:pt x="284530" y="400405"/>
                  </a:lnTo>
                  <a:lnTo>
                    <a:pt x="281546" y="399440"/>
                  </a:lnTo>
                  <a:lnTo>
                    <a:pt x="72072" y="399440"/>
                  </a:lnTo>
                  <a:lnTo>
                    <a:pt x="72072" y="396989"/>
                  </a:lnTo>
                  <a:lnTo>
                    <a:pt x="84518" y="345097"/>
                  </a:lnTo>
                  <a:lnTo>
                    <a:pt x="122080" y="302975"/>
                  </a:lnTo>
                  <a:lnTo>
                    <a:pt x="161010" y="273989"/>
                  </a:lnTo>
                  <a:lnTo>
                    <a:pt x="217360" y="236512"/>
                  </a:lnTo>
                  <a:lnTo>
                    <a:pt x="235578" y="223187"/>
                  </a:lnTo>
                  <a:lnTo>
                    <a:pt x="264995" y="195951"/>
                  </a:lnTo>
                  <a:lnTo>
                    <a:pt x="290955" y="151436"/>
                  </a:lnTo>
                  <a:lnTo>
                    <a:pt x="295935" y="114833"/>
                  </a:lnTo>
                  <a:lnTo>
                    <a:pt x="293653" y="87560"/>
                  </a:lnTo>
                  <a:lnTo>
                    <a:pt x="288090" y="68389"/>
                  </a:lnTo>
                  <a:close/>
                </a:path>
                <a:path w="296545" h="471170">
                  <a:moveTo>
                    <a:pt x="141693" y="0"/>
                  </a:moveTo>
                  <a:lnTo>
                    <a:pt x="100686" y="2040"/>
                  </a:lnTo>
                  <a:lnTo>
                    <a:pt x="59062" y="7167"/>
                  </a:lnTo>
                  <a:lnTo>
                    <a:pt x="15633" y="15709"/>
                  </a:lnTo>
                  <a:lnTo>
                    <a:pt x="7289" y="19926"/>
                  </a:lnTo>
                  <a:lnTo>
                    <a:pt x="4838" y="21767"/>
                  </a:lnTo>
                  <a:lnTo>
                    <a:pt x="3771" y="24231"/>
                  </a:lnTo>
                  <a:lnTo>
                    <a:pt x="3858" y="68909"/>
                  </a:lnTo>
                  <a:lnTo>
                    <a:pt x="4737" y="71462"/>
                  </a:lnTo>
                  <a:lnTo>
                    <a:pt x="6845" y="74104"/>
                  </a:lnTo>
                  <a:lnTo>
                    <a:pt x="8864" y="76377"/>
                  </a:lnTo>
                  <a:lnTo>
                    <a:pt x="11671" y="77787"/>
                  </a:lnTo>
                  <a:lnTo>
                    <a:pt x="16243" y="77787"/>
                  </a:lnTo>
                  <a:lnTo>
                    <a:pt x="23294" y="76806"/>
                  </a:lnTo>
                  <a:lnTo>
                    <a:pt x="30641" y="75950"/>
                  </a:lnTo>
                  <a:lnTo>
                    <a:pt x="46355" y="74447"/>
                  </a:lnTo>
                  <a:lnTo>
                    <a:pt x="54497" y="73547"/>
                  </a:lnTo>
                  <a:lnTo>
                    <a:pt x="62714" y="72788"/>
                  </a:lnTo>
                  <a:lnTo>
                    <a:pt x="103805" y="69809"/>
                  </a:lnTo>
                  <a:lnTo>
                    <a:pt x="288090" y="68389"/>
                  </a:lnTo>
                  <a:lnTo>
                    <a:pt x="286837" y="64073"/>
                  </a:lnTo>
                  <a:lnTo>
                    <a:pt x="259765" y="28447"/>
                  </a:lnTo>
                  <a:lnTo>
                    <a:pt x="212217" y="7146"/>
                  </a:lnTo>
                  <a:lnTo>
                    <a:pt x="179805" y="1791"/>
                  </a:lnTo>
                  <a:lnTo>
                    <a:pt x="14169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8" name="object 8"/>
            <p:cNvSpPr/>
            <p:nvPr/>
          </p:nvSpPr>
          <p:spPr>
            <a:xfrm>
              <a:off x="6439997" y="4001428"/>
              <a:ext cx="220742" cy="321469"/>
            </a:xfrm>
            <a:custGeom>
              <a:avLst/>
              <a:gdLst/>
              <a:ahLst/>
              <a:cxnLst/>
              <a:rect l="l" t="t" r="r" b="b"/>
              <a:pathLst>
                <a:path w="327025" h="476250">
                  <a:moveTo>
                    <a:pt x="163626" y="0"/>
                  </a:moveTo>
                  <a:lnTo>
                    <a:pt x="110598" y="6595"/>
                  </a:lnTo>
                  <a:lnTo>
                    <a:pt x="66859" y="26771"/>
                  </a:lnTo>
                  <a:lnTo>
                    <a:pt x="33579" y="62721"/>
                  </a:lnTo>
                  <a:lnTo>
                    <a:pt x="11226" y="115620"/>
                  </a:lnTo>
                  <a:lnTo>
                    <a:pt x="2784" y="161132"/>
                  </a:lnTo>
                  <a:lnTo>
                    <a:pt x="0" y="214998"/>
                  </a:lnTo>
                  <a:lnTo>
                    <a:pt x="0" y="261353"/>
                  </a:lnTo>
                  <a:lnTo>
                    <a:pt x="2784" y="315429"/>
                  </a:lnTo>
                  <a:lnTo>
                    <a:pt x="11226" y="360819"/>
                  </a:lnTo>
                  <a:lnTo>
                    <a:pt x="24885" y="397968"/>
                  </a:lnTo>
                  <a:lnTo>
                    <a:pt x="54603" y="439164"/>
                  </a:lnTo>
                  <a:lnTo>
                    <a:pt x="94983" y="464324"/>
                  </a:lnTo>
                  <a:lnTo>
                    <a:pt x="144953" y="475170"/>
                  </a:lnTo>
                  <a:lnTo>
                    <a:pt x="163626" y="475907"/>
                  </a:lnTo>
                  <a:lnTo>
                    <a:pt x="182181" y="475170"/>
                  </a:lnTo>
                  <a:lnTo>
                    <a:pt x="231762" y="464324"/>
                  </a:lnTo>
                  <a:lnTo>
                    <a:pt x="272047" y="439164"/>
                  </a:lnTo>
                  <a:lnTo>
                    <a:pt x="298554" y="404367"/>
                  </a:lnTo>
                  <a:lnTo>
                    <a:pt x="163626" y="404367"/>
                  </a:lnTo>
                  <a:lnTo>
                    <a:pt x="155582" y="403956"/>
                  </a:lnTo>
                  <a:lnTo>
                    <a:pt x="120532" y="388888"/>
                  </a:lnTo>
                  <a:lnTo>
                    <a:pt x="100055" y="356009"/>
                  </a:lnTo>
                  <a:lnTo>
                    <a:pt x="90303" y="316681"/>
                  </a:lnTo>
                  <a:lnTo>
                    <a:pt x="87083" y="261353"/>
                  </a:lnTo>
                  <a:lnTo>
                    <a:pt x="87086" y="214998"/>
                  </a:lnTo>
                  <a:lnTo>
                    <a:pt x="88476" y="176402"/>
                  </a:lnTo>
                  <a:lnTo>
                    <a:pt x="96245" y="131724"/>
                  </a:lnTo>
                  <a:lnTo>
                    <a:pt x="114736" y="93397"/>
                  </a:lnTo>
                  <a:lnTo>
                    <a:pt x="147886" y="73110"/>
                  </a:lnTo>
                  <a:lnTo>
                    <a:pt x="163626" y="71462"/>
                  </a:lnTo>
                  <a:lnTo>
                    <a:pt x="298241" y="71462"/>
                  </a:lnTo>
                  <a:lnTo>
                    <a:pt x="293371" y="62721"/>
                  </a:lnTo>
                  <a:lnTo>
                    <a:pt x="259735" y="26771"/>
                  </a:lnTo>
                  <a:lnTo>
                    <a:pt x="216279" y="6595"/>
                  </a:lnTo>
                  <a:lnTo>
                    <a:pt x="182181" y="737"/>
                  </a:lnTo>
                  <a:lnTo>
                    <a:pt x="163626" y="0"/>
                  </a:lnTo>
                  <a:close/>
                </a:path>
                <a:path w="327025" h="476250">
                  <a:moveTo>
                    <a:pt x="298241" y="71462"/>
                  </a:moveTo>
                  <a:lnTo>
                    <a:pt x="163626" y="71462"/>
                  </a:lnTo>
                  <a:lnTo>
                    <a:pt x="171543" y="71874"/>
                  </a:lnTo>
                  <a:lnTo>
                    <a:pt x="179195" y="73110"/>
                  </a:lnTo>
                  <a:lnTo>
                    <a:pt x="212347" y="93397"/>
                  </a:lnTo>
                  <a:lnTo>
                    <a:pt x="230794" y="131724"/>
                  </a:lnTo>
                  <a:lnTo>
                    <a:pt x="238490" y="176402"/>
                  </a:lnTo>
                  <a:lnTo>
                    <a:pt x="240013" y="214998"/>
                  </a:lnTo>
                  <a:lnTo>
                    <a:pt x="240017" y="261353"/>
                  </a:lnTo>
                  <a:lnTo>
                    <a:pt x="239628" y="281729"/>
                  </a:lnTo>
                  <a:lnTo>
                    <a:pt x="234124" y="331228"/>
                  </a:lnTo>
                  <a:lnTo>
                    <a:pt x="217716" y="375132"/>
                  </a:lnTo>
                  <a:lnTo>
                    <a:pt x="186549" y="400660"/>
                  </a:lnTo>
                  <a:lnTo>
                    <a:pt x="163626" y="404367"/>
                  </a:lnTo>
                  <a:lnTo>
                    <a:pt x="298554" y="404367"/>
                  </a:lnTo>
                  <a:lnTo>
                    <a:pt x="315861" y="360819"/>
                  </a:lnTo>
                  <a:lnTo>
                    <a:pt x="324237" y="315429"/>
                  </a:lnTo>
                  <a:lnTo>
                    <a:pt x="327012" y="261353"/>
                  </a:lnTo>
                  <a:lnTo>
                    <a:pt x="327012" y="214998"/>
                  </a:lnTo>
                  <a:lnTo>
                    <a:pt x="324237" y="161132"/>
                  </a:lnTo>
                  <a:lnTo>
                    <a:pt x="315861" y="115620"/>
                  </a:lnTo>
                  <a:lnTo>
                    <a:pt x="302147" y="78473"/>
                  </a:lnTo>
                  <a:lnTo>
                    <a:pt x="298241" y="7146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9" name="object 9"/>
            <p:cNvSpPr/>
            <p:nvPr/>
          </p:nvSpPr>
          <p:spPr>
            <a:xfrm>
              <a:off x="6708488" y="4004806"/>
              <a:ext cx="189452" cy="314611"/>
            </a:xfrm>
            <a:custGeom>
              <a:avLst/>
              <a:gdLst/>
              <a:ahLst/>
              <a:cxnLst/>
              <a:rect l="l" t="t" r="r" b="b"/>
              <a:pathLst>
                <a:path w="280670" h="466089">
                  <a:moveTo>
                    <a:pt x="271005" y="394436"/>
                  </a:moveTo>
                  <a:lnTo>
                    <a:pt x="9220" y="394436"/>
                  </a:lnTo>
                  <a:lnTo>
                    <a:pt x="6235" y="395401"/>
                  </a:lnTo>
                  <a:lnTo>
                    <a:pt x="3606" y="397687"/>
                  </a:lnTo>
                  <a:lnTo>
                    <a:pt x="1231" y="399618"/>
                  </a:lnTo>
                  <a:lnTo>
                    <a:pt x="0" y="402348"/>
                  </a:lnTo>
                  <a:lnTo>
                    <a:pt x="0" y="456679"/>
                  </a:lnTo>
                  <a:lnTo>
                    <a:pt x="1231" y="459663"/>
                  </a:lnTo>
                  <a:lnTo>
                    <a:pt x="3606" y="462216"/>
                  </a:lnTo>
                  <a:lnTo>
                    <a:pt x="6235" y="464591"/>
                  </a:lnTo>
                  <a:lnTo>
                    <a:pt x="9220" y="465899"/>
                  </a:lnTo>
                  <a:lnTo>
                    <a:pt x="271005" y="465899"/>
                  </a:lnTo>
                  <a:lnTo>
                    <a:pt x="273900" y="464591"/>
                  </a:lnTo>
                  <a:lnTo>
                    <a:pt x="276542" y="462216"/>
                  </a:lnTo>
                  <a:lnTo>
                    <a:pt x="279006" y="459663"/>
                  </a:lnTo>
                  <a:lnTo>
                    <a:pt x="280225" y="456679"/>
                  </a:lnTo>
                  <a:lnTo>
                    <a:pt x="280225" y="402348"/>
                  </a:lnTo>
                  <a:lnTo>
                    <a:pt x="279006" y="399618"/>
                  </a:lnTo>
                  <a:lnTo>
                    <a:pt x="276542" y="397687"/>
                  </a:lnTo>
                  <a:lnTo>
                    <a:pt x="273900" y="395401"/>
                  </a:lnTo>
                  <a:lnTo>
                    <a:pt x="271005" y="394436"/>
                  </a:lnTo>
                  <a:close/>
                </a:path>
                <a:path w="280670" h="466089">
                  <a:moveTo>
                    <a:pt x="183654" y="86029"/>
                  </a:moveTo>
                  <a:lnTo>
                    <a:pt x="96659" y="86029"/>
                  </a:lnTo>
                  <a:lnTo>
                    <a:pt x="96659" y="394436"/>
                  </a:lnTo>
                  <a:lnTo>
                    <a:pt x="183654" y="394436"/>
                  </a:lnTo>
                  <a:lnTo>
                    <a:pt x="183654" y="86029"/>
                  </a:lnTo>
                  <a:close/>
                </a:path>
                <a:path w="280670" h="466089">
                  <a:moveTo>
                    <a:pt x="179527" y="0"/>
                  </a:moveTo>
                  <a:lnTo>
                    <a:pt x="126593" y="0"/>
                  </a:lnTo>
                  <a:lnTo>
                    <a:pt x="124053" y="266"/>
                  </a:lnTo>
                  <a:lnTo>
                    <a:pt x="121767" y="698"/>
                  </a:lnTo>
                  <a:lnTo>
                    <a:pt x="119570" y="1054"/>
                  </a:lnTo>
                  <a:lnTo>
                    <a:pt x="115442" y="2552"/>
                  </a:lnTo>
                  <a:lnTo>
                    <a:pt x="4394" y="38887"/>
                  </a:lnTo>
                  <a:lnTo>
                    <a:pt x="1409" y="40208"/>
                  </a:lnTo>
                  <a:lnTo>
                    <a:pt x="0" y="42494"/>
                  </a:lnTo>
                  <a:lnTo>
                    <a:pt x="0" y="109829"/>
                  </a:lnTo>
                  <a:lnTo>
                    <a:pt x="2285" y="112191"/>
                  </a:lnTo>
                  <a:lnTo>
                    <a:pt x="9829" y="112191"/>
                  </a:lnTo>
                  <a:lnTo>
                    <a:pt x="12382" y="111848"/>
                  </a:lnTo>
                  <a:lnTo>
                    <a:pt x="14401" y="110972"/>
                  </a:lnTo>
                  <a:lnTo>
                    <a:pt x="96659" y="86029"/>
                  </a:lnTo>
                  <a:lnTo>
                    <a:pt x="183654" y="86029"/>
                  </a:lnTo>
                  <a:lnTo>
                    <a:pt x="183654" y="4038"/>
                  </a:lnTo>
                  <a:lnTo>
                    <a:pt x="17952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10" name="object 10"/>
            <p:cNvSpPr/>
            <p:nvPr/>
          </p:nvSpPr>
          <p:spPr>
            <a:xfrm>
              <a:off x="6936166" y="4004815"/>
              <a:ext cx="201882" cy="314611"/>
            </a:xfrm>
            <a:custGeom>
              <a:avLst/>
              <a:gdLst/>
              <a:ahLst/>
              <a:cxnLst/>
              <a:rect l="l" t="t" r="r" b="b"/>
              <a:pathLst>
                <a:path w="299084" h="466089">
                  <a:moveTo>
                    <a:pt x="280924" y="0"/>
                  </a:moveTo>
                  <a:lnTo>
                    <a:pt x="9131" y="0"/>
                  </a:lnTo>
                  <a:lnTo>
                    <a:pt x="6311" y="1308"/>
                  </a:lnTo>
                  <a:lnTo>
                    <a:pt x="3771" y="3594"/>
                  </a:lnTo>
                  <a:lnTo>
                    <a:pt x="1308" y="5880"/>
                  </a:lnTo>
                  <a:lnTo>
                    <a:pt x="0" y="8686"/>
                  </a:lnTo>
                  <a:lnTo>
                    <a:pt x="0" y="63639"/>
                  </a:lnTo>
                  <a:lnTo>
                    <a:pt x="1308" y="66281"/>
                  </a:lnTo>
                  <a:lnTo>
                    <a:pt x="6311" y="70396"/>
                  </a:lnTo>
                  <a:lnTo>
                    <a:pt x="9131" y="71361"/>
                  </a:lnTo>
                  <a:lnTo>
                    <a:pt x="207708" y="71361"/>
                  </a:lnTo>
                  <a:lnTo>
                    <a:pt x="208673" y="72682"/>
                  </a:lnTo>
                  <a:lnTo>
                    <a:pt x="208673" y="75933"/>
                  </a:lnTo>
                  <a:lnTo>
                    <a:pt x="28790" y="450786"/>
                  </a:lnTo>
                  <a:lnTo>
                    <a:pt x="28092" y="453339"/>
                  </a:lnTo>
                  <a:lnTo>
                    <a:pt x="27559" y="455091"/>
                  </a:lnTo>
                  <a:lnTo>
                    <a:pt x="27559" y="459041"/>
                  </a:lnTo>
                  <a:lnTo>
                    <a:pt x="28257" y="461149"/>
                  </a:lnTo>
                  <a:lnTo>
                    <a:pt x="29667" y="463092"/>
                  </a:lnTo>
                  <a:lnTo>
                    <a:pt x="31330" y="464845"/>
                  </a:lnTo>
                  <a:lnTo>
                    <a:pt x="33362" y="465886"/>
                  </a:lnTo>
                  <a:lnTo>
                    <a:pt x="105778" y="465886"/>
                  </a:lnTo>
                  <a:lnTo>
                    <a:pt x="109118" y="465099"/>
                  </a:lnTo>
                  <a:lnTo>
                    <a:pt x="111480" y="463346"/>
                  </a:lnTo>
                  <a:lnTo>
                    <a:pt x="114033" y="461505"/>
                  </a:lnTo>
                  <a:lnTo>
                    <a:pt x="116408" y="458609"/>
                  </a:lnTo>
                  <a:lnTo>
                    <a:pt x="118338" y="453859"/>
                  </a:lnTo>
                  <a:lnTo>
                    <a:pt x="287769" y="87871"/>
                  </a:lnTo>
                  <a:lnTo>
                    <a:pt x="291109" y="80759"/>
                  </a:lnTo>
                  <a:lnTo>
                    <a:pt x="293649" y="74968"/>
                  </a:lnTo>
                  <a:lnTo>
                    <a:pt x="295935" y="70662"/>
                  </a:lnTo>
                  <a:lnTo>
                    <a:pt x="297954" y="66192"/>
                  </a:lnTo>
                  <a:lnTo>
                    <a:pt x="299008" y="62407"/>
                  </a:lnTo>
                  <a:lnTo>
                    <a:pt x="299008" y="18084"/>
                  </a:lnTo>
                  <a:lnTo>
                    <a:pt x="296545" y="12192"/>
                  </a:lnTo>
                  <a:lnTo>
                    <a:pt x="291807" y="7200"/>
                  </a:lnTo>
                  <a:lnTo>
                    <a:pt x="286893" y="2540"/>
                  </a:lnTo>
                  <a:lnTo>
                    <a:pt x="28092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11" name="object 11"/>
            <p:cNvSpPr/>
            <p:nvPr/>
          </p:nvSpPr>
          <p:spPr>
            <a:xfrm>
              <a:off x="5021420" y="4744579"/>
              <a:ext cx="771533" cy="211440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12" name="object 12"/>
            <p:cNvSpPr/>
            <p:nvPr/>
          </p:nvSpPr>
          <p:spPr>
            <a:xfrm>
              <a:off x="5895541" y="4744818"/>
              <a:ext cx="1244521" cy="211200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13" name="object 13"/>
            <p:cNvSpPr/>
            <p:nvPr/>
          </p:nvSpPr>
          <p:spPr>
            <a:xfrm>
              <a:off x="5015737" y="4521300"/>
              <a:ext cx="64722" cy="64722"/>
            </a:xfrm>
            <a:custGeom>
              <a:avLst/>
              <a:gdLst/>
              <a:ahLst/>
              <a:cxnLst/>
              <a:rect l="l" t="t" r="r" b="b"/>
              <a:pathLst>
                <a:path w="95884" h="95884">
                  <a:moveTo>
                    <a:pt x="47929" y="0"/>
                  </a:moveTo>
                  <a:lnTo>
                    <a:pt x="29253" y="3747"/>
                  </a:lnTo>
                  <a:lnTo>
                    <a:pt x="14020" y="13981"/>
                  </a:lnTo>
                  <a:lnTo>
                    <a:pt x="3759" y="29184"/>
                  </a:lnTo>
                  <a:lnTo>
                    <a:pt x="0" y="47840"/>
                  </a:lnTo>
                  <a:lnTo>
                    <a:pt x="3759" y="66517"/>
                  </a:lnTo>
                  <a:lnTo>
                    <a:pt x="14020" y="81749"/>
                  </a:lnTo>
                  <a:lnTo>
                    <a:pt x="29253" y="92010"/>
                  </a:lnTo>
                  <a:lnTo>
                    <a:pt x="47929" y="95770"/>
                  </a:lnTo>
                  <a:lnTo>
                    <a:pt x="66554" y="92010"/>
                  </a:lnTo>
                  <a:lnTo>
                    <a:pt x="81761" y="81749"/>
                  </a:lnTo>
                  <a:lnTo>
                    <a:pt x="92012" y="66517"/>
                  </a:lnTo>
                  <a:lnTo>
                    <a:pt x="95770" y="47840"/>
                  </a:lnTo>
                  <a:lnTo>
                    <a:pt x="92012" y="29184"/>
                  </a:lnTo>
                  <a:lnTo>
                    <a:pt x="81761" y="13981"/>
                  </a:lnTo>
                  <a:lnTo>
                    <a:pt x="66554" y="3747"/>
                  </a:lnTo>
                  <a:lnTo>
                    <a:pt x="4792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14" name="object 14"/>
            <p:cNvSpPr/>
            <p:nvPr/>
          </p:nvSpPr>
          <p:spPr>
            <a:xfrm>
              <a:off x="5015745" y="4521300"/>
              <a:ext cx="64722" cy="64722"/>
            </a:xfrm>
            <a:custGeom>
              <a:avLst/>
              <a:gdLst/>
              <a:ahLst/>
              <a:cxnLst/>
              <a:rect l="l" t="t" r="r" b="b"/>
              <a:pathLst>
                <a:path w="95884" h="95884">
                  <a:moveTo>
                    <a:pt x="47917" y="0"/>
                  </a:moveTo>
                  <a:lnTo>
                    <a:pt x="29240" y="3746"/>
                  </a:lnTo>
                  <a:lnTo>
                    <a:pt x="14008" y="13976"/>
                  </a:lnTo>
                  <a:lnTo>
                    <a:pt x="3747" y="29178"/>
                  </a:lnTo>
                  <a:lnTo>
                    <a:pt x="0" y="47777"/>
                  </a:lnTo>
                  <a:lnTo>
                    <a:pt x="3747" y="66517"/>
                  </a:lnTo>
                  <a:lnTo>
                    <a:pt x="14008" y="81749"/>
                  </a:lnTo>
                  <a:lnTo>
                    <a:pt x="29240" y="92010"/>
                  </a:lnTo>
                  <a:lnTo>
                    <a:pt x="47917" y="95770"/>
                  </a:lnTo>
                  <a:lnTo>
                    <a:pt x="66543" y="92010"/>
                  </a:lnTo>
                  <a:lnTo>
                    <a:pt x="81754" y="81749"/>
                  </a:lnTo>
                  <a:lnTo>
                    <a:pt x="92010" y="66517"/>
                  </a:lnTo>
                  <a:lnTo>
                    <a:pt x="95758" y="47903"/>
                  </a:lnTo>
                  <a:lnTo>
                    <a:pt x="92010" y="29178"/>
                  </a:lnTo>
                  <a:lnTo>
                    <a:pt x="81754" y="13976"/>
                  </a:lnTo>
                  <a:lnTo>
                    <a:pt x="66543" y="3746"/>
                  </a:lnTo>
                  <a:lnTo>
                    <a:pt x="4791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15" name="object 15"/>
            <p:cNvSpPr/>
            <p:nvPr/>
          </p:nvSpPr>
          <p:spPr>
            <a:xfrm>
              <a:off x="7077663" y="4521300"/>
              <a:ext cx="64722" cy="64722"/>
            </a:xfrm>
            <a:custGeom>
              <a:avLst/>
              <a:gdLst/>
              <a:ahLst/>
              <a:cxnLst/>
              <a:rect l="l" t="t" r="r" b="b"/>
              <a:pathLst>
                <a:path w="95884" h="95884">
                  <a:moveTo>
                    <a:pt x="47764" y="0"/>
                  </a:moveTo>
                  <a:lnTo>
                    <a:pt x="29189" y="3747"/>
                  </a:lnTo>
                  <a:lnTo>
                    <a:pt x="14004" y="13981"/>
                  </a:lnTo>
                  <a:lnTo>
                    <a:pt x="3759" y="29184"/>
                  </a:lnTo>
                  <a:lnTo>
                    <a:pt x="0" y="47840"/>
                  </a:lnTo>
                  <a:lnTo>
                    <a:pt x="3759" y="66517"/>
                  </a:lnTo>
                  <a:lnTo>
                    <a:pt x="14004" y="81749"/>
                  </a:lnTo>
                  <a:lnTo>
                    <a:pt x="29189" y="92010"/>
                  </a:lnTo>
                  <a:lnTo>
                    <a:pt x="47764" y="95770"/>
                  </a:lnTo>
                  <a:lnTo>
                    <a:pt x="66447" y="92010"/>
                  </a:lnTo>
                  <a:lnTo>
                    <a:pt x="81707" y="81749"/>
                  </a:lnTo>
                  <a:lnTo>
                    <a:pt x="91997" y="66517"/>
                  </a:lnTo>
                  <a:lnTo>
                    <a:pt x="95770" y="47840"/>
                  </a:lnTo>
                  <a:lnTo>
                    <a:pt x="91997" y="29184"/>
                  </a:lnTo>
                  <a:lnTo>
                    <a:pt x="81707" y="13981"/>
                  </a:lnTo>
                  <a:lnTo>
                    <a:pt x="66447" y="3747"/>
                  </a:lnTo>
                  <a:lnTo>
                    <a:pt x="4776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16" name="object 16"/>
            <p:cNvSpPr/>
            <p:nvPr/>
          </p:nvSpPr>
          <p:spPr>
            <a:xfrm>
              <a:off x="7077671" y="4521300"/>
              <a:ext cx="64722" cy="64722"/>
            </a:xfrm>
            <a:custGeom>
              <a:avLst/>
              <a:gdLst/>
              <a:ahLst/>
              <a:cxnLst/>
              <a:rect l="l" t="t" r="r" b="b"/>
              <a:pathLst>
                <a:path w="95884" h="95884">
                  <a:moveTo>
                    <a:pt x="47752" y="0"/>
                  </a:moveTo>
                  <a:lnTo>
                    <a:pt x="29176" y="3746"/>
                  </a:lnTo>
                  <a:lnTo>
                    <a:pt x="13992" y="13976"/>
                  </a:lnTo>
                  <a:lnTo>
                    <a:pt x="3746" y="29178"/>
                  </a:lnTo>
                  <a:lnTo>
                    <a:pt x="0" y="47778"/>
                  </a:lnTo>
                  <a:lnTo>
                    <a:pt x="3746" y="66517"/>
                  </a:lnTo>
                  <a:lnTo>
                    <a:pt x="13992" y="81749"/>
                  </a:lnTo>
                  <a:lnTo>
                    <a:pt x="29176" y="92010"/>
                  </a:lnTo>
                  <a:lnTo>
                    <a:pt x="47752" y="95770"/>
                  </a:lnTo>
                  <a:lnTo>
                    <a:pt x="66436" y="92010"/>
                  </a:lnTo>
                  <a:lnTo>
                    <a:pt x="81700" y="81749"/>
                  </a:lnTo>
                  <a:lnTo>
                    <a:pt x="91995" y="66517"/>
                  </a:lnTo>
                  <a:lnTo>
                    <a:pt x="95758" y="47903"/>
                  </a:lnTo>
                  <a:lnTo>
                    <a:pt x="91995" y="29178"/>
                  </a:lnTo>
                  <a:lnTo>
                    <a:pt x="81700" y="13976"/>
                  </a:lnTo>
                  <a:lnTo>
                    <a:pt x="66436" y="3746"/>
                  </a:lnTo>
                  <a:lnTo>
                    <a:pt x="4775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17" name="object 17"/>
            <p:cNvSpPr/>
            <p:nvPr/>
          </p:nvSpPr>
          <p:spPr>
            <a:xfrm>
              <a:off x="7077663" y="4521300"/>
              <a:ext cx="64722" cy="64722"/>
            </a:xfrm>
            <a:custGeom>
              <a:avLst/>
              <a:gdLst/>
              <a:ahLst/>
              <a:cxnLst/>
              <a:rect l="l" t="t" r="r" b="b"/>
              <a:pathLst>
                <a:path w="95884" h="95884">
                  <a:moveTo>
                    <a:pt x="47764" y="0"/>
                  </a:moveTo>
                  <a:lnTo>
                    <a:pt x="29189" y="3746"/>
                  </a:lnTo>
                  <a:lnTo>
                    <a:pt x="14004" y="13976"/>
                  </a:lnTo>
                  <a:lnTo>
                    <a:pt x="3759" y="29178"/>
                  </a:lnTo>
                  <a:lnTo>
                    <a:pt x="0" y="47840"/>
                  </a:lnTo>
                  <a:lnTo>
                    <a:pt x="3759" y="66517"/>
                  </a:lnTo>
                  <a:lnTo>
                    <a:pt x="14004" y="81749"/>
                  </a:lnTo>
                  <a:lnTo>
                    <a:pt x="29189" y="92010"/>
                  </a:lnTo>
                  <a:lnTo>
                    <a:pt x="47388" y="95694"/>
                  </a:lnTo>
                  <a:lnTo>
                    <a:pt x="48143" y="95694"/>
                  </a:lnTo>
                  <a:lnTo>
                    <a:pt x="66449" y="92010"/>
                  </a:lnTo>
                  <a:lnTo>
                    <a:pt x="81713" y="81749"/>
                  </a:lnTo>
                  <a:lnTo>
                    <a:pt x="92007" y="66517"/>
                  </a:lnTo>
                  <a:lnTo>
                    <a:pt x="95783" y="47840"/>
                  </a:lnTo>
                  <a:lnTo>
                    <a:pt x="92007" y="29178"/>
                  </a:lnTo>
                  <a:lnTo>
                    <a:pt x="81713" y="13976"/>
                  </a:lnTo>
                  <a:lnTo>
                    <a:pt x="66449" y="3746"/>
                  </a:lnTo>
                  <a:lnTo>
                    <a:pt x="4776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18" name="object 18"/>
            <p:cNvSpPr/>
            <p:nvPr/>
          </p:nvSpPr>
          <p:spPr>
            <a:xfrm>
              <a:off x="5181648" y="4430456"/>
              <a:ext cx="123444" cy="210026"/>
            </a:xfrm>
            <a:custGeom>
              <a:avLst/>
              <a:gdLst/>
              <a:ahLst/>
              <a:cxnLst/>
              <a:rect l="l" t="t" r="r" b="b"/>
              <a:pathLst>
                <a:path w="182879" h="311150">
                  <a:moveTo>
                    <a:pt x="96050" y="0"/>
                  </a:moveTo>
                  <a:lnTo>
                    <a:pt x="49826" y="5339"/>
                  </a:lnTo>
                  <a:lnTo>
                    <a:pt x="16411" y="27049"/>
                  </a:lnTo>
                  <a:lnTo>
                    <a:pt x="463" y="72183"/>
                  </a:lnTo>
                  <a:lnTo>
                    <a:pt x="0" y="84810"/>
                  </a:lnTo>
                  <a:lnTo>
                    <a:pt x="0" y="304546"/>
                  </a:lnTo>
                  <a:lnTo>
                    <a:pt x="889" y="306476"/>
                  </a:lnTo>
                  <a:lnTo>
                    <a:pt x="2463" y="308051"/>
                  </a:lnTo>
                  <a:lnTo>
                    <a:pt x="4305" y="309803"/>
                  </a:lnTo>
                  <a:lnTo>
                    <a:pt x="6057" y="310692"/>
                  </a:lnTo>
                  <a:lnTo>
                    <a:pt x="51447" y="310692"/>
                  </a:lnTo>
                  <a:lnTo>
                    <a:pt x="53289" y="309803"/>
                  </a:lnTo>
                  <a:lnTo>
                    <a:pt x="56629" y="306476"/>
                  </a:lnTo>
                  <a:lnTo>
                    <a:pt x="57594" y="304546"/>
                  </a:lnTo>
                  <a:lnTo>
                    <a:pt x="57594" y="175844"/>
                  </a:lnTo>
                  <a:lnTo>
                    <a:pt x="171729" y="175844"/>
                  </a:lnTo>
                  <a:lnTo>
                    <a:pt x="173736" y="175056"/>
                  </a:lnTo>
                  <a:lnTo>
                    <a:pt x="175323" y="173304"/>
                  </a:lnTo>
                  <a:lnTo>
                    <a:pt x="177076" y="171716"/>
                  </a:lnTo>
                  <a:lnTo>
                    <a:pt x="177863" y="169621"/>
                  </a:lnTo>
                  <a:lnTo>
                    <a:pt x="177863" y="135636"/>
                  </a:lnTo>
                  <a:lnTo>
                    <a:pt x="177076" y="133616"/>
                  </a:lnTo>
                  <a:lnTo>
                    <a:pt x="175323" y="131864"/>
                  </a:lnTo>
                  <a:lnTo>
                    <a:pt x="173736" y="130200"/>
                  </a:lnTo>
                  <a:lnTo>
                    <a:pt x="171729" y="129400"/>
                  </a:lnTo>
                  <a:lnTo>
                    <a:pt x="57594" y="129400"/>
                  </a:lnTo>
                  <a:lnTo>
                    <a:pt x="57594" y="84810"/>
                  </a:lnTo>
                  <a:lnTo>
                    <a:pt x="81772" y="49711"/>
                  </a:lnTo>
                  <a:lnTo>
                    <a:pt x="90081" y="49250"/>
                  </a:lnTo>
                  <a:lnTo>
                    <a:pt x="176644" y="49250"/>
                  </a:lnTo>
                  <a:lnTo>
                    <a:pt x="178574" y="48374"/>
                  </a:lnTo>
                  <a:lnTo>
                    <a:pt x="180416" y="46799"/>
                  </a:lnTo>
                  <a:lnTo>
                    <a:pt x="182079" y="45034"/>
                  </a:lnTo>
                  <a:lnTo>
                    <a:pt x="182778" y="43192"/>
                  </a:lnTo>
                  <a:lnTo>
                    <a:pt x="182773" y="11573"/>
                  </a:lnTo>
                  <a:lnTo>
                    <a:pt x="182257" y="9398"/>
                  </a:lnTo>
                  <a:lnTo>
                    <a:pt x="180936" y="8343"/>
                  </a:lnTo>
                  <a:lnTo>
                    <a:pt x="179793" y="7124"/>
                  </a:lnTo>
                  <a:lnTo>
                    <a:pt x="177596" y="6235"/>
                  </a:lnTo>
                  <a:lnTo>
                    <a:pt x="174612" y="5803"/>
                  </a:lnTo>
                  <a:lnTo>
                    <a:pt x="167690" y="4749"/>
                  </a:lnTo>
                  <a:lnTo>
                    <a:pt x="163639" y="3949"/>
                  </a:lnTo>
                  <a:lnTo>
                    <a:pt x="159600" y="3251"/>
                  </a:lnTo>
                  <a:lnTo>
                    <a:pt x="154686" y="2628"/>
                  </a:lnTo>
                  <a:lnTo>
                    <a:pt x="148717" y="2286"/>
                  </a:lnTo>
                  <a:lnTo>
                    <a:pt x="142748" y="1587"/>
                  </a:lnTo>
                  <a:lnTo>
                    <a:pt x="135724" y="1231"/>
                  </a:lnTo>
                  <a:lnTo>
                    <a:pt x="127215" y="622"/>
                  </a:lnTo>
                  <a:lnTo>
                    <a:pt x="120554" y="337"/>
                  </a:lnTo>
                  <a:lnTo>
                    <a:pt x="113114" y="144"/>
                  </a:lnTo>
                  <a:lnTo>
                    <a:pt x="9605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19" name="object 19"/>
            <p:cNvSpPr/>
            <p:nvPr/>
          </p:nvSpPr>
          <p:spPr>
            <a:xfrm>
              <a:off x="5332764" y="4482663"/>
              <a:ext cx="129445" cy="159449"/>
            </a:xfrm>
            <a:custGeom>
              <a:avLst/>
              <a:gdLst/>
              <a:ahLst/>
              <a:cxnLst/>
              <a:rect l="l" t="t" r="r" b="b"/>
              <a:pathLst>
                <a:path w="191770" h="236220">
                  <a:moveTo>
                    <a:pt x="48641" y="0"/>
                  </a:moveTo>
                  <a:lnTo>
                    <a:pt x="6057" y="0"/>
                  </a:lnTo>
                  <a:lnTo>
                    <a:pt x="4127" y="965"/>
                  </a:lnTo>
                  <a:lnTo>
                    <a:pt x="2552" y="2628"/>
                  </a:lnTo>
                  <a:lnTo>
                    <a:pt x="876" y="4305"/>
                  </a:lnTo>
                  <a:lnTo>
                    <a:pt x="0" y="6502"/>
                  </a:lnTo>
                  <a:lnTo>
                    <a:pt x="0" y="143535"/>
                  </a:lnTo>
                  <a:lnTo>
                    <a:pt x="4648" y="188569"/>
                  </a:lnTo>
                  <a:lnTo>
                    <a:pt x="25492" y="223097"/>
                  </a:lnTo>
                  <a:lnTo>
                    <a:pt x="63841" y="235906"/>
                  </a:lnTo>
                  <a:lnTo>
                    <a:pt x="71462" y="236156"/>
                  </a:lnTo>
                  <a:lnTo>
                    <a:pt x="81107" y="235843"/>
                  </a:lnTo>
                  <a:lnTo>
                    <a:pt x="120778" y="224961"/>
                  </a:lnTo>
                  <a:lnTo>
                    <a:pt x="136601" y="215785"/>
                  </a:lnTo>
                  <a:lnTo>
                    <a:pt x="191198" y="215785"/>
                  </a:lnTo>
                  <a:lnTo>
                    <a:pt x="191198" y="191122"/>
                  </a:lnTo>
                  <a:lnTo>
                    <a:pt x="83400" y="191122"/>
                  </a:lnTo>
                  <a:lnTo>
                    <a:pt x="78308" y="190411"/>
                  </a:lnTo>
                  <a:lnTo>
                    <a:pt x="54610" y="154330"/>
                  </a:lnTo>
                  <a:lnTo>
                    <a:pt x="54610" y="6502"/>
                  </a:lnTo>
                  <a:lnTo>
                    <a:pt x="53809" y="4559"/>
                  </a:lnTo>
                  <a:lnTo>
                    <a:pt x="52146" y="2628"/>
                  </a:lnTo>
                  <a:lnTo>
                    <a:pt x="50482" y="965"/>
                  </a:lnTo>
                  <a:lnTo>
                    <a:pt x="48641" y="0"/>
                  </a:lnTo>
                  <a:close/>
                </a:path>
                <a:path w="191770" h="236220">
                  <a:moveTo>
                    <a:pt x="191198" y="215785"/>
                  </a:moveTo>
                  <a:lnTo>
                    <a:pt x="136601" y="215785"/>
                  </a:lnTo>
                  <a:lnTo>
                    <a:pt x="136601" y="227190"/>
                  </a:lnTo>
                  <a:lnTo>
                    <a:pt x="137388" y="229120"/>
                  </a:lnTo>
                  <a:lnTo>
                    <a:pt x="139052" y="230708"/>
                  </a:lnTo>
                  <a:lnTo>
                    <a:pt x="140550" y="232460"/>
                  </a:lnTo>
                  <a:lnTo>
                    <a:pt x="142570" y="233337"/>
                  </a:lnTo>
                  <a:lnTo>
                    <a:pt x="185064" y="233337"/>
                  </a:lnTo>
                  <a:lnTo>
                    <a:pt x="186817" y="232460"/>
                  </a:lnTo>
                  <a:lnTo>
                    <a:pt x="188480" y="230708"/>
                  </a:lnTo>
                  <a:lnTo>
                    <a:pt x="190322" y="229120"/>
                  </a:lnTo>
                  <a:lnTo>
                    <a:pt x="191198" y="227190"/>
                  </a:lnTo>
                  <a:lnTo>
                    <a:pt x="191198" y="215785"/>
                  </a:lnTo>
                  <a:close/>
                </a:path>
                <a:path w="191770" h="236220">
                  <a:moveTo>
                    <a:pt x="185064" y="0"/>
                  </a:moveTo>
                  <a:lnTo>
                    <a:pt x="142570" y="0"/>
                  </a:lnTo>
                  <a:lnTo>
                    <a:pt x="140550" y="965"/>
                  </a:lnTo>
                  <a:lnTo>
                    <a:pt x="139052" y="2628"/>
                  </a:lnTo>
                  <a:lnTo>
                    <a:pt x="137388" y="4559"/>
                  </a:lnTo>
                  <a:lnTo>
                    <a:pt x="136601" y="6502"/>
                  </a:lnTo>
                  <a:lnTo>
                    <a:pt x="136601" y="174523"/>
                  </a:lnTo>
                  <a:lnTo>
                    <a:pt x="130098" y="177952"/>
                  </a:lnTo>
                  <a:lnTo>
                    <a:pt x="126326" y="179882"/>
                  </a:lnTo>
                  <a:lnTo>
                    <a:pt x="122732" y="181978"/>
                  </a:lnTo>
                  <a:lnTo>
                    <a:pt x="118694" y="183654"/>
                  </a:lnTo>
                  <a:lnTo>
                    <a:pt x="114566" y="185318"/>
                  </a:lnTo>
                  <a:lnTo>
                    <a:pt x="110528" y="186994"/>
                  </a:lnTo>
                  <a:lnTo>
                    <a:pt x="106222" y="188391"/>
                  </a:lnTo>
                  <a:lnTo>
                    <a:pt x="102006" y="189445"/>
                  </a:lnTo>
                  <a:lnTo>
                    <a:pt x="97713" y="190588"/>
                  </a:lnTo>
                  <a:lnTo>
                    <a:pt x="93675" y="191122"/>
                  </a:lnTo>
                  <a:lnTo>
                    <a:pt x="191198" y="191122"/>
                  </a:lnTo>
                  <a:lnTo>
                    <a:pt x="191198" y="6502"/>
                  </a:lnTo>
                  <a:lnTo>
                    <a:pt x="190322" y="4305"/>
                  </a:lnTo>
                  <a:lnTo>
                    <a:pt x="188480" y="2628"/>
                  </a:lnTo>
                  <a:lnTo>
                    <a:pt x="186817" y="965"/>
                  </a:lnTo>
                  <a:lnTo>
                    <a:pt x="18506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20" name="object 20"/>
            <p:cNvSpPr/>
            <p:nvPr/>
          </p:nvSpPr>
          <p:spPr>
            <a:xfrm>
              <a:off x="5484944" y="4449659"/>
              <a:ext cx="100298" cy="192881"/>
            </a:xfrm>
            <a:custGeom>
              <a:avLst/>
              <a:gdLst/>
              <a:ahLst/>
              <a:cxnLst/>
              <a:rect l="l" t="t" r="r" b="b"/>
              <a:pathLst>
                <a:path w="148590" h="285750">
                  <a:moveTo>
                    <a:pt x="141160" y="48894"/>
                  </a:moveTo>
                  <a:lnTo>
                    <a:pt x="6134" y="48894"/>
                  </a:lnTo>
                  <a:lnTo>
                    <a:pt x="4203" y="49771"/>
                  </a:lnTo>
                  <a:lnTo>
                    <a:pt x="2540" y="51523"/>
                  </a:lnTo>
                  <a:lnTo>
                    <a:pt x="787" y="53111"/>
                  </a:lnTo>
                  <a:lnTo>
                    <a:pt x="0" y="54863"/>
                  </a:lnTo>
                  <a:lnTo>
                    <a:pt x="0" y="78130"/>
                  </a:lnTo>
                  <a:lnTo>
                    <a:pt x="787" y="79971"/>
                  </a:lnTo>
                  <a:lnTo>
                    <a:pt x="2540" y="81203"/>
                  </a:lnTo>
                  <a:lnTo>
                    <a:pt x="4203" y="82689"/>
                  </a:lnTo>
                  <a:lnTo>
                    <a:pt x="6134" y="83400"/>
                  </a:lnTo>
                  <a:lnTo>
                    <a:pt x="8242" y="84099"/>
                  </a:lnTo>
                  <a:lnTo>
                    <a:pt x="47231" y="89979"/>
                  </a:lnTo>
                  <a:lnTo>
                    <a:pt x="47231" y="219557"/>
                  </a:lnTo>
                  <a:lnTo>
                    <a:pt x="53365" y="262140"/>
                  </a:lnTo>
                  <a:lnTo>
                    <a:pt x="62318" y="273367"/>
                  </a:lnTo>
                  <a:lnTo>
                    <a:pt x="67589" y="278295"/>
                  </a:lnTo>
                  <a:lnTo>
                    <a:pt x="112534" y="285572"/>
                  </a:lnTo>
                  <a:lnTo>
                    <a:pt x="117106" y="285572"/>
                  </a:lnTo>
                  <a:lnTo>
                    <a:pt x="121843" y="285305"/>
                  </a:lnTo>
                  <a:lnTo>
                    <a:pt x="126314" y="284695"/>
                  </a:lnTo>
                  <a:lnTo>
                    <a:pt x="130975" y="283984"/>
                  </a:lnTo>
                  <a:lnTo>
                    <a:pt x="135712" y="283375"/>
                  </a:lnTo>
                  <a:lnTo>
                    <a:pt x="145808" y="281711"/>
                  </a:lnTo>
                  <a:lnTo>
                    <a:pt x="148526" y="279247"/>
                  </a:lnTo>
                  <a:lnTo>
                    <a:pt x="148526" y="244932"/>
                  </a:lnTo>
                  <a:lnTo>
                    <a:pt x="145542" y="242912"/>
                  </a:lnTo>
                  <a:lnTo>
                    <a:pt x="113944" y="242912"/>
                  </a:lnTo>
                  <a:lnTo>
                    <a:pt x="111137" y="242468"/>
                  </a:lnTo>
                  <a:lnTo>
                    <a:pt x="109029" y="242290"/>
                  </a:lnTo>
                  <a:lnTo>
                    <a:pt x="106921" y="241947"/>
                  </a:lnTo>
                  <a:lnTo>
                    <a:pt x="105333" y="240880"/>
                  </a:lnTo>
                  <a:lnTo>
                    <a:pt x="104114" y="239039"/>
                  </a:lnTo>
                  <a:lnTo>
                    <a:pt x="103060" y="237642"/>
                  </a:lnTo>
                  <a:lnTo>
                    <a:pt x="102527" y="235089"/>
                  </a:lnTo>
                  <a:lnTo>
                    <a:pt x="102184" y="232105"/>
                  </a:lnTo>
                  <a:lnTo>
                    <a:pt x="101952" y="229517"/>
                  </a:lnTo>
                  <a:lnTo>
                    <a:pt x="101828" y="89979"/>
                  </a:lnTo>
                  <a:lnTo>
                    <a:pt x="141160" y="89979"/>
                  </a:lnTo>
                  <a:lnTo>
                    <a:pt x="143090" y="89014"/>
                  </a:lnTo>
                  <a:lnTo>
                    <a:pt x="144843" y="87337"/>
                  </a:lnTo>
                  <a:lnTo>
                    <a:pt x="146431" y="85763"/>
                  </a:lnTo>
                  <a:lnTo>
                    <a:pt x="147218" y="83743"/>
                  </a:lnTo>
                  <a:lnTo>
                    <a:pt x="147218" y="54863"/>
                  </a:lnTo>
                  <a:lnTo>
                    <a:pt x="146431" y="53111"/>
                  </a:lnTo>
                  <a:lnTo>
                    <a:pt x="143090" y="49771"/>
                  </a:lnTo>
                  <a:lnTo>
                    <a:pt x="141160" y="48894"/>
                  </a:lnTo>
                  <a:close/>
                </a:path>
                <a:path w="148590" h="285750">
                  <a:moveTo>
                    <a:pt x="99720" y="0"/>
                  </a:moveTo>
                  <a:lnTo>
                    <a:pt x="93573" y="0"/>
                  </a:lnTo>
                  <a:lnTo>
                    <a:pt x="55384" y="6845"/>
                  </a:lnTo>
                  <a:lnTo>
                    <a:pt x="53200" y="7277"/>
                  </a:lnTo>
                  <a:lnTo>
                    <a:pt x="51346" y="8166"/>
                  </a:lnTo>
                  <a:lnTo>
                    <a:pt x="48018" y="10960"/>
                  </a:lnTo>
                  <a:lnTo>
                    <a:pt x="47231" y="12903"/>
                  </a:lnTo>
                  <a:lnTo>
                    <a:pt x="47231" y="48894"/>
                  </a:lnTo>
                  <a:lnTo>
                    <a:pt x="101828" y="48894"/>
                  </a:lnTo>
                  <a:lnTo>
                    <a:pt x="101828" y="2273"/>
                  </a:lnTo>
                  <a:lnTo>
                    <a:pt x="9972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21" name="object 21"/>
            <p:cNvSpPr/>
            <p:nvPr/>
          </p:nvSpPr>
          <p:spPr>
            <a:xfrm>
              <a:off x="5608902" y="4482663"/>
              <a:ext cx="129016" cy="159449"/>
            </a:xfrm>
            <a:custGeom>
              <a:avLst/>
              <a:gdLst/>
              <a:ahLst/>
              <a:cxnLst/>
              <a:rect l="l" t="t" r="r" b="b"/>
              <a:pathLst>
                <a:path w="191134" h="236220">
                  <a:moveTo>
                    <a:pt x="48564" y="0"/>
                  </a:moveTo>
                  <a:lnTo>
                    <a:pt x="6070" y="0"/>
                  </a:lnTo>
                  <a:lnTo>
                    <a:pt x="4051" y="965"/>
                  </a:lnTo>
                  <a:lnTo>
                    <a:pt x="2565" y="2628"/>
                  </a:lnTo>
                  <a:lnTo>
                    <a:pt x="888" y="4305"/>
                  </a:lnTo>
                  <a:lnTo>
                    <a:pt x="0" y="6502"/>
                  </a:lnTo>
                  <a:lnTo>
                    <a:pt x="0" y="143535"/>
                  </a:lnTo>
                  <a:lnTo>
                    <a:pt x="4571" y="188569"/>
                  </a:lnTo>
                  <a:lnTo>
                    <a:pt x="25504" y="223097"/>
                  </a:lnTo>
                  <a:lnTo>
                    <a:pt x="63850" y="235906"/>
                  </a:lnTo>
                  <a:lnTo>
                    <a:pt x="71551" y="236156"/>
                  </a:lnTo>
                  <a:lnTo>
                    <a:pt x="81150" y="235843"/>
                  </a:lnTo>
                  <a:lnTo>
                    <a:pt x="120756" y="224961"/>
                  </a:lnTo>
                  <a:lnTo>
                    <a:pt x="136436" y="215785"/>
                  </a:lnTo>
                  <a:lnTo>
                    <a:pt x="190957" y="215785"/>
                  </a:lnTo>
                  <a:lnTo>
                    <a:pt x="190957" y="191122"/>
                  </a:lnTo>
                  <a:lnTo>
                    <a:pt x="83413" y="191122"/>
                  </a:lnTo>
                  <a:lnTo>
                    <a:pt x="78308" y="190411"/>
                  </a:lnTo>
                  <a:lnTo>
                    <a:pt x="56540" y="168998"/>
                  </a:lnTo>
                  <a:lnTo>
                    <a:pt x="55143" y="162674"/>
                  </a:lnTo>
                  <a:lnTo>
                    <a:pt x="54731" y="156067"/>
                  </a:lnTo>
                  <a:lnTo>
                    <a:pt x="54622" y="6502"/>
                  </a:lnTo>
                  <a:lnTo>
                    <a:pt x="53733" y="4559"/>
                  </a:lnTo>
                  <a:lnTo>
                    <a:pt x="52158" y="2628"/>
                  </a:lnTo>
                  <a:lnTo>
                    <a:pt x="50406" y="965"/>
                  </a:lnTo>
                  <a:lnTo>
                    <a:pt x="48564" y="0"/>
                  </a:lnTo>
                  <a:close/>
                </a:path>
                <a:path w="191134" h="236220">
                  <a:moveTo>
                    <a:pt x="190957" y="215785"/>
                  </a:moveTo>
                  <a:lnTo>
                    <a:pt x="136436" y="215785"/>
                  </a:lnTo>
                  <a:lnTo>
                    <a:pt x="136436" y="227190"/>
                  </a:lnTo>
                  <a:lnTo>
                    <a:pt x="137134" y="229120"/>
                  </a:lnTo>
                  <a:lnTo>
                    <a:pt x="138899" y="230708"/>
                  </a:lnTo>
                  <a:lnTo>
                    <a:pt x="140652" y="232460"/>
                  </a:lnTo>
                  <a:lnTo>
                    <a:pt x="142582" y="233337"/>
                  </a:lnTo>
                  <a:lnTo>
                    <a:pt x="185064" y="233337"/>
                  </a:lnTo>
                  <a:lnTo>
                    <a:pt x="186994" y="232460"/>
                  </a:lnTo>
                  <a:lnTo>
                    <a:pt x="188671" y="230708"/>
                  </a:lnTo>
                  <a:lnTo>
                    <a:pt x="190334" y="229120"/>
                  </a:lnTo>
                  <a:lnTo>
                    <a:pt x="190957" y="227190"/>
                  </a:lnTo>
                  <a:lnTo>
                    <a:pt x="190957" y="215785"/>
                  </a:lnTo>
                  <a:close/>
                </a:path>
                <a:path w="191134" h="236220">
                  <a:moveTo>
                    <a:pt x="185064" y="0"/>
                  </a:moveTo>
                  <a:lnTo>
                    <a:pt x="142582" y="0"/>
                  </a:lnTo>
                  <a:lnTo>
                    <a:pt x="140652" y="965"/>
                  </a:lnTo>
                  <a:lnTo>
                    <a:pt x="138899" y="2628"/>
                  </a:lnTo>
                  <a:lnTo>
                    <a:pt x="137134" y="4559"/>
                  </a:lnTo>
                  <a:lnTo>
                    <a:pt x="136436" y="6502"/>
                  </a:lnTo>
                  <a:lnTo>
                    <a:pt x="136436" y="174523"/>
                  </a:lnTo>
                  <a:lnTo>
                    <a:pt x="133362" y="176199"/>
                  </a:lnTo>
                  <a:lnTo>
                    <a:pt x="126339" y="179882"/>
                  </a:lnTo>
                  <a:lnTo>
                    <a:pt x="122745" y="181978"/>
                  </a:lnTo>
                  <a:lnTo>
                    <a:pt x="118617" y="183654"/>
                  </a:lnTo>
                  <a:lnTo>
                    <a:pt x="114655" y="185318"/>
                  </a:lnTo>
                  <a:lnTo>
                    <a:pt x="110274" y="186994"/>
                  </a:lnTo>
                  <a:lnTo>
                    <a:pt x="106235" y="188391"/>
                  </a:lnTo>
                  <a:lnTo>
                    <a:pt x="101853" y="189445"/>
                  </a:lnTo>
                  <a:lnTo>
                    <a:pt x="97726" y="190588"/>
                  </a:lnTo>
                  <a:lnTo>
                    <a:pt x="93764" y="191122"/>
                  </a:lnTo>
                  <a:lnTo>
                    <a:pt x="190957" y="191122"/>
                  </a:lnTo>
                  <a:lnTo>
                    <a:pt x="190957" y="6502"/>
                  </a:lnTo>
                  <a:lnTo>
                    <a:pt x="190334" y="4305"/>
                  </a:lnTo>
                  <a:lnTo>
                    <a:pt x="186994" y="965"/>
                  </a:lnTo>
                  <a:lnTo>
                    <a:pt x="18506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22" name="object 22"/>
            <p:cNvSpPr/>
            <p:nvPr/>
          </p:nvSpPr>
          <p:spPr>
            <a:xfrm>
              <a:off x="5772337" y="4480648"/>
              <a:ext cx="81009" cy="159876"/>
            </a:xfrm>
            <a:custGeom>
              <a:avLst/>
              <a:gdLst/>
              <a:ahLst/>
              <a:cxnLst/>
              <a:rect l="l" t="t" r="r" b="b"/>
              <a:pathLst>
                <a:path w="120015" h="236854">
                  <a:moveTo>
                    <a:pt x="46443" y="2984"/>
                  </a:moveTo>
                  <a:lnTo>
                    <a:pt x="5969" y="2984"/>
                  </a:lnTo>
                  <a:lnTo>
                    <a:pt x="4216" y="3873"/>
                  </a:lnTo>
                  <a:lnTo>
                    <a:pt x="2552" y="5626"/>
                  </a:lnTo>
                  <a:lnTo>
                    <a:pt x="889" y="7200"/>
                  </a:lnTo>
                  <a:lnTo>
                    <a:pt x="0" y="8953"/>
                  </a:lnTo>
                  <a:lnTo>
                    <a:pt x="0" y="229755"/>
                  </a:lnTo>
                  <a:lnTo>
                    <a:pt x="889" y="231762"/>
                  </a:lnTo>
                  <a:lnTo>
                    <a:pt x="2552" y="233527"/>
                  </a:lnTo>
                  <a:lnTo>
                    <a:pt x="4216" y="235445"/>
                  </a:lnTo>
                  <a:lnTo>
                    <a:pt x="5969" y="236334"/>
                  </a:lnTo>
                  <a:lnTo>
                    <a:pt x="48641" y="236334"/>
                  </a:lnTo>
                  <a:lnTo>
                    <a:pt x="50571" y="235445"/>
                  </a:lnTo>
                  <a:lnTo>
                    <a:pt x="53809" y="231762"/>
                  </a:lnTo>
                  <a:lnTo>
                    <a:pt x="54610" y="229755"/>
                  </a:lnTo>
                  <a:lnTo>
                    <a:pt x="54610" y="61277"/>
                  </a:lnTo>
                  <a:lnTo>
                    <a:pt x="61234" y="58021"/>
                  </a:lnTo>
                  <a:lnTo>
                    <a:pt x="103391" y="46613"/>
                  </a:lnTo>
                  <a:lnTo>
                    <a:pt x="111582" y="46355"/>
                  </a:lnTo>
                  <a:lnTo>
                    <a:pt x="113868" y="46355"/>
                  </a:lnTo>
                  <a:lnTo>
                    <a:pt x="115887" y="45656"/>
                  </a:lnTo>
                  <a:lnTo>
                    <a:pt x="117462" y="44069"/>
                  </a:lnTo>
                  <a:lnTo>
                    <a:pt x="119049" y="42405"/>
                  </a:lnTo>
                  <a:lnTo>
                    <a:pt x="119926" y="40297"/>
                  </a:lnTo>
                  <a:lnTo>
                    <a:pt x="119926" y="20027"/>
                  </a:lnTo>
                  <a:lnTo>
                    <a:pt x="52501" y="20027"/>
                  </a:lnTo>
                  <a:lnTo>
                    <a:pt x="52501" y="8953"/>
                  </a:lnTo>
                  <a:lnTo>
                    <a:pt x="51803" y="7200"/>
                  </a:lnTo>
                  <a:lnTo>
                    <a:pt x="49961" y="5626"/>
                  </a:lnTo>
                  <a:lnTo>
                    <a:pt x="48552" y="3873"/>
                  </a:lnTo>
                  <a:lnTo>
                    <a:pt x="46443" y="2984"/>
                  </a:lnTo>
                  <a:close/>
                </a:path>
                <a:path w="120015" h="236854">
                  <a:moveTo>
                    <a:pt x="113868" y="0"/>
                  </a:moveTo>
                  <a:lnTo>
                    <a:pt x="111582" y="0"/>
                  </a:lnTo>
                  <a:lnTo>
                    <a:pt x="105232" y="234"/>
                  </a:lnTo>
                  <a:lnTo>
                    <a:pt x="67956" y="10007"/>
                  </a:lnTo>
                  <a:lnTo>
                    <a:pt x="52501" y="20027"/>
                  </a:lnTo>
                  <a:lnTo>
                    <a:pt x="119926" y="20027"/>
                  </a:lnTo>
                  <a:lnTo>
                    <a:pt x="119926" y="6146"/>
                  </a:lnTo>
                  <a:lnTo>
                    <a:pt x="119049" y="4216"/>
                  </a:lnTo>
                  <a:lnTo>
                    <a:pt x="117462" y="2641"/>
                  </a:lnTo>
                  <a:lnTo>
                    <a:pt x="115887" y="889"/>
                  </a:lnTo>
                  <a:lnTo>
                    <a:pt x="11386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23" name="object 23"/>
            <p:cNvSpPr/>
            <p:nvPr/>
          </p:nvSpPr>
          <p:spPr>
            <a:xfrm>
              <a:off x="5870135" y="4480648"/>
              <a:ext cx="133302" cy="162020"/>
            </a:xfrm>
            <a:custGeom>
              <a:avLst/>
              <a:gdLst/>
              <a:ahLst/>
              <a:cxnLst/>
              <a:rect l="l" t="t" r="r" b="b"/>
              <a:pathLst>
                <a:path w="197484" h="240029">
                  <a:moveTo>
                    <a:pt x="98902" y="0"/>
                  </a:moveTo>
                  <a:lnTo>
                    <a:pt x="56763" y="7543"/>
                  </a:lnTo>
                  <a:lnTo>
                    <a:pt x="19730" y="35861"/>
                  </a:lnTo>
                  <a:lnTo>
                    <a:pt x="3545" y="71735"/>
                  </a:lnTo>
                  <a:lnTo>
                    <a:pt x="0" y="138620"/>
                  </a:lnTo>
                  <a:lnTo>
                    <a:pt x="488" y="150451"/>
                  </a:lnTo>
                  <a:lnTo>
                    <a:pt x="14619" y="195961"/>
                  </a:lnTo>
                  <a:lnTo>
                    <a:pt x="41481" y="223816"/>
                  </a:lnTo>
                  <a:lnTo>
                    <a:pt x="83389" y="238429"/>
                  </a:lnTo>
                  <a:lnTo>
                    <a:pt x="99524" y="239661"/>
                  </a:lnTo>
                  <a:lnTo>
                    <a:pt x="108998" y="239661"/>
                  </a:lnTo>
                  <a:lnTo>
                    <a:pt x="124099" y="239141"/>
                  </a:lnTo>
                  <a:lnTo>
                    <a:pt x="131211" y="239052"/>
                  </a:lnTo>
                  <a:lnTo>
                    <a:pt x="137797" y="238423"/>
                  </a:lnTo>
                  <a:lnTo>
                    <a:pt x="143415" y="237998"/>
                  </a:lnTo>
                  <a:lnTo>
                    <a:pt x="149473" y="237286"/>
                  </a:lnTo>
                  <a:lnTo>
                    <a:pt x="155353" y="236677"/>
                  </a:lnTo>
                  <a:lnTo>
                    <a:pt x="161145" y="235788"/>
                  </a:lnTo>
                  <a:lnTo>
                    <a:pt x="166948" y="235013"/>
                  </a:lnTo>
                  <a:lnTo>
                    <a:pt x="173171" y="233946"/>
                  </a:lnTo>
                  <a:lnTo>
                    <a:pt x="179852" y="232460"/>
                  </a:lnTo>
                  <a:lnTo>
                    <a:pt x="183624" y="231940"/>
                  </a:lnTo>
                  <a:lnTo>
                    <a:pt x="185998" y="230708"/>
                  </a:lnTo>
                  <a:lnTo>
                    <a:pt x="186951" y="229298"/>
                  </a:lnTo>
                  <a:lnTo>
                    <a:pt x="187840" y="227457"/>
                  </a:lnTo>
                  <a:lnTo>
                    <a:pt x="188538" y="224993"/>
                  </a:lnTo>
                  <a:lnTo>
                    <a:pt x="188538" y="192519"/>
                  </a:lnTo>
                  <a:lnTo>
                    <a:pt x="93720" y="192519"/>
                  </a:lnTo>
                  <a:lnTo>
                    <a:pt x="85567" y="190842"/>
                  </a:lnTo>
                  <a:lnTo>
                    <a:pt x="78976" y="187604"/>
                  </a:lnTo>
                  <a:lnTo>
                    <a:pt x="72486" y="184531"/>
                  </a:lnTo>
                  <a:lnTo>
                    <a:pt x="67482" y="180403"/>
                  </a:lnTo>
                  <a:lnTo>
                    <a:pt x="53957" y="146075"/>
                  </a:lnTo>
                  <a:lnTo>
                    <a:pt x="53957" y="138620"/>
                  </a:lnTo>
                  <a:lnTo>
                    <a:pt x="194330" y="138620"/>
                  </a:lnTo>
                  <a:lnTo>
                    <a:pt x="197047" y="135191"/>
                  </a:lnTo>
                  <a:lnTo>
                    <a:pt x="197047" y="105257"/>
                  </a:lnTo>
                  <a:lnTo>
                    <a:pt x="196855" y="99898"/>
                  </a:lnTo>
                  <a:lnTo>
                    <a:pt x="54401" y="99898"/>
                  </a:lnTo>
                  <a:lnTo>
                    <a:pt x="54401" y="98234"/>
                  </a:lnTo>
                  <a:lnTo>
                    <a:pt x="66949" y="60401"/>
                  </a:lnTo>
                  <a:lnTo>
                    <a:pt x="98902" y="47231"/>
                  </a:lnTo>
                  <a:lnTo>
                    <a:pt x="184013" y="47231"/>
                  </a:lnTo>
                  <a:lnTo>
                    <a:pt x="182808" y="44800"/>
                  </a:lnTo>
                  <a:lnTo>
                    <a:pt x="150021" y="12073"/>
                  </a:lnTo>
                  <a:lnTo>
                    <a:pt x="110493" y="516"/>
                  </a:lnTo>
                  <a:lnTo>
                    <a:pt x="98902" y="0"/>
                  </a:lnTo>
                  <a:close/>
                </a:path>
                <a:path w="197484" h="240029">
                  <a:moveTo>
                    <a:pt x="183268" y="188302"/>
                  </a:moveTo>
                  <a:lnTo>
                    <a:pt x="179852" y="188302"/>
                  </a:lnTo>
                  <a:lnTo>
                    <a:pt x="172774" y="188911"/>
                  </a:lnTo>
                  <a:lnTo>
                    <a:pt x="136248" y="191592"/>
                  </a:lnTo>
                  <a:lnTo>
                    <a:pt x="125688" y="192092"/>
                  </a:lnTo>
                  <a:lnTo>
                    <a:pt x="114815" y="192408"/>
                  </a:lnTo>
                  <a:lnTo>
                    <a:pt x="93720" y="192519"/>
                  </a:lnTo>
                  <a:lnTo>
                    <a:pt x="188538" y="192519"/>
                  </a:lnTo>
                  <a:lnTo>
                    <a:pt x="188449" y="192092"/>
                  </a:lnTo>
                  <a:lnTo>
                    <a:pt x="187662" y="190677"/>
                  </a:lnTo>
                  <a:lnTo>
                    <a:pt x="186146" y="189555"/>
                  </a:lnTo>
                  <a:lnTo>
                    <a:pt x="185021" y="188836"/>
                  </a:lnTo>
                  <a:lnTo>
                    <a:pt x="183268" y="188302"/>
                  </a:lnTo>
                  <a:close/>
                </a:path>
                <a:path w="197484" h="240029">
                  <a:moveTo>
                    <a:pt x="184013" y="47231"/>
                  </a:moveTo>
                  <a:lnTo>
                    <a:pt x="98902" y="47231"/>
                  </a:lnTo>
                  <a:lnTo>
                    <a:pt x="108172" y="48065"/>
                  </a:lnTo>
                  <a:lnTo>
                    <a:pt x="116506" y="50553"/>
                  </a:lnTo>
                  <a:lnTo>
                    <a:pt x="141769" y="86666"/>
                  </a:lnTo>
                  <a:lnTo>
                    <a:pt x="142539" y="98234"/>
                  </a:lnTo>
                  <a:lnTo>
                    <a:pt x="142539" y="99898"/>
                  </a:lnTo>
                  <a:lnTo>
                    <a:pt x="196855" y="99898"/>
                  </a:lnTo>
                  <a:lnTo>
                    <a:pt x="187106" y="53466"/>
                  </a:lnTo>
                  <a:lnTo>
                    <a:pt x="184013" y="4723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24" name="object 24"/>
            <p:cNvSpPr/>
            <p:nvPr/>
          </p:nvSpPr>
          <p:spPr>
            <a:xfrm>
              <a:off x="6103947" y="4430457"/>
              <a:ext cx="876006" cy="266356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25" name="object 25"/>
            <p:cNvSpPr/>
            <p:nvPr/>
          </p:nvSpPr>
          <p:spPr>
            <a:xfrm>
              <a:off x="5841551" y="1901989"/>
              <a:ext cx="477137" cy="1167693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26" name="object 26"/>
            <p:cNvSpPr/>
            <p:nvPr/>
          </p:nvSpPr>
          <p:spPr>
            <a:xfrm>
              <a:off x="5935291" y="2541258"/>
              <a:ext cx="383396" cy="528424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27" name="object 27"/>
            <p:cNvSpPr/>
            <p:nvPr/>
          </p:nvSpPr>
          <p:spPr>
            <a:xfrm>
              <a:off x="6109039" y="3065920"/>
              <a:ext cx="1030731" cy="674052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28" name="object 28"/>
            <p:cNvSpPr/>
            <p:nvPr/>
          </p:nvSpPr>
          <p:spPr>
            <a:xfrm>
              <a:off x="6109038" y="3065920"/>
              <a:ext cx="357928" cy="543136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29" name="object 29"/>
            <p:cNvSpPr/>
            <p:nvPr/>
          </p:nvSpPr>
          <p:spPr>
            <a:xfrm>
              <a:off x="5021899" y="3065217"/>
              <a:ext cx="1029718" cy="674128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30" name="object 30"/>
            <p:cNvSpPr/>
            <p:nvPr/>
          </p:nvSpPr>
          <p:spPr>
            <a:xfrm>
              <a:off x="5456080" y="3065217"/>
              <a:ext cx="595538" cy="289616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15" dirty="0"/>
            </a:p>
          </p:txBody>
        </p:sp>
        <p:sp>
          <p:nvSpPr>
            <p:cNvPr id="31" name="object 54"/>
            <p:cNvSpPr/>
            <p:nvPr/>
          </p:nvSpPr>
          <p:spPr>
            <a:xfrm>
              <a:off x="4607090" y="5118495"/>
              <a:ext cx="2977819" cy="330200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</p:spTree>
    <p:extLst>
      <p:ext uri="{BB962C8B-B14F-4D97-AF65-F5344CB8AC3E}">
        <p14:creationId xmlns:p14="http://schemas.microsoft.com/office/powerpoint/2010/main" val="1187812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F:\сергей\expo\№3 преза_видео\work22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bject 3"/>
          <p:cNvSpPr txBox="1"/>
          <p:nvPr/>
        </p:nvSpPr>
        <p:spPr>
          <a:xfrm>
            <a:off x="2086430" y="5253818"/>
            <a:ext cx="5664199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ru-RU" sz="2200" b="1" spc="40" dirty="0" smtClean="0">
                <a:solidFill>
                  <a:srgbClr val="92D050"/>
                </a:solidFill>
                <a:latin typeface="Neo Sans Pro" panose="020B0504030504040204" pitchFamily="34" charset="-52"/>
                <a:cs typeface="Arial"/>
              </a:rPr>
              <a:t>Открытая аудитория </a:t>
            </a:r>
            <a:r>
              <a:rPr lang="ru-RU" sz="2200" b="1" spc="75" dirty="0">
                <a:solidFill>
                  <a:schemeClr val="bg1"/>
                </a:solidFill>
                <a:latin typeface="Neo Sans Pro" panose="020B0504030504040204" pitchFamily="34" charset="-52"/>
                <a:cs typeface="Arial"/>
              </a:rPr>
              <a:t>до 12 тыс. мест</a:t>
            </a:r>
            <a:endParaRPr sz="2200" b="1" spc="75" dirty="0">
              <a:solidFill>
                <a:schemeClr val="bg1"/>
              </a:solidFill>
              <a:latin typeface="Neo Sans Pro" panose="020B0504030504040204" pitchFamily="34" charset="-52"/>
              <a:cs typeface="Arial"/>
            </a:endParaRPr>
          </a:p>
          <a:p>
            <a:pPr marR="5080"/>
            <a:r>
              <a:rPr sz="2200" b="1" spc="75" dirty="0">
                <a:solidFill>
                  <a:schemeClr val="bg1"/>
                </a:solidFill>
                <a:latin typeface="Neo Sans Pro" panose="020B0504030504040204" pitchFamily="34" charset="-52"/>
                <a:cs typeface="Arial"/>
              </a:rPr>
              <a:t>2 000 </a:t>
            </a:r>
            <a:r>
              <a:rPr lang="ru-RU" sz="2200" b="1" spc="75" dirty="0" smtClean="0">
                <a:solidFill>
                  <a:schemeClr val="bg1"/>
                </a:solidFill>
                <a:latin typeface="Neo Sans Pro" panose="020B0504030504040204" pitchFamily="34" charset="-52"/>
                <a:cs typeface="Arial"/>
              </a:rPr>
              <a:t>посадочных </a:t>
            </a:r>
            <a:r>
              <a:rPr lang="ru-RU" sz="2200" b="1" spc="-150" dirty="0" smtClean="0">
                <a:solidFill>
                  <a:schemeClr val="bg1"/>
                </a:solidFill>
                <a:latin typeface="Neo Sans Pro" panose="020B0504030504040204" pitchFamily="34" charset="-52"/>
                <a:cs typeface="Arial"/>
              </a:rPr>
              <a:t>мест</a:t>
            </a:r>
            <a:endParaRPr sz="2200" dirty="0">
              <a:solidFill>
                <a:schemeClr val="bg1"/>
              </a:solidFill>
              <a:latin typeface="Neo Sans Pro" panose="020B0504030504040204" pitchFamily="34" charset="-52"/>
              <a:cs typeface="Arial"/>
            </a:endParaRPr>
          </a:p>
        </p:txBody>
      </p:sp>
      <p:sp>
        <p:nvSpPr>
          <p:cNvPr id="7" name="object 4"/>
          <p:cNvSpPr/>
          <p:nvPr/>
        </p:nvSpPr>
        <p:spPr>
          <a:xfrm>
            <a:off x="2086429" y="1446664"/>
            <a:ext cx="5277014" cy="363030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5"/>
          <p:cNvSpPr txBox="1"/>
          <p:nvPr/>
        </p:nvSpPr>
        <p:spPr>
          <a:xfrm>
            <a:off x="7542078" y="2024770"/>
            <a:ext cx="2897323" cy="280846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8890" indent="1358900" algn="r">
              <a:lnSpc>
                <a:spcPts val="2100"/>
              </a:lnSpc>
            </a:pPr>
            <a:r>
              <a:rPr lang="ru-RU" b="1" spc="45" dirty="0" smtClean="0">
                <a:solidFill>
                  <a:srgbClr val="92D050"/>
                </a:solidFill>
                <a:latin typeface="Neo Sans Pro" panose="020B0504030504040204" pitchFamily="34" charset="-52"/>
                <a:cs typeface="Arial"/>
              </a:rPr>
              <a:t>Церемония</a:t>
            </a:r>
            <a:r>
              <a:rPr b="1" spc="229" dirty="0" smtClean="0">
                <a:solidFill>
                  <a:srgbClr val="92D050"/>
                </a:solidFill>
                <a:latin typeface="Neo Sans Pro" panose="020B0504030504040204" pitchFamily="34" charset="-52"/>
                <a:cs typeface="Arial"/>
              </a:rPr>
              <a:t>  </a:t>
            </a:r>
            <a:r>
              <a:rPr lang="ru-RU" b="1" spc="-10" dirty="0" smtClean="0">
                <a:solidFill>
                  <a:srgbClr val="92D050"/>
                </a:solidFill>
                <a:latin typeface="Neo Sans Pro" panose="020B0504030504040204" pitchFamily="34" charset="-52"/>
                <a:cs typeface="Arial"/>
              </a:rPr>
              <a:t>Открытия/закрытия</a:t>
            </a:r>
            <a:endParaRPr dirty="0">
              <a:solidFill>
                <a:srgbClr val="92D050"/>
              </a:solidFill>
              <a:latin typeface="Neo Sans Pro" panose="020B0504030504040204" pitchFamily="34" charset="-52"/>
              <a:cs typeface="Arial"/>
            </a:endParaRPr>
          </a:p>
          <a:p>
            <a:pPr marL="355600" marR="13335" indent="800100" algn="r">
              <a:lnSpc>
                <a:spcPts val="4300"/>
              </a:lnSpc>
              <a:spcBef>
                <a:spcPts val="440"/>
              </a:spcBef>
            </a:pPr>
            <a:r>
              <a:rPr lang="ru-RU" b="1" spc="-25" dirty="0" smtClean="0">
                <a:solidFill>
                  <a:schemeClr val="bg1"/>
                </a:solidFill>
                <a:latin typeface="Neo Sans Pro" panose="020B0504030504040204" pitchFamily="34" charset="-52"/>
                <a:cs typeface="Arial"/>
              </a:rPr>
              <a:t>День Города</a:t>
            </a:r>
            <a:r>
              <a:rPr b="1" spc="-25" dirty="0" smtClean="0">
                <a:solidFill>
                  <a:schemeClr val="bg1"/>
                </a:solidFill>
                <a:latin typeface="Neo Sans Pro" panose="020B0504030504040204" pitchFamily="34" charset="-52"/>
                <a:cs typeface="Arial"/>
              </a:rPr>
              <a:t>  </a:t>
            </a:r>
            <a:r>
              <a:rPr lang="ru-RU" b="1" spc="15" dirty="0" smtClean="0">
                <a:solidFill>
                  <a:schemeClr val="bg1"/>
                </a:solidFill>
                <a:latin typeface="Neo Sans Pro" panose="020B0504030504040204" pitchFamily="34" charset="-52"/>
                <a:cs typeface="Arial"/>
              </a:rPr>
              <a:t>День Конституции</a:t>
            </a:r>
            <a:endParaRPr dirty="0">
              <a:solidFill>
                <a:schemeClr val="bg1"/>
              </a:solidFill>
              <a:latin typeface="Neo Sans Pro" panose="020B0504030504040204" pitchFamily="34" charset="-52"/>
              <a:cs typeface="Arial"/>
            </a:endParaRPr>
          </a:p>
          <a:p>
            <a:pPr marL="25400" marR="5080" indent="66675" algn="r">
              <a:lnSpc>
                <a:spcPts val="4300"/>
              </a:lnSpc>
              <a:spcBef>
                <a:spcPts val="100"/>
              </a:spcBef>
            </a:pPr>
            <a:r>
              <a:rPr lang="ru-RU" b="1" spc="-50" dirty="0" smtClean="0">
                <a:solidFill>
                  <a:schemeClr val="bg1"/>
                </a:solidFill>
                <a:latin typeface="Neo Sans Pro" panose="020B0504030504040204" pitchFamily="34" charset="-52"/>
                <a:cs typeface="Arial"/>
              </a:rPr>
              <a:t>Ежедневные шоу</a:t>
            </a:r>
            <a:r>
              <a:rPr b="1" spc="-15" dirty="0" smtClean="0">
                <a:solidFill>
                  <a:schemeClr val="bg1"/>
                </a:solidFill>
                <a:latin typeface="Neo Sans Pro" panose="020B0504030504040204" pitchFamily="34" charset="-52"/>
                <a:cs typeface="Arial"/>
              </a:rPr>
              <a:t> </a:t>
            </a:r>
            <a:r>
              <a:rPr lang="ru-RU" b="1" spc="-15" dirty="0" smtClean="0">
                <a:solidFill>
                  <a:schemeClr val="bg1"/>
                </a:solidFill>
                <a:latin typeface="Neo Sans Pro" panose="020B0504030504040204" pitchFamily="34" charset="-52"/>
                <a:cs typeface="Arial"/>
              </a:rPr>
              <a:t>Поп/рок </a:t>
            </a:r>
            <a:r>
              <a:rPr lang="ru-RU" b="1" spc="-10" dirty="0" smtClean="0">
                <a:solidFill>
                  <a:schemeClr val="bg1"/>
                </a:solidFill>
                <a:latin typeface="Neo Sans Pro" panose="020B0504030504040204" pitchFamily="34" charset="-52"/>
                <a:cs typeface="Arial"/>
              </a:rPr>
              <a:t>концерты</a:t>
            </a:r>
            <a:endParaRPr dirty="0">
              <a:solidFill>
                <a:schemeClr val="bg1"/>
              </a:solidFill>
              <a:latin typeface="Neo Sans Pro" panose="020B0504030504040204" pitchFamily="34" charset="-52"/>
              <a:cs typeface="Arial"/>
            </a:endParaRPr>
          </a:p>
        </p:txBody>
      </p:sp>
      <p:pic>
        <p:nvPicPr>
          <p:cNvPr id="11" name="Picture 5" descr="C:\Users\amarat\Desktop\сыфысыыыыыы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2" y="257051"/>
            <a:ext cx="4426527" cy="6946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object 2"/>
          <p:cNvSpPr txBox="1">
            <a:spLocks/>
          </p:cNvSpPr>
          <p:nvPr/>
        </p:nvSpPr>
        <p:spPr>
          <a:xfrm>
            <a:off x="237870" y="449871"/>
            <a:ext cx="3952293" cy="307777"/>
          </a:xfrm>
          <a:prstGeom prst="rect">
            <a:avLst/>
          </a:prstGeom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9pPr>
          </a:lstStyle>
          <a:p>
            <a:pPr marL="12700">
              <a:lnSpc>
                <a:spcPct val="100000"/>
              </a:lnSpc>
            </a:pPr>
            <a:r>
              <a:rPr lang="ru-RU" sz="2000" spc="-5" dirty="0" smtClean="0">
                <a:solidFill>
                  <a:schemeClr val="bg1"/>
                </a:solidFill>
              </a:rPr>
              <a:t>Амфитеатр</a:t>
            </a:r>
            <a:endParaRPr lang="en-US" sz="2000" spc="-5" dirty="0">
              <a:solidFill>
                <a:schemeClr val="bg1"/>
              </a:solidFill>
            </a:endParaRPr>
          </a:p>
        </p:txBody>
      </p:sp>
      <p:pic>
        <p:nvPicPr>
          <p:cNvPr id="15" name="Picture 2" descr="BI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C:\Users\amarat\Desktop\сфысфыффф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5634" y="191947"/>
            <a:ext cx="617679" cy="829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4775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F:\сергей\expo\№3 преза_видео\work22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bject 5"/>
          <p:cNvSpPr txBox="1"/>
          <p:nvPr/>
        </p:nvSpPr>
        <p:spPr>
          <a:xfrm>
            <a:off x="8026581" y="3123183"/>
            <a:ext cx="2124183" cy="5386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8890">
              <a:lnSpc>
                <a:spcPts val="2100"/>
              </a:lnSpc>
            </a:pPr>
            <a:r>
              <a:rPr lang="ru-RU" b="1" spc="45" dirty="0" smtClean="0">
                <a:solidFill>
                  <a:schemeClr val="bg1"/>
                </a:solidFill>
                <a:latin typeface="Neo Sans Pro" panose="020B0504030504040204" pitchFamily="34" charset="-52"/>
                <a:cs typeface="Arial"/>
              </a:rPr>
              <a:t>Форумы и конференции</a:t>
            </a:r>
            <a:endParaRPr dirty="0">
              <a:solidFill>
                <a:schemeClr val="bg1"/>
              </a:solidFill>
              <a:latin typeface="Neo Sans Pro" panose="020B0504030504040204" pitchFamily="34" charset="-52"/>
              <a:cs typeface="Arial"/>
            </a:endParaRPr>
          </a:p>
        </p:txBody>
      </p:sp>
      <p:sp>
        <p:nvSpPr>
          <p:cNvPr id="8" name="object 3"/>
          <p:cNvSpPr txBox="1"/>
          <p:nvPr/>
        </p:nvSpPr>
        <p:spPr>
          <a:xfrm>
            <a:off x="2092478" y="5253818"/>
            <a:ext cx="5374005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ru-RU" sz="2200" b="1" spc="40" dirty="0" smtClean="0">
                <a:solidFill>
                  <a:srgbClr val="92D050"/>
                </a:solidFill>
                <a:latin typeface="Neo Sans Pro" panose="020B0504030504040204" pitchFamily="34" charset="-52"/>
                <a:cs typeface="Arial"/>
              </a:rPr>
              <a:t>Театр: </a:t>
            </a:r>
            <a:r>
              <a:rPr lang="en-US" sz="2200" b="1" spc="40" dirty="0" smtClean="0">
                <a:solidFill>
                  <a:schemeClr val="bg1"/>
                </a:solidFill>
                <a:latin typeface="Neo Sans Pro" panose="020B0504030504040204" pitchFamily="34" charset="-52"/>
                <a:cs typeface="Arial"/>
              </a:rPr>
              <a:t>1000 </a:t>
            </a:r>
            <a:r>
              <a:rPr lang="ru-RU" sz="2200" b="1" spc="40" dirty="0" smtClean="0">
                <a:solidFill>
                  <a:schemeClr val="bg1"/>
                </a:solidFill>
                <a:latin typeface="Neo Sans Pro" panose="020B0504030504040204" pitchFamily="34" charset="-52"/>
                <a:cs typeface="Arial"/>
              </a:rPr>
              <a:t>мест</a:t>
            </a:r>
            <a:endParaRPr lang="en-US" sz="2200" b="1" spc="40" dirty="0">
              <a:solidFill>
                <a:schemeClr val="bg1"/>
              </a:solidFill>
              <a:latin typeface="Neo Sans Pro" panose="020B0504030504040204" pitchFamily="34" charset="-52"/>
              <a:cs typeface="Arial"/>
            </a:endParaRPr>
          </a:p>
        </p:txBody>
      </p:sp>
      <p:sp>
        <p:nvSpPr>
          <p:cNvPr id="11" name="object 3"/>
          <p:cNvSpPr/>
          <p:nvPr/>
        </p:nvSpPr>
        <p:spPr>
          <a:xfrm>
            <a:off x="2064115" y="1587913"/>
            <a:ext cx="5687420" cy="334780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2" name="Picture 5" descr="C:\Users\amarat\Desktop\сыфысыыыыыы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2" y="257051"/>
            <a:ext cx="4426527" cy="6946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object 2"/>
          <p:cNvSpPr txBox="1">
            <a:spLocks/>
          </p:cNvSpPr>
          <p:nvPr/>
        </p:nvSpPr>
        <p:spPr>
          <a:xfrm>
            <a:off x="237870" y="449871"/>
            <a:ext cx="3952293" cy="307777"/>
          </a:xfrm>
          <a:prstGeom prst="rect">
            <a:avLst/>
          </a:prstGeom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9pPr>
          </a:lstStyle>
          <a:p>
            <a:pPr marL="12700">
              <a:lnSpc>
                <a:spcPct val="100000"/>
              </a:lnSpc>
            </a:pPr>
            <a:r>
              <a:rPr lang="ru-RU" sz="2000" spc="-5" dirty="0" smtClean="0">
                <a:solidFill>
                  <a:schemeClr val="bg1"/>
                </a:solidFill>
              </a:rPr>
              <a:t>Холл энергии</a:t>
            </a:r>
            <a:endParaRPr lang="en-US" sz="2000" spc="-5" dirty="0">
              <a:solidFill>
                <a:schemeClr val="bg1"/>
              </a:solidFill>
            </a:endParaRPr>
          </a:p>
        </p:txBody>
      </p:sp>
      <p:pic>
        <p:nvPicPr>
          <p:cNvPr id="18" name="Picture 2" descr="BI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6" descr="C:\Users\amarat\Desktop\сфысфыффф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5634" y="191947"/>
            <a:ext cx="617679" cy="829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1408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F:\сергей\expo\№3 преза_видео\work22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3"/>
          <p:cNvSpPr txBox="1">
            <a:spLocks noChangeArrowheads="1"/>
          </p:cNvSpPr>
          <p:nvPr/>
        </p:nvSpPr>
        <p:spPr bwMode="auto">
          <a:xfrm>
            <a:off x="2086430" y="609298"/>
            <a:ext cx="116773" cy="950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7790" tIns="28895" rIns="57790" bIns="28895">
            <a:spAutoFit/>
          </a:bodyPr>
          <a:lstStyle>
            <a:lvl1pPr>
              <a:defRPr sz="2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1120775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1120775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1120775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1120775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ru-RU" altLang="ru-RU" sz="2800" b="1" u="sng" dirty="0">
              <a:solidFill>
                <a:schemeClr val="bg1"/>
              </a:solidFill>
              <a:latin typeface="Neo Sans Pro Medium"/>
            </a:endParaRPr>
          </a:p>
          <a:p>
            <a:endParaRPr lang="ru-RU" altLang="ru-RU" sz="3000" dirty="0">
              <a:solidFill>
                <a:schemeClr val="bg1"/>
              </a:solidFill>
              <a:latin typeface="Neo Sans Pro" panose="020B0504030504040204" pitchFamily="34" charset="-52"/>
            </a:endParaRPr>
          </a:p>
        </p:txBody>
      </p:sp>
      <p:sp>
        <p:nvSpPr>
          <p:cNvPr id="6" name="object 5"/>
          <p:cNvSpPr txBox="1"/>
          <p:nvPr/>
        </p:nvSpPr>
        <p:spPr>
          <a:xfrm>
            <a:off x="7363445" y="2440796"/>
            <a:ext cx="3039881" cy="11003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-12700" algn="r">
              <a:lnSpc>
                <a:spcPct val="99500"/>
              </a:lnSpc>
            </a:pPr>
            <a:r>
              <a:rPr lang="ru-RU" b="1" spc="-10" dirty="0" smtClean="0">
                <a:solidFill>
                  <a:schemeClr val="bg1"/>
                </a:solidFill>
                <a:latin typeface="Neo Sans Pro" panose="020B0504030504040204" pitchFamily="34" charset="-52"/>
                <a:cs typeface="Arial"/>
              </a:rPr>
              <a:t>Национальные дни стран-участниц</a:t>
            </a:r>
            <a:endParaRPr dirty="0">
              <a:solidFill>
                <a:schemeClr val="bg1"/>
              </a:solidFill>
              <a:latin typeface="Neo Sans Pro" panose="020B0504030504040204" pitchFamily="34" charset="-52"/>
              <a:cs typeface="Arial"/>
            </a:endParaRPr>
          </a:p>
          <a:p>
            <a:pPr>
              <a:spcBef>
                <a:spcPts val="10"/>
              </a:spcBef>
            </a:pPr>
            <a:endParaRPr dirty="0">
              <a:solidFill>
                <a:schemeClr val="bg1"/>
              </a:solidFill>
              <a:latin typeface="Neo Sans Pro" panose="020B0504030504040204" pitchFamily="34" charset="-52"/>
              <a:cs typeface="Times New Roman"/>
            </a:endParaRPr>
          </a:p>
          <a:p>
            <a:pPr marR="5080" algn="r">
              <a:lnSpc>
                <a:spcPts val="2130"/>
              </a:lnSpc>
            </a:pPr>
            <a:r>
              <a:rPr lang="ru-RU" b="1" spc="5" dirty="0" smtClean="0">
                <a:solidFill>
                  <a:srgbClr val="92D050"/>
                </a:solidFill>
                <a:latin typeface="Neo Sans Pro" panose="020B0504030504040204" pitchFamily="34" charset="-52"/>
                <a:cs typeface="Arial"/>
              </a:rPr>
              <a:t>Концерты</a:t>
            </a:r>
            <a:endParaRPr dirty="0">
              <a:solidFill>
                <a:srgbClr val="92D050"/>
              </a:solidFill>
              <a:latin typeface="Neo Sans Pro" panose="020B0504030504040204" pitchFamily="34" charset="-52"/>
              <a:cs typeface="Arial"/>
            </a:endParaRPr>
          </a:p>
        </p:txBody>
      </p:sp>
      <p:pic>
        <p:nvPicPr>
          <p:cNvPr id="7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37"/>
          <a:stretch>
            <a:fillRect/>
          </a:stretch>
        </p:blipFill>
        <p:spPr bwMode="auto">
          <a:xfrm>
            <a:off x="2086430" y="1451232"/>
            <a:ext cx="5277014" cy="362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bject 3"/>
          <p:cNvSpPr txBox="1"/>
          <p:nvPr/>
        </p:nvSpPr>
        <p:spPr>
          <a:xfrm>
            <a:off x="2086430" y="5253818"/>
            <a:ext cx="5685971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2394585"/>
            <a:r>
              <a:rPr lang="ru-RU" sz="2200" b="1" spc="40" dirty="0" smtClean="0">
                <a:solidFill>
                  <a:srgbClr val="92D050"/>
                </a:solidFill>
                <a:latin typeface="Neo Sans Pro" panose="020B0504030504040204" pitchFamily="34" charset="-52"/>
                <a:cs typeface="Arial"/>
              </a:rPr>
              <a:t>Открытая сцена</a:t>
            </a:r>
            <a:endParaRPr lang="en-US" sz="2200" b="1" spc="-110" dirty="0">
              <a:solidFill>
                <a:srgbClr val="92D050"/>
              </a:solidFill>
              <a:latin typeface="Neo Sans Pro" panose="020B0504030504040204" pitchFamily="34" charset="-52"/>
              <a:cs typeface="Arial"/>
            </a:endParaRPr>
          </a:p>
          <a:p>
            <a:pPr marL="12700" marR="2394585"/>
            <a:r>
              <a:rPr lang="en-US" sz="2200" b="1" spc="75" dirty="0">
                <a:solidFill>
                  <a:schemeClr val="bg1"/>
                </a:solidFill>
                <a:latin typeface="Neo Sans Pro" panose="020B0504030504040204" pitchFamily="34" charset="-52"/>
                <a:cs typeface="Arial"/>
              </a:rPr>
              <a:t>300 </a:t>
            </a:r>
            <a:r>
              <a:rPr lang="ru-RU" sz="2200" b="1" spc="-150" dirty="0" smtClean="0">
                <a:solidFill>
                  <a:schemeClr val="bg1"/>
                </a:solidFill>
                <a:latin typeface="Neo Sans Pro" panose="020B0504030504040204" pitchFamily="34" charset="-52"/>
                <a:cs typeface="Arial"/>
              </a:rPr>
              <a:t>мест</a:t>
            </a:r>
            <a:endParaRPr lang="en-US" sz="2200" dirty="0">
              <a:solidFill>
                <a:schemeClr val="bg1"/>
              </a:solidFill>
              <a:latin typeface="Neo Sans Pro" panose="020B0504030504040204" pitchFamily="34" charset="-52"/>
              <a:cs typeface="Arial"/>
            </a:endParaRPr>
          </a:p>
          <a:p>
            <a:endParaRPr sz="2200" dirty="0">
              <a:solidFill>
                <a:schemeClr val="bg1"/>
              </a:solidFill>
              <a:latin typeface="Neo Sans Pro" panose="020B0504030504040204" pitchFamily="34" charset="-52"/>
              <a:cs typeface="Arial"/>
            </a:endParaRPr>
          </a:p>
        </p:txBody>
      </p:sp>
      <p:pic>
        <p:nvPicPr>
          <p:cNvPr id="11" name="Picture 5" descr="C:\Users\amarat\Desktop\сыфысыыыыыы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2" y="257051"/>
            <a:ext cx="4426527" cy="6946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object 2"/>
          <p:cNvSpPr txBox="1">
            <a:spLocks/>
          </p:cNvSpPr>
          <p:nvPr/>
        </p:nvSpPr>
        <p:spPr>
          <a:xfrm>
            <a:off x="237870" y="465260"/>
            <a:ext cx="3952293" cy="276999"/>
          </a:xfrm>
          <a:prstGeom prst="rect">
            <a:avLst/>
          </a:prstGeom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ru-RU" sz="2000" spc="-5" dirty="0">
                <a:solidFill>
                  <a:schemeClr val="bg1"/>
                </a:solidFill>
              </a:rPr>
              <a:t>Сцена национального дня</a:t>
            </a:r>
          </a:p>
        </p:txBody>
      </p:sp>
      <p:pic>
        <p:nvPicPr>
          <p:cNvPr id="16" name="Picture 2" descr="BI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C:\Users\amarat\Desktop\сфысфыффф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5634" y="191947"/>
            <a:ext cx="617679" cy="829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8923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F:\сергей\expo\№3 преза_видео\work22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06" b="6403"/>
          <a:stretch/>
        </p:blipFill>
        <p:spPr>
          <a:xfrm>
            <a:off x="1190502" y="2488876"/>
            <a:ext cx="5185379" cy="2135719"/>
          </a:xfrm>
          <a:prstGeom prst="rect">
            <a:avLst/>
          </a:prstGeom>
        </p:spPr>
      </p:pic>
      <p:sp>
        <p:nvSpPr>
          <p:cNvPr id="8" name="object 5"/>
          <p:cNvSpPr txBox="1"/>
          <p:nvPr/>
        </p:nvSpPr>
        <p:spPr>
          <a:xfrm>
            <a:off x="6629401" y="2033242"/>
            <a:ext cx="3646155" cy="30469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indent="1387475" algn="r">
              <a:lnSpc>
                <a:spcPct val="99500"/>
              </a:lnSpc>
            </a:pPr>
            <a:r>
              <a:rPr lang="ru-RU" b="1" spc="-10" dirty="0">
                <a:solidFill>
                  <a:srgbClr val="92D050"/>
                </a:solidFill>
                <a:latin typeface="Neo Sans Pro" panose="020B0504030504040204" pitchFamily="34" charset="-52"/>
                <a:cs typeface="Arial"/>
              </a:rPr>
              <a:t>Выставки современного </a:t>
            </a:r>
            <a:r>
              <a:rPr lang="ru-RU" b="1" spc="-10" dirty="0" smtClean="0">
                <a:solidFill>
                  <a:srgbClr val="92D050"/>
                </a:solidFill>
                <a:latin typeface="Neo Sans Pro" panose="020B0504030504040204" pitchFamily="34" charset="-52"/>
                <a:cs typeface="Arial"/>
              </a:rPr>
              <a:t>искусства</a:t>
            </a:r>
          </a:p>
          <a:p>
            <a:pPr marL="12700" marR="5080" indent="1387475" algn="r">
              <a:lnSpc>
                <a:spcPct val="99500"/>
              </a:lnSpc>
            </a:pPr>
            <a:endParaRPr lang="en-US" b="1" spc="-10" dirty="0">
              <a:solidFill>
                <a:schemeClr val="bg1"/>
              </a:solidFill>
              <a:latin typeface="Neo Sans Pro" panose="020B0504030504040204" pitchFamily="34" charset="-52"/>
              <a:cs typeface="Arial"/>
            </a:endParaRPr>
          </a:p>
          <a:p>
            <a:pPr marL="12700" marR="5080" indent="1387475" algn="r">
              <a:lnSpc>
                <a:spcPct val="99500"/>
              </a:lnSpc>
            </a:pPr>
            <a:r>
              <a:rPr lang="ru-RU" b="1" spc="-10" dirty="0">
                <a:solidFill>
                  <a:schemeClr val="bg1"/>
                </a:solidFill>
                <a:latin typeface="Neo Sans Pro" panose="020B0504030504040204" pitchFamily="34" charset="-52"/>
                <a:cs typeface="Arial"/>
              </a:rPr>
              <a:t>Образовательные </a:t>
            </a:r>
            <a:r>
              <a:rPr lang="ru-RU" b="1" spc="-10" dirty="0" smtClean="0">
                <a:solidFill>
                  <a:schemeClr val="bg1"/>
                </a:solidFill>
                <a:latin typeface="Neo Sans Pro" panose="020B0504030504040204" pitchFamily="34" charset="-52"/>
                <a:cs typeface="Arial"/>
              </a:rPr>
              <a:t>мероприятия</a:t>
            </a:r>
          </a:p>
          <a:p>
            <a:pPr marL="12700" marR="5080" indent="1387475" algn="r">
              <a:lnSpc>
                <a:spcPct val="99500"/>
              </a:lnSpc>
            </a:pPr>
            <a:endParaRPr lang="en-US" b="1" spc="-10" dirty="0">
              <a:solidFill>
                <a:schemeClr val="bg1"/>
              </a:solidFill>
              <a:latin typeface="Neo Sans Pro" panose="020B0504030504040204" pitchFamily="34" charset="-52"/>
              <a:cs typeface="Arial"/>
            </a:endParaRPr>
          </a:p>
          <a:p>
            <a:pPr marL="12700" marR="5080" indent="1387475" algn="r">
              <a:lnSpc>
                <a:spcPct val="99500"/>
              </a:lnSpc>
            </a:pPr>
            <a:r>
              <a:rPr lang="ru-RU" b="1" spc="-10" dirty="0" smtClean="0">
                <a:solidFill>
                  <a:srgbClr val="92D050"/>
                </a:solidFill>
                <a:latin typeface="Neo Sans Pro" panose="020B0504030504040204" pitchFamily="34" charset="-52"/>
                <a:cs typeface="Arial"/>
              </a:rPr>
              <a:t>Творческий центр для детей</a:t>
            </a:r>
          </a:p>
          <a:p>
            <a:pPr marL="12700" marR="5080" indent="1387475" algn="r">
              <a:lnSpc>
                <a:spcPct val="99500"/>
              </a:lnSpc>
            </a:pPr>
            <a:endParaRPr lang="en-US" b="1" spc="-10" dirty="0">
              <a:solidFill>
                <a:schemeClr val="bg1"/>
              </a:solidFill>
              <a:latin typeface="Neo Sans Pro" panose="020B0504030504040204" pitchFamily="34" charset="-52"/>
              <a:cs typeface="Arial"/>
            </a:endParaRPr>
          </a:p>
          <a:p>
            <a:pPr marL="12700" marR="5080" indent="1387475" algn="r">
              <a:lnSpc>
                <a:spcPct val="99500"/>
              </a:lnSpc>
            </a:pPr>
            <a:r>
              <a:rPr lang="ru-RU" b="1" spc="-10" dirty="0" smtClean="0">
                <a:solidFill>
                  <a:schemeClr val="bg1"/>
                </a:solidFill>
                <a:latin typeface="Neo Sans Pro" panose="020B0504030504040204" pitchFamily="34" charset="-52"/>
                <a:cs typeface="Arial"/>
              </a:rPr>
              <a:t>Мероприятия стран-участниц</a:t>
            </a:r>
            <a:endParaRPr dirty="0">
              <a:solidFill>
                <a:srgbClr val="92D050"/>
              </a:solidFill>
              <a:latin typeface="Neo Sans Pro" panose="020B0504030504040204" pitchFamily="34" charset="-52"/>
              <a:cs typeface="Arial"/>
            </a:endParaRPr>
          </a:p>
        </p:txBody>
      </p:sp>
      <p:pic>
        <p:nvPicPr>
          <p:cNvPr id="11" name="Picture 5" descr="C:\Users\amarat\Desktop\сыфысыыыыыы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2" y="257051"/>
            <a:ext cx="4426527" cy="6946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object 2"/>
          <p:cNvSpPr txBox="1">
            <a:spLocks/>
          </p:cNvSpPr>
          <p:nvPr/>
        </p:nvSpPr>
        <p:spPr>
          <a:xfrm>
            <a:off x="237870" y="465260"/>
            <a:ext cx="3952293" cy="276999"/>
          </a:xfrm>
          <a:prstGeom prst="rect">
            <a:avLst/>
          </a:prstGeom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ru-RU" sz="2000" spc="-5" dirty="0" smtClean="0">
                <a:solidFill>
                  <a:schemeClr val="bg1"/>
                </a:solidFill>
              </a:rPr>
              <a:t>Арт центр</a:t>
            </a:r>
            <a:endParaRPr lang="ru-RU" sz="2000" spc="-5" dirty="0">
              <a:solidFill>
                <a:schemeClr val="bg1"/>
              </a:solidFill>
            </a:endParaRPr>
          </a:p>
        </p:txBody>
      </p:sp>
      <p:pic>
        <p:nvPicPr>
          <p:cNvPr id="10" name="Picture 2" descr="BI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C:\Users\amarat\Desktop\сфысфыффф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5634" y="191947"/>
            <a:ext cx="617679" cy="829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1133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1237687" y="1904128"/>
          <a:ext cx="10001609" cy="4889763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1165963"/>
                <a:gridCol w="1577646"/>
                <a:gridCol w="1598141"/>
                <a:gridCol w="2214420"/>
                <a:gridCol w="1682077"/>
                <a:gridCol w="1763362"/>
              </a:tblGrid>
              <a:tr h="368078"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Avenir Next Demi Bold"/>
                          <a:cs typeface="Avenir Next Demi Bold"/>
                        </a:rPr>
                        <a:t>9.00-10.00</a:t>
                      </a:r>
                      <a:endParaRPr lang="ru-RU" sz="6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 rowSpan="2"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САУНДЧЕК,</a:t>
                      </a:r>
                      <a:r>
                        <a:rPr lang="ru-RU" sz="700" b="0" baseline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 ПОДГОТОВКА К ВЕЧЕРНЕМУ КОНЦЕРТУ И ШОУ</a:t>
                      </a:r>
                      <a:endParaRPr lang="ru-RU" sz="700" b="0" dirty="0" smtClean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700" b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ПОКАЗ</a:t>
                      </a:r>
                      <a:r>
                        <a:rPr lang="ru-RU" sz="700" b="0" baseline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 НАУЧНО-ПОПУЛЯРНЫХ ФИЛЬМОВ НА ТЕМУ ЭНЕРГОСБЕРЕЖЕНИЯ, УМЕНЬШЕНИЯ ВЫБРОСОВ СО2 И Т.Д.</a:t>
                      </a:r>
                      <a:r>
                        <a:rPr lang="en-US" sz="700" b="0" baseline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 C</a:t>
                      </a:r>
                      <a:r>
                        <a:rPr lang="ru-RU" sz="700" b="0" baseline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ОВМЕСТНО С  </a:t>
                      </a:r>
                      <a:r>
                        <a:rPr lang="en-US" sz="700" b="0" baseline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DISCOVERY, BBC</a:t>
                      </a:r>
                      <a:endParaRPr lang="ru-RU" sz="700" b="0" dirty="0" smtClean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b="0" dirty="0" smtClean="0">
                          <a:solidFill>
                            <a:schemeClr val="tx1"/>
                          </a:solidFill>
                          <a:latin typeface="Avenir Next Demi Bold"/>
                          <a:cs typeface="Avenir Next Demi Bold"/>
                        </a:rPr>
                        <a:t>ТРИ</a:t>
                      </a:r>
                      <a:r>
                        <a:rPr lang="ru-RU" sz="500" b="0" baseline="0" dirty="0" smtClean="0">
                          <a:solidFill>
                            <a:schemeClr val="tx1"/>
                          </a:solidFill>
                          <a:latin typeface="Avenir Next Demi Bold"/>
                          <a:cs typeface="Avenir Next Demi Bold"/>
                        </a:rPr>
                        <a:t> ДЕЙСТВУЮЩИЕ ВЫСТАВКИ</a:t>
                      </a:r>
                      <a:endParaRPr lang="ru-RU" sz="500" b="0" dirty="0" smtClean="0">
                        <a:solidFill>
                          <a:schemeClr val="tx1"/>
                        </a:solidFill>
                        <a:latin typeface="Avenir Next Demi Bold"/>
                        <a:cs typeface="Avenir Next Demi Bold"/>
                      </a:endParaRPr>
                    </a:p>
                    <a:p>
                      <a:pPr algn="ctr"/>
                      <a:endParaRPr lang="ru-RU" sz="5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5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121920" marR="121920" anchor="ctr">
                    <a:solidFill>
                      <a:schemeClr val="bg1"/>
                    </a:solidFill>
                  </a:tcPr>
                </a:tc>
              </a:tr>
              <a:tr h="368078"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Avenir Next Demi Bold"/>
                          <a:cs typeface="Avenir Next Demi Bold"/>
                        </a:rPr>
                        <a:t>10.00-11.00</a:t>
                      </a:r>
                      <a:endParaRPr lang="ru-RU" sz="6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b="0" baseline="0" dirty="0" smtClean="0">
                          <a:solidFill>
                            <a:schemeClr val="tx1"/>
                          </a:solidFill>
                          <a:latin typeface="Avenir Next Demi Bold"/>
                          <a:cs typeface="Avenir Next Demi Bold"/>
                        </a:rPr>
                        <a:t>АРТ ТЕРАПИЯ ДЛЯ ДЕТЕЙ</a:t>
                      </a:r>
                      <a:endParaRPr lang="ru-RU" sz="500" b="0" dirty="0" smtClean="0">
                        <a:solidFill>
                          <a:schemeClr val="tx1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5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121920" marR="121920" anchor="ctr">
                    <a:solidFill>
                      <a:schemeClr val="bg1"/>
                    </a:solidFill>
                  </a:tcPr>
                </a:tc>
              </a:tr>
              <a:tr h="368078"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Avenir Next Demi Bold"/>
                          <a:cs typeface="Avenir Next Demi Bold"/>
                        </a:rPr>
                        <a:t>11.00-12.00</a:t>
                      </a:r>
                      <a:endParaRPr lang="ru-RU" sz="6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ТЕХНИЧЕСКАЯ</a:t>
                      </a:r>
                      <a:r>
                        <a:rPr lang="ru-RU" sz="700" baseline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 РЕПЕТИЦИЯ</a:t>
                      </a:r>
                      <a:endParaRPr lang="ru-RU" sz="70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5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НАЦИОНАЛЬНЫЙ ДЕНЬ СТРАНЫ УЧАСТНИЦЫ</a:t>
                      </a:r>
                      <a:endParaRPr lang="ru-RU" sz="700" b="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121920" marR="121920" anchor="ctr">
                    <a:solidFill>
                      <a:schemeClr val="bg1"/>
                    </a:solidFill>
                  </a:tcPr>
                </a:tc>
              </a:tr>
              <a:tr h="368078"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Avenir Next Demi Bold"/>
                          <a:cs typeface="Avenir Next Demi Bold"/>
                        </a:rPr>
                        <a:t>12.00-13.00</a:t>
                      </a:r>
                      <a:endParaRPr lang="ru-RU" sz="6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 rowSpan="10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ИНТЕРАКТИВНЫЕ</a:t>
                      </a:r>
                      <a:r>
                        <a:rPr lang="ru-RU" sz="700" baseline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 СПОРТИВНЫЕ РАЗВЛЕКАТЕЛЬНЫЕ МЕРОПРИЯТИЯ В ЗЕЛЕНОЙ ЗОНЕ </a:t>
                      </a:r>
                      <a:endParaRPr lang="ru-RU" sz="700" dirty="0" smtClean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  <a:p>
                      <a:pPr algn="ctr"/>
                      <a:endParaRPr lang="ru-RU" sz="70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ПОКАЗ ДЕТСКИХ АНИМАЦИОННЫХ</a:t>
                      </a:r>
                      <a:r>
                        <a:rPr lang="ru-RU" sz="700" baseline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 ФИЛЬМОВ</a:t>
                      </a:r>
                      <a:endParaRPr lang="ru-RU" sz="70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b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ОБРАЗОВАТЕЛЬНЫЙ</a:t>
                      </a:r>
                      <a:r>
                        <a:rPr lang="ru-RU" sz="500" b="0" baseline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 КУРС ДЛЯ ДЕТЕЙ И РОДИТЕЛЕЙ СОВМЕСТНО С </a:t>
                      </a:r>
                      <a:r>
                        <a:rPr lang="en-US" sz="500" b="0" baseline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GOOGLE CULTURAL ACADEMY</a:t>
                      </a:r>
                      <a:endParaRPr lang="ru-RU" sz="500" b="0" dirty="0" smtClean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5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121920" marR="121920" anchor="ctr">
                    <a:solidFill>
                      <a:schemeClr val="bg1"/>
                    </a:solidFill>
                  </a:tcPr>
                </a:tc>
              </a:tr>
              <a:tr h="368078"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Avenir Next Demi Bold"/>
                          <a:cs typeface="Avenir Next Demi Bold"/>
                        </a:rPr>
                        <a:t>13.00-14.00</a:t>
                      </a:r>
                      <a:endParaRPr lang="ru-RU" sz="6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5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5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121920" marR="121920" anchor="ctr">
                    <a:solidFill>
                      <a:schemeClr val="bg1"/>
                    </a:solidFill>
                  </a:tcPr>
                </a:tc>
              </a:tr>
              <a:tr h="368078"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Avenir Next Demi Bold"/>
                          <a:cs typeface="Avenir Next Demi Bold"/>
                        </a:rPr>
                        <a:t>14.00-15.00</a:t>
                      </a:r>
                      <a:endParaRPr lang="ru-RU" sz="6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b="0" dirty="0" smtClean="0">
                          <a:solidFill>
                            <a:schemeClr val="tx1"/>
                          </a:solidFill>
                          <a:latin typeface="Avenir Next Demi Bold"/>
                          <a:cs typeface="Avenir Next Demi Bold"/>
                        </a:rPr>
                        <a:t>ОТКРЫТАЯ ТВОРЧЕСКАЯ МАСТЕРСКАЯ,</a:t>
                      </a:r>
                    </a:p>
                    <a:p>
                      <a:pPr algn="ctr"/>
                      <a:r>
                        <a:rPr lang="ru-RU" sz="500" b="0" dirty="0" smtClean="0">
                          <a:solidFill>
                            <a:schemeClr val="tx1"/>
                          </a:solidFill>
                          <a:latin typeface="Avenir Next Demi Bold"/>
                          <a:cs typeface="Avenir Next Demi Bold"/>
                        </a:rPr>
                        <a:t>ЗОНА</a:t>
                      </a:r>
                      <a:r>
                        <a:rPr lang="ru-RU" sz="500" b="0" baseline="0" dirty="0" smtClean="0">
                          <a:solidFill>
                            <a:schemeClr val="tx1"/>
                          </a:solidFill>
                          <a:latin typeface="Avenir Next Demi Bold"/>
                          <a:cs typeface="Avenir Next Demi Bold"/>
                        </a:rPr>
                        <a:t> ОТДЫХА</a:t>
                      </a:r>
                      <a:r>
                        <a:rPr lang="ru-RU" sz="500" b="0" dirty="0" smtClean="0">
                          <a:solidFill>
                            <a:schemeClr val="tx1"/>
                          </a:solidFill>
                          <a:latin typeface="Avenir Next Demi Bold"/>
                          <a:cs typeface="Avenir Next Demi Bold"/>
                        </a:rPr>
                        <a:t> </a:t>
                      </a:r>
                    </a:p>
                  </a:txBody>
                  <a:tcPr marL="121920" marR="12192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5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121920" marR="121920" anchor="ctr">
                    <a:solidFill>
                      <a:schemeClr val="bg1"/>
                    </a:solidFill>
                  </a:tcPr>
                </a:tc>
              </a:tr>
              <a:tr h="368078"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Avenir Next Demi Bold"/>
                          <a:cs typeface="Avenir Next Demi Bold"/>
                        </a:rPr>
                        <a:t>15.00-16.00</a:t>
                      </a:r>
                      <a:endParaRPr lang="ru-RU" sz="6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50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5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121920" marR="121920" anchor="ctr">
                    <a:solidFill>
                      <a:schemeClr val="bg1"/>
                    </a:solidFill>
                  </a:tcPr>
                </a:tc>
              </a:tr>
              <a:tr h="414088"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Avenir Next Demi Bold"/>
                          <a:cs typeface="Avenir Next Demi Bold"/>
                        </a:rPr>
                        <a:t>16.00-17.00</a:t>
                      </a:r>
                      <a:endParaRPr lang="ru-RU" sz="6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ПОКАЗ</a:t>
                      </a:r>
                      <a:r>
                        <a:rPr lang="ru-RU" sz="700" baseline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 ХУДОЖЕСТВЕННЫХ ФИЛЬМОВ СОВМЕСТНО С </a:t>
                      </a:r>
                      <a:r>
                        <a:rPr lang="en-US" sz="700" baseline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KINOPARK</a:t>
                      </a:r>
                      <a:endParaRPr lang="ru-RU" sz="70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50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КОНЦЕРТ</a:t>
                      </a:r>
                      <a:r>
                        <a:rPr lang="ru-RU" sz="700" b="0" baseline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 ТРАДИЦИОННОЙ МУЗЫКИ</a:t>
                      </a:r>
                    </a:p>
                  </a:txBody>
                  <a:tcPr marL="121920" marR="12192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121920" marR="121920" anchor="ctr">
                    <a:solidFill>
                      <a:schemeClr val="bg1"/>
                    </a:solidFill>
                  </a:tcPr>
                </a:tc>
              </a:tr>
              <a:tr h="368078"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Avenir Next Demi Bold"/>
                          <a:cs typeface="Avenir Next Demi Bold"/>
                        </a:rPr>
                        <a:t>17.00-18.00</a:t>
                      </a:r>
                      <a:endParaRPr lang="ru-RU" sz="6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50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5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121920" marR="121920" anchor="ctr">
                    <a:solidFill>
                      <a:schemeClr val="bg1"/>
                    </a:solidFill>
                  </a:tcPr>
                </a:tc>
              </a:tr>
              <a:tr h="368078"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Avenir Next Demi Bold"/>
                          <a:cs typeface="Avenir Next Demi Bold"/>
                        </a:rPr>
                        <a:t>18.00-19.00</a:t>
                      </a:r>
                      <a:endParaRPr lang="ru-RU" sz="6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ВСТРЕЧА С РЕЖИССЕРАМИ, МУЗЫКАНТАМИ</a:t>
                      </a:r>
                      <a:r>
                        <a:rPr lang="ru-RU" sz="700" b="0" baseline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 </a:t>
                      </a:r>
                      <a:r>
                        <a:rPr lang="en-US" sz="700" b="0" baseline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- Q&amp;A </a:t>
                      </a:r>
                      <a:r>
                        <a:rPr lang="ru-RU" sz="700" b="0" baseline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СЕССИИ</a:t>
                      </a:r>
                      <a:endParaRPr lang="ru-RU" sz="700" b="0" dirty="0" smtClean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5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5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121920" marR="121920" anchor="ctr">
                    <a:solidFill>
                      <a:schemeClr val="bg1"/>
                    </a:solidFill>
                  </a:tcPr>
                </a:tc>
              </a:tr>
              <a:tr h="368078"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Avenir Next Demi Bold"/>
                          <a:cs typeface="Avenir Next Demi Bold"/>
                        </a:rPr>
                        <a:t>19.00-20.00</a:t>
                      </a:r>
                      <a:endParaRPr lang="ru-RU" sz="6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700" b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СПЕКТАКЛЬ</a:t>
                      </a:r>
                      <a:r>
                        <a:rPr lang="ru-RU" sz="700" b="0" baseline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 ТЕАТРА СОВРЕМЕННОГО ТАНЦА</a:t>
                      </a:r>
                      <a:endParaRPr lang="ru-RU" sz="700" b="0" dirty="0" smtClean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500" b="0" dirty="0" smtClean="0">
                          <a:solidFill>
                            <a:schemeClr val="tx1"/>
                          </a:solidFill>
                          <a:latin typeface="Avenir Next Demi Bold"/>
                          <a:cs typeface="Avenir Next Demi Bold"/>
                        </a:rPr>
                        <a:t>ПРОГРАММА</a:t>
                      </a:r>
                    </a:p>
                    <a:p>
                      <a:pPr algn="ctr"/>
                      <a:r>
                        <a:rPr lang="ru-RU" sz="500" b="0" dirty="0" smtClean="0">
                          <a:solidFill>
                            <a:schemeClr val="tx1"/>
                          </a:solidFill>
                          <a:latin typeface="Avenir Next Demi Bold"/>
                          <a:cs typeface="Avenir Next Demi Bold"/>
                        </a:rPr>
                        <a:t>АНИМАЦИОННОГО</a:t>
                      </a:r>
                      <a:r>
                        <a:rPr lang="ru-RU" sz="500" b="0" baseline="0" dirty="0" smtClean="0">
                          <a:solidFill>
                            <a:schemeClr val="tx1"/>
                          </a:solidFill>
                          <a:latin typeface="Avenir Next Demi Bold"/>
                          <a:cs typeface="Avenir Next Demi Bold"/>
                        </a:rPr>
                        <a:t> КИНО</a:t>
                      </a:r>
                      <a:endParaRPr lang="ru-RU" sz="500" b="0" dirty="0" smtClean="0">
                        <a:solidFill>
                          <a:schemeClr val="tx1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500" dirty="0" smtClean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121920" marR="121920" anchor="ctr">
                    <a:solidFill>
                      <a:schemeClr val="bg1"/>
                    </a:solidFill>
                  </a:tcPr>
                </a:tc>
              </a:tr>
              <a:tr h="368078"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Avenir Next Demi Bold"/>
                          <a:cs typeface="Avenir Next Demi Bold"/>
                        </a:rPr>
                        <a:t>20.00-21.00</a:t>
                      </a:r>
                      <a:endParaRPr lang="ru-RU" sz="6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DJ</a:t>
                      </a:r>
                      <a:r>
                        <a:rPr lang="en-US" sz="800" baseline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 SET</a:t>
                      </a:r>
                      <a:endParaRPr lang="ru-RU" sz="800" dirty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500" dirty="0">
                        <a:solidFill>
                          <a:schemeClr val="tx1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121920" marR="121920" anchor="ctr">
                    <a:solidFill>
                      <a:schemeClr val="bg1"/>
                    </a:solidFill>
                  </a:tcPr>
                </a:tc>
              </a:tr>
              <a:tr h="184039"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121920" marR="121920" anchor="ctr"/>
                </a:tc>
                <a:tc vMerge="1">
                  <a:txBody>
                    <a:bodyPr/>
                    <a:lstStyle/>
                    <a:p>
                      <a:endParaRPr lang="ru-RU" sz="600" dirty="0">
                        <a:latin typeface="Gill Sans"/>
                        <a:cs typeface="Gill Sans"/>
                      </a:endParaRPr>
                    </a:p>
                  </a:txBody>
                  <a:tcPr marL="121920" marR="12192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latin typeface="Gill Sans"/>
                        <a:cs typeface="Gill Sans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rgbClr val="FFFFFF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</a:tr>
              <a:tr h="199376"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Avenir Next Demi Bold"/>
                          <a:cs typeface="Avenir Next Demi Bold"/>
                        </a:rPr>
                        <a:t>22.00-23.00</a:t>
                      </a:r>
                      <a:endParaRPr lang="ru-RU" sz="6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КОНЦЕРТ ЗВЕЗД</a:t>
                      </a:r>
                      <a:r>
                        <a:rPr lang="ru-RU" sz="700" b="0" baseline="0" dirty="0" smtClean="0">
                          <a:solidFill>
                            <a:srgbClr val="000000"/>
                          </a:solidFill>
                          <a:latin typeface="Avenir Next Demi Bold"/>
                          <a:cs typeface="Avenir Next Demi Bold"/>
                        </a:rPr>
                        <a:t> КЛАССА А</a:t>
                      </a:r>
                      <a:endParaRPr lang="ru-RU" sz="700" b="0" dirty="0" smtClean="0">
                        <a:solidFill>
                          <a:srgbClr val="000000"/>
                        </a:solidFill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5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5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5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500" dirty="0">
                        <a:latin typeface="Avenir Next Demi Bold"/>
                        <a:cs typeface="Avenir Next Demi Bold"/>
                      </a:endParaRPr>
                    </a:p>
                  </a:txBody>
                  <a:tcPr marL="121920" marR="121920" anchor="ctr"/>
                </a:tc>
              </a:tr>
            </a:tbl>
          </a:graphicData>
        </a:graphic>
      </p:graphicFrame>
      <p:sp>
        <p:nvSpPr>
          <p:cNvPr id="22" name="Прямоугольник 21"/>
          <p:cNvSpPr>
            <a:spLocks noChangeArrowheads="1"/>
          </p:cNvSpPr>
          <p:nvPr/>
        </p:nvSpPr>
        <p:spPr bwMode="auto">
          <a:xfrm>
            <a:off x="9462098" y="212056"/>
            <a:ext cx="1764498" cy="1663700"/>
          </a:xfrm>
          <a:prstGeom prst="rect">
            <a:avLst/>
          </a:prstGeom>
          <a:solidFill>
            <a:srgbClr val="D9D9D9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lt1"/>
                </a:solidFill>
                <a:latin typeface="Neo Sans Pro" panose="020B0504030504040204" pitchFamily="34" charset="-52"/>
              </a:rPr>
              <a:t>+</a:t>
            </a:r>
            <a:endParaRPr lang="ru-RU" dirty="0">
              <a:solidFill>
                <a:schemeClr val="lt1"/>
              </a:solidFill>
              <a:latin typeface="Neo Sans Pro" panose="020B0504030504040204" pitchFamily="34" charset="-52"/>
            </a:endParaRPr>
          </a:p>
        </p:txBody>
      </p:sp>
      <p:sp>
        <p:nvSpPr>
          <p:cNvPr id="20" name="Прямоугольник 19"/>
          <p:cNvSpPr>
            <a:spLocks noChangeArrowheads="1"/>
          </p:cNvSpPr>
          <p:nvPr/>
        </p:nvSpPr>
        <p:spPr bwMode="auto">
          <a:xfrm>
            <a:off x="7814914" y="212056"/>
            <a:ext cx="1628520" cy="1663700"/>
          </a:xfrm>
          <a:prstGeom prst="rect">
            <a:avLst/>
          </a:prstGeom>
          <a:solidFill>
            <a:srgbClr val="D9D9D9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lt1"/>
                </a:solidFill>
                <a:latin typeface="Neo Sans Pro" panose="020B0504030504040204" pitchFamily="34" charset="-52"/>
              </a:rPr>
              <a:t>+</a:t>
            </a:r>
            <a:endParaRPr lang="ru-RU" dirty="0">
              <a:solidFill>
                <a:schemeClr val="lt1"/>
              </a:solidFill>
              <a:latin typeface="Neo Sans Pro" panose="020B0504030504040204" pitchFamily="34" charset="-52"/>
            </a:endParaRPr>
          </a:p>
        </p:txBody>
      </p:sp>
      <p:sp>
        <p:nvSpPr>
          <p:cNvPr id="19" name="Прямоугольник 18"/>
          <p:cNvSpPr>
            <a:spLocks noChangeArrowheads="1"/>
          </p:cNvSpPr>
          <p:nvPr/>
        </p:nvSpPr>
        <p:spPr bwMode="auto">
          <a:xfrm>
            <a:off x="5606283" y="229356"/>
            <a:ext cx="2183230" cy="1694780"/>
          </a:xfrm>
          <a:prstGeom prst="rect">
            <a:avLst/>
          </a:prstGeom>
          <a:solidFill>
            <a:srgbClr val="D9D9D9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lt1"/>
                </a:solidFill>
                <a:latin typeface="Neo Sans Pro" panose="020B0504030504040204" pitchFamily="34" charset="-52"/>
              </a:rPr>
              <a:t>+</a:t>
            </a:r>
            <a:endParaRPr lang="ru-RU" dirty="0">
              <a:solidFill>
                <a:schemeClr val="lt1"/>
              </a:solidFill>
              <a:latin typeface="Neo Sans Pro" panose="020B0504030504040204" pitchFamily="34" charset="-52"/>
            </a:endParaRPr>
          </a:p>
        </p:txBody>
      </p:sp>
      <p:sp>
        <p:nvSpPr>
          <p:cNvPr id="18" name="Прямоугольник 17"/>
          <p:cNvSpPr>
            <a:spLocks noChangeArrowheads="1"/>
          </p:cNvSpPr>
          <p:nvPr/>
        </p:nvSpPr>
        <p:spPr bwMode="auto">
          <a:xfrm>
            <a:off x="3952364" y="234892"/>
            <a:ext cx="1627074" cy="1663700"/>
          </a:xfrm>
          <a:prstGeom prst="rect">
            <a:avLst/>
          </a:prstGeom>
          <a:solidFill>
            <a:srgbClr val="D9D9D9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lt1"/>
                </a:solidFill>
                <a:latin typeface="Neo Sans Pro" panose="020B0504030504040204" pitchFamily="34" charset="-52"/>
              </a:rPr>
              <a:t>+</a:t>
            </a:r>
            <a:endParaRPr lang="ru-RU" dirty="0">
              <a:solidFill>
                <a:schemeClr val="lt1"/>
              </a:solidFill>
              <a:latin typeface="Neo Sans Pro" panose="020B0504030504040204" pitchFamily="34" charset="-52"/>
            </a:endParaRPr>
          </a:p>
        </p:txBody>
      </p:sp>
      <p:sp>
        <p:nvSpPr>
          <p:cNvPr id="17" name="Прямоугольник 16"/>
          <p:cNvSpPr>
            <a:spLocks noChangeArrowheads="1"/>
          </p:cNvSpPr>
          <p:nvPr/>
        </p:nvSpPr>
        <p:spPr bwMode="auto">
          <a:xfrm>
            <a:off x="2432596" y="229355"/>
            <a:ext cx="1519767" cy="1663700"/>
          </a:xfrm>
          <a:prstGeom prst="rect">
            <a:avLst/>
          </a:prstGeom>
          <a:solidFill>
            <a:srgbClr val="D9D9D9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lt1"/>
                </a:solidFill>
                <a:latin typeface="Neo Sans Pro" panose="020B0504030504040204" pitchFamily="34" charset="-52"/>
              </a:rPr>
              <a:t>+</a:t>
            </a:r>
            <a:endParaRPr lang="ru-RU" dirty="0">
              <a:solidFill>
                <a:schemeClr val="lt1"/>
              </a:solidFill>
              <a:latin typeface="Neo Sans Pro" panose="020B0504030504040204" pitchFamily="34" charset="-52"/>
            </a:endParaRPr>
          </a:p>
        </p:txBody>
      </p:sp>
      <p:pic>
        <p:nvPicPr>
          <p:cNvPr id="3081" name="Содержимое 3" descr="Снимок экрана 2015-06-16 в 15.01.35.png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084" r="-16084"/>
          <a:stretch>
            <a:fillRect/>
          </a:stretch>
        </p:blipFill>
        <p:spPr>
          <a:xfrm>
            <a:off x="2187062" y="288093"/>
            <a:ext cx="2015067" cy="1165225"/>
          </a:xfrm>
        </p:spPr>
      </p:pic>
      <p:pic>
        <p:nvPicPr>
          <p:cNvPr id="3082" name="Изображение 4" descr="Снимок экрана 2015-06-16 в 14.57.19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364" y="298392"/>
            <a:ext cx="1627074" cy="1160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3" name="Изображение 5" descr="Снимок экрана 2015-06-16 в 13.53.30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3347" y="319386"/>
            <a:ext cx="1689101" cy="1176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5" name="Изображение 7" descr="Снимок экрана 2015-06-16 в 15.05.51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9512" y="343566"/>
            <a:ext cx="1631951" cy="1176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86" name="TextBox 8"/>
          <p:cNvSpPr txBox="1">
            <a:spLocks noChangeArrowheads="1"/>
          </p:cNvSpPr>
          <p:nvPr/>
        </p:nvSpPr>
        <p:spPr bwMode="auto">
          <a:xfrm>
            <a:off x="2432596" y="1502530"/>
            <a:ext cx="1519767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ctr" eaLnBrk="1" hangingPunct="1"/>
            <a:r>
              <a:rPr lang="ru-RU" sz="1100" dirty="0">
                <a:latin typeface="Neo Sans Pro" panose="020B0504030504040204" pitchFamily="34" charset="-52"/>
                <a:cs typeface="Avenir Next Demi Bold" charset="0"/>
              </a:rPr>
              <a:t>АМФИТЕАТР</a:t>
            </a:r>
          </a:p>
        </p:txBody>
      </p:sp>
      <p:sp>
        <p:nvSpPr>
          <p:cNvPr id="3087" name="TextBox 9"/>
          <p:cNvSpPr txBox="1">
            <a:spLocks noChangeArrowheads="1"/>
          </p:cNvSpPr>
          <p:nvPr/>
        </p:nvSpPr>
        <p:spPr bwMode="auto">
          <a:xfrm>
            <a:off x="4138631" y="1495367"/>
            <a:ext cx="1258642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ctr" eaLnBrk="1" hangingPunct="1"/>
            <a:r>
              <a:rPr lang="ru-RU" sz="1100" dirty="0">
                <a:latin typeface="Neo Sans Pro" panose="020B0504030504040204" pitchFamily="34" charset="-52"/>
                <a:cs typeface="Avenir Next Demi Bold" charset="0"/>
              </a:rPr>
              <a:t>ХОЛЛ ЭНЕРГИИ</a:t>
            </a:r>
          </a:p>
        </p:txBody>
      </p:sp>
      <p:sp>
        <p:nvSpPr>
          <p:cNvPr id="3088" name="TextBox 10"/>
          <p:cNvSpPr txBox="1">
            <a:spLocks noChangeArrowheads="1"/>
          </p:cNvSpPr>
          <p:nvPr/>
        </p:nvSpPr>
        <p:spPr bwMode="auto">
          <a:xfrm>
            <a:off x="6324262" y="1553181"/>
            <a:ext cx="912429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eaLnBrk="1" hangingPunct="1"/>
            <a:r>
              <a:rPr lang="ru-RU" sz="1100" dirty="0">
                <a:latin typeface="Neo Sans Pro" panose="020B0504030504040204" pitchFamily="34" charset="-52"/>
                <a:cs typeface="Avenir Next Demi Bold" charset="0"/>
              </a:rPr>
              <a:t>АРТ ЦЕНТР</a:t>
            </a:r>
          </a:p>
        </p:txBody>
      </p:sp>
      <p:sp>
        <p:nvSpPr>
          <p:cNvPr id="3089" name="TextBox 11"/>
          <p:cNvSpPr txBox="1">
            <a:spLocks noChangeArrowheads="1"/>
          </p:cNvSpPr>
          <p:nvPr/>
        </p:nvSpPr>
        <p:spPr bwMode="auto">
          <a:xfrm>
            <a:off x="8017843" y="1572688"/>
            <a:ext cx="98456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eaLnBrk="1" hangingPunct="1"/>
            <a:r>
              <a:rPr lang="en-US" sz="1100" dirty="0">
                <a:latin typeface="Neo Sans Pro" panose="020B0504030504040204" pitchFamily="34" charset="-52"/>
                <a:cs typeface="Avenir Next Demi Bold" charset="0"/>
              </a:rPr>
              <a:t>EXPO PLAZA</a:t>
            </a:r>
            <a:endParaRPr lang="ru-RU" sz="1100" dirty="0">
              <a:latin typeface="Neo Sans Pro" panose="020B0504030504040204" pitchFamily="34" charset="-52"/>
              <a:cs typeface="Avenir Next Demi Bold" charset="0"/>
            </a:endParaRPr>
          </a:p>
        </p:txBody>
      </p:sp>
      <p:pic>
        <p:nvPicPr>
          <p:cNvPr id="3092" name="Изображение 14" descr="Снимок экрана 2015-06-16 в 13.53.52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6529" y="347534"/>
            <a:ext cx="1595967" cy="116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93" name="TextBox 15"/>
          <p:cNvSpPr txBox="1">
            <a:spLocks noChangeArrowheads="1"/>
          </p:cNvSpPr>
          <p:nvPr/>
        </p:nvSpPr>
        <p:spPr bwMode="auto">
          <a:xfrm>
            <a:off x="9480546" y="1484820"/>
            <a:ext cx="1600200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ctr" eaLnBrk="1" hangingPunct="1"/>
            <a:r>
              <a:rPr lang="ru-RU" sz="1100" dirty="0">
                <a:latin typeface="Neo Sans Pro" panose="020B0504030504040204" pitchFamily="34" charset="-52"/>
                <a:cs typeface="Avenir Next Demi Bold" charset="0"/>
              </a:rPr>
              <a:t>ТЕРРИТОРИЯ </a:t>
            </a:r>
          </a:p>
          <a:p>
            <a:pPr algn="ctr" eaLnBrk="1" hangingPunct="1"/>
            <a:r>
              <a:rPr lang="ru-RU" sz="1100" dirty="0">
                <a:latin typeface="Neo Sans Pro" panose="020B0504030504040204" pitchFamily="34" charset="-52"/>
                <a:cs typeface="Avenir Next Demi Bold" charset="0"/>
              </a:rPr>
              <a:t>ВЫСТАВКИ</a:t>
            </a:r>
          </a:p>
        </p:txBody>
      </p:sp>
      <p:sp>
        <p:nvSpPr>
          <p:cNvPr id="23" name="Заголовок 1"/>
          <p:cNvSpPr txBox="1">
            <a:spLocks/>
          </p:cNvSpPr>
          <p:nvPr/>
        </p:nvSpPr>
        <p:spPr>
          <a:xfrm>
            <a:off x="96716" y="64760"/>
            <a:ext cx="1843281" cy="1388558"/>
          </a:xfrm>
          <a:prstGeom prst="rect">
            <a:avLst/>
          </a:prstGeom>
          <a:solidFill>
            <a:srgbClr val="008000"/>
          </a:solidFill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000" b="1" dirty="0">
                <a:solidFill>
                  <a:schemeClr val="bg1"/>
                </a:solidFill>
                <a:latin typeface="Neo Sans Pro" panose="020B0504030504040204" pitchFamily="34" charset="-52"/>
                <a:cs typeface="Gill Sans"/>
              </a:rPr>
              <a:t>ПЛАН КУЛЬТУРНО-РАЗВЛЕКАТЕЛЬНЫХ </a:t>
            </a:r>
            <a:r>
              <a:rPr lang="ru-RU" sz="1000" b="1" dirty="0" smtClean="0">
                <a:solidFill>
                  <a:schemeClr val="bg1"/>
                </a:solidFill>
                <a:latin typeface="Neo Sans Pro" panose="020B0504030504040204" pitchFamily="34" charset="-52"/>
                <a:cs typeface="Gill Sans"/>
              </a:rPr>
              <a:t>МЕРОПРИЯТИЙ</a:t>
            </a:r>
            <a:r>
              <a:rPr lang="ru-RU" sz="1000" b="1" dirty="0">
                <a:solidFill>
                  <a:schemeClr val="bg1"/>
                </a:solidFill>
                <a:latin typeface="Neo Sans Pro" panose="020B0504030504040204" pitchFamily="34" charset="-52"/>
                <a:cs typeface="Gill Sans"/>
              </a:rPr>
              <a:t/>
            </a:r>
            <a:br>
              <a:rPr lang="ru-RU" sz="1000" b="1" dirty="0">
                <a:solidFill>
                  <a:schemeClr val="bg1"/>
                </a:solidFill>
                <a:latin typeface="Neo Sans Pro" panose="020B0504030504040204" pitchFamily="34" charset="-52"/>
                <a:cs typeface="Gill Sans"/>
              </a:rPr>
            </a:br>
            <a:r>
              <a:rPr lang="ru-RU" sz="1000" b="1" dirty="0">
                <a:solidFill>
                  <a:schemeClr val="bg1"/>
                </a:solidFill>
                <a:latin typeface="Neo Sans Pro" panose="020B0504030504040204" pitchFamily="34" charset="-52"/>
                <a:cs typeface="Gill Sans"/>
              </a:rPr>
              <a:t>ГРАФИК ОДНОГО ДНЯ: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594903" y="1904122"/>
            <a:ext cx="338554" cy="3766683"/>
          </a:xfrm>
          <a:prstGeom prst="rect">
            <a:avLst/>
          </a:prstGeom>
          <a:solidFill>
            <a:schemeClr val="bg1"/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Neo Sans Pro" panose="020B0504030504040204" pitchFamily="34" charset="-52"/>
                <a:cs typeface="Gill Sans"/>
              </a:rPr>
              <a:t>ТРИ ДЕЙСТВУЩИЕ ВЫСТАВКИ</a:t>
            </a:r>
            <a:endParaRPr lang="ru-RU" sz="1000" dirty="0">
              <a:solidFill>
                <a:srgbClr val="000000"/>
              </a:solidFill>
              <a:latin typeface="Neo Sans Pro" panose="020B0504030504040204" pitchFamily="34" charset="-52"/>
              <a:cs typeface="Gill San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933400" y="1916822"/>
            <a:ext cx="338554" cy="375198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Neo Sans Pro" panose="020B0504030504040204" pitchFamily="34" charset="-52"/>
                <a:cs typeface="Gill Sans"/>
              </a:rPr>
              <a:t>АРТ-ТЕРАПИЯ ДЛЯ ДЕТЕЙ</a:t>
            </a:r>
            <a:endParaRPr lang="ru-RU" sz="1000" dirty="0">
              <a:solidFill>
                <a:srgbClr val="000000"/>
              </a:solidFill>
              <a:latin typeface="Neo Sans Pro" panose="020B0504030504040204" pitchFamily="34" charset="-52"/>
              <a:cs typeface="Gill San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263784" y="1904122"/>
            <a:ext cx="646331" cy="376668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ru-RU" sz="1000" dirty="0">
                <a:solidFill>
                  <a:srgbClr val="000000"/>
                </a:solidFill>
                <a:latin typeface="Neo Sans Pro" panose="020B0504030504040204" pitchFamily="34" charset="-52"/>
                <a:cs typeface="Avenir Next Demi Bold"/>
              </a:rPr>
              <a:t>ОБРАЗОВАТЕЛЬНЫЙ КУРС ДЛЯ ДЕТЕЙ И РОДИТЕЛЕЙ СОВМЕСТНО С </a:t>
            </a:r>
            <a:endParaRPr lang="ru-RU" sz="1000" dirty="0" smtClean="0">
              <a:solidFill>
                <a:srgbClr val="000000"/>
              </a:solidFill>
              <a:latin typeface="Neo Sans Pro" panose="020B0504030504040204" pitchFamily="34" charset="-52"/>
              <a:cs typeface="Avenir Next Demi Bold"/>
            </a:endParaRPr>
          </a:p>
          <a:p>
            <a:pPr algn="ctr"/>
            <a:r>
              <a:rPr lang="en-US" sz="1000" dirty="0" smtClean="0">
                <a:solidFill>
                  <a:srgbClr val="000000"/>
                </a:solidFill>
                <a:latin typeface="Neo Sans Pro" panose="020B0504030504040204" pitchFamily="34" charset="-52"/>
                <a:cs typeface="Avenir Next Demi Bold"/>
              </a:rPr>
              <a:t>GOOGLE </a:t>
            </a:r>
            <a:r>
              <a:rPr lang="en-US" sz="1000" dirty="0">
                <a:solidFill>
                  <a:srgbClr val="000000"/>
                </a:solidFill>
                <a:latin typeface="Neo Sans Pro" panose="020B0504030504040204" pitchFamily="34" charset="-52"/>
                <a:cs typeface="Avenir Next Demi Bold"/>
              </a:rPr>
              <a:t>CULTURAL </a:t>
            </a:r>
            <a:r>
              <a:rPr lang="en-US" sz="1000" dirty="0" smtClean="0">
                <a:solidFill>
                  <a:srgbClr val="000000"/>
                </a:solidFill>
                <a:latin typeface="Neo Sans Pro" panose="020B0504030504040204" pitchFamily="34" charset="-52"/>
                <a:cs typeface="Avenir Next Demi Bold"/>
              </a:rPr>
              <a:t>ACADEMY</a:t>
            </a:r>
            <a:endParaRPr lang="ru-RU" sz="1000" dirty="0">
              <a:solidFill>
                <a:srgbClr val="000000"/>
              </a:solidFill>
              <a:latin typeface="Neo Sans Pro" panose="020B0504030504040204" pitchFamily="34" charset="-52"/>
              <a:cs typeface="Avenir Next Demi Bold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801316" y="1904122"/>
            <a:ext cx="600164" cy="3766683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ru-RU" sz="1000" dirty="0">
                <a:solidFill>
                  <a:srgbClr val="000000"/>
                </a:solidFill>
                <a:latin typeface="Neo Sans Pro" panose="020B0504030504040204" pitchFamily="34" charset="-52"/>
                <a:cs typeface="Avenir Next Demi Bold"/>
              </a:rPr>
              <a:t>ОТКРЫТАЯ ТВОРЧЕСКАЯ МАСТЕРСКАЯ,</a:t>
            </a:r>
          </a:p>
          <a:p>
            <a:pPr algn="ctr"/>
            <a:r>
              <a:rPr lang="ru-RU" sz="1000" dirty="0">
                <a:solidFill>
                  <a:srgbClr val="000000"/>
                </a:solidFill>
                <a:latin typeface="Neo Sans Pro" panose="020B0504030504040204" pitchFamily="34" charset="-52"/>
                <a:cs typeface="Avenir Next Demi Bold"/>
              </a:rPr>
              <a:t>ЗОНА </a:t>
            </a:r>
            <a:r>
              <a:rPr lang="ru-RU" sz="1000" dirty="0" smtClean="0">
                <a:solidFill>
                  <a:srgbClr val="000000"/>
                </a:solidFill>
                <a:latin typeface="Neo Sans Pro" panose="020B0504030504040204" pitchFamily="34" charset="-52"/>
                <a:cs typeface="Avenir Next Demi Bold"/>
              </a:rPr>
              <a:t>ОТДЫХА</a:t>
            </a:r>
            <a:endParaRPr lang="en-US" sz="1000" dirty="0">
              <a:solidFill>
                <a:srgbClr val="000000"/>
              </a:solidFill>
              <a:latin typeface="Neo Sans Pro" panose="020B0504030504040204" pitchFamily="34" charset="-52"/>
              <a:cs typeface="Avenir Next Demi Bold"/>
            </a:endParaRPr>
          </a:p>
          <a:p>
            <a:pPr algn="ctr"/>
            <a:endParaRPr lang="ru-RU" sz="700" dirty="0">
              <a:solidFill>
                <a:srgbClr val="000000"/>
              </a:solidFill>
              <a:latin typeface="Neo Sans Pro" panose="020B0504030504040204" pitchFamily="34" charset="-52"/>
              <a:cs typeface="Avenir Next Demi Bold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389403" y="1904122"/>
            <a:ext cx="400110" cy="3766683"/>
          </a:xfrm>
          <a:prstGeom prst="rect">
            <a:avLst/>
          </a:prstGeom>
          <a:solidFill>
            <a:schemeClr val="bg1"/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000000"/>
                </a:solidFill>
                <a:latin typeface="Neo Sans Pro" panose="020B0504030504040204" pitchFamily="34" charset="-52"/>
                <a:cs typeface="Gill Sans"/>
              </a:rPr>
              <a:t>БИБЛИОТЕКА, КАФЕ</a:t>
            </a:r>
            <a:endParaRPr lang="ru-RU" sz="1400" dirty="0">
              <a:solidFill>
                <a:srgbClr val="000000"/>
              </a:solidFill>
              <a:latin typeface="Neo Sans Pro" panose="020B0504030504040204" pitchFamily="34" charset="-52"/>
              <a:cs typeface="Gill San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428381" y="2604742"/>
            <a:ext cx="892552" cy="291413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vert="vert270" wrap="square" rtlCol="0" anchor="ctr">
            <a:spAutoFit/>
          </a:bodyPr>
          <a:lstStyle/>
          <a:p>
            <a:pPr algn="ctr" defTabSz="457200">
              <a:defRPr/>
            </a:pPr>
            <a:endParaRPr lang="ru-RU" sz="800" dirty="0" smtClean="0">
              <a:solidFill>
                <a:srgbClr val="000000"/>
              </a:solidFill>
              <a:latin typeface="Neo Sans Pro" panose="020B0504030504040204" pitchFamily="34" charset="-52"/>
              <a:cs typeface="Avenir Next Demi Bold"/>
            </a:endParaRPr>
          </a:p>
          <a:p>
            <a:pPr algn="ctr" defTabSz="457200">
              <a:defRPr/>
            </a:pPr>
            <a:endParaRPr lang="ru-RU" sz="1000" dirty="0">
              <a:solidFill>
                <a:srgbClr val="000000"/>
              </a:solidFill>
              <a:latin typeface="Neo Sans Pro" panose="020B0504030504040204" pitchFamily="34" charset="-52"/>
              <a:cs typeface="Avenir Next Demi Bold"/>
            </a:endParaRPr>
          </a:p>
          <a:p>
            <a:pPr algn="ctr" defTabSz="457200">
              <a:defRPr/>
            </a:pPr>
            <a:r>
              <a:rPr lang="ru-RU" sz="1000" dirty="0" smtClean="0">
                <a:solidFill>
                  <a:srgbClr val="000000"/>
                </a:solidFill>
                <a:latin typeface="Neo Sans Pro" panose="020B0504030504040204" pitchFamily="34" charset="-52"/>
                <a:cs typeface="Avenir Next Demi Bold"/>
              </a:rPr>
              <a:t>ОБРАЗОВАТЕЛЬНЫЕ </a:t>
            </a:r>
            <a:r>
              <a:rPr lang="ru-RU" sz="1000" dirty="0">
                <a:solidFill>
                  <a:srgbClr val="000000"/>
                </a:solidFill>
                <a:latin typeface="Neo Sans Pro" panose="020B0504030504040204" pitchFamily="34" charset="-52"/>
                <a:cs typeface="Avenir Next Demi Bold"/>
              </a:rPr>
              <a:t>МЕРОПРИЯТИЯ В МИНИ </a:t>
            </a:r>
            <a:r>
              <a:rPr lang="ru-RU" sz="1000" dirty="0" smtClean="0">
                <a:solidFill>
                  <a:srgbClr val="000000"/>
                </a:solidFill>
                <a:latin typeface="Neo Sans Pro" panose="020B0504030504040204" pitchFamily="34" charset="-52"/>
                <a:cs typeface="Avenir Next Demi Bold"/>
              </a:rPr>
              <a:t>ПАВИЛЬОНАХ</a:t>
            </a:r>
          </a:p>
          <a:p>
            <a:pPr algn="ctr" defTabSz="457200">
              <a:defRPr/>
            </a:pPr>
            <a:endParaRPr lang="ru-RU" sz="800" dirty="0" smtClean="0">
              <a:solidFill>
                <a:srgbClr val="000000"/>
              </a:solidFill>
              <a:latin typeface="Neo Sans Pro" panose="020B0504030504040204" pitchFamily="34" charset="-52"/>
              <a:cs typeface="Avenir Next Demi Bold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0334045" y="2604743"/>
            <a:ext cx="923330" cy="291413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vert="vert270" wrap="square" rtlCol="0">
            <a:spAutoFit/>
          </a:bodyPr>
          <a:lstStyle/>
          <a:p>
            <a:pPr algn="ctr" defTabSz="457200">
              <a:defRPr/>
            </a:pPr>
            <a:endParaRPr lang="ru-RU" sz="800" dirty="0" smtClean="0">
              <a:solidFill>
                <a:srgbClr val="000000"/>
              </a:solidFill>
              <a:latin typeface="Neo Sans Pro" panose="020B0504030504040204" pitchFamily="34" charset="-52"/>
              <a:cs typeface="Avenir Next Demi Bold"/>
            </a:endParaRPr>
          </a:p>
          <a:p>
            <a:pPr algn="ctr" defTabSz="457200">
              <a:defRPr/>
            </a:pPr>
            <a:endParaRPr lang="ru-RU" sz="800" dirty="0" smtClean="0">
              <a:solidFill>
                <a:srgbClr val="000000"/>
              </a:solidFill>
              <a:latin typeface="Neo Sans Pro" panose="020B0504030504040204" pitchFamily="34" charset="-52"/>
              <a:cs typeface="Avenir Next Demi Bold"/>
            </a:endParaRPr>
          </a:p>
          <a:p>
            <a:pPr algn="ctr" defTabSz="457200">
              <a:defRPr/>
            </a:pPr>
            <a:r>
              <a:rPr lang="ru-RU" sz="800" dirty="0" smtClean="0">
                <a:solidFill>
                  <a:srgbClr val="000000"/>
                </a:solidFill>
                <a:latin typeface="Neo Sans Pro" panose="020B0504030504040204" pitchFamily="34" charset="-52"/>
                <a:cs typeface="Avenir Next Demi Bold"/>
              </a:rPr>
              <a:t>РАЗВЛЕКАТЕЛЬНЫЕ МЕРОПРИЯТИЯ </a:t>
            </a:r>
            <a:r>
              <a:rPr lang="ru-RU" sz="800" dirty="0">
                <a:solidFill>
                  <a:srgbClr val="000000"/>
                </a:solidFill>
                <a:latin typeface="Neo Sans Pro" panose="020B0504030504040204" pitchFamily="34" charset="-52"/>
                <a:cs typeface="Avenir Next Demi Bold"/>
              </a:rPr>
              <a:t>В МИНИ </a:t>
            </a:r>
            <a:r>
              <a:rPr lang="ru-RU" sz="800" dirty="0" smtClean="0">
                <a:solidFill>
                  <a:srgbClr val="000000"/>
                </a:solidFill>
                <a:latin typeface="Neo Sans Pro" panose="020B0504030504040204" pitchFamily="34" charset="-52"/>
                <a:cs typeface="Avenir Next Demi Bold"/>
              </a:rPr>
              <a:t>ПАВИЛЬОНАХ - ЭТНО АУЛ, ИНТЕРАКТИВНЫЕ, ТЕМАТИЧЕСКИЕ МЕРОПРИЯТИЯ</a:t>
            </a:r>
          </a:p>
          <a:p>
            <a:pPr marL="171450" indent="-171450" algn="ctr" defTabSz="457200">
              <a:buFontTx/>
              <a:buChar char="-"/>
              <a:defRPr/>
            </a:pPr>
            <a:endParaRPr lang="ru-RU" sz="800" dirty="0">
              <a:solidFill>
                <a:srgbClr val="000000"/>
              </a:solidFill>
              <a:latin typeface="Neo Sans Pro" panose="020B0504030504040204" pitchFamily="34" charset="-52"/>
              <a:cs typeface="Avenir Next Demi Bold"/>
            </a:endParaRPr>
          </a:p>
        </p:txBody>
      </p:sp>
      <p:sp>
        <p:nvSpPr>
          <p:cNvPr id="29" name="TextBox 28"/>
          <p:cNvSpPr txBox="1"/>
          <p:nvPr/>
        </p:nvSpPr>
        <p:spPr>
          <a:xfrm rot="5400000">
            <a:off x="10153584" y="1160295"/>
            <a:ext cx="369332" cy="181132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rgbClr val="000000"/>
                </a:solidFill>
                <a:latin typeface="Neo Sans Pro" panose="020B0504030504040204" pitchFamily="34" charset="-52"/>
                <a:cs typeface="Avenir Next Demi Bold"/>
              </a:rPr>
              <a:t>УТРЕННИЙ ПАРАД</a:t>
            </a:r>
            <a:endParaRPr lang="ru-RU" sz="1200" dirty="0">
              <a:solidFill>
                <a:srgbClr val="000000"/>
              </a:solidFill>
              <a:latin typeface="Neo Sans Pro" panose="020B0504030504040204" pitchFamily="34" charset="-52"/>
              <a:cs typeface="Avenir Next Demi Bold"/>
            </a:endParaRPr>
          </a:p>
        </p:txBody>
      </p:sp>
      <p:sp>
        <p:nvSpPr>
          <p:cNvPr id="31" name="TextBox 30"/>
          <p:cNvSpPr txBox="1"/>
          <p:nvPr/>
        </p:nvSpPr>
        <p:spPr>
          <a:xfrm rot="5400000">
            <a:off x="10185764" y="5332548"/>
            <a:ext cx="369332" cy="177388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vert="vert270" wrap="square" rtlCol="0">
            <a:spAutoFit/>
          </a:bodyPr>
          <a:lstStyle/>
          <a:p>
            <a:pPr algn="ctr"/>
            <a:r>
              <a:rPr lang="ru-RU" sz="1200" dirty="0" smtClean="0">
                <a:solidFill>
                  <a:srgbClr val="000000"/>
                </a:solidFill>
                <a:latin typeface="Neo Sans Pro" panose="020B0504030504040204" pitchFamily="34" charset="-52"/>
                <a:cs typeface="Avenir Next Demi Bold"/>
              </a:rPr>
              <a:t>ВЕЧЕРННИЙ ПАРАД</a:t>
            </a:r>
            <a:endParaRPr lang="ru-RU" sz="1200" dirty="0">
              <a:solidFill>
                <a:srgbClr val="000000"/>
              </a:solidFill>
              <a:latin typeface="Neo Sans Pro" panose="020B0504030504040204" pitchFamily="34" charset="-52"/>
              <a:cs typeface="Avenir Next Demi Bold"/>
            </a:endParaRPr>
          </a:p>
        </p:txBody>
      </p:sp>
    </p:spTree>
    <p:extLst>
      <p:ext uri="{BB962C8B-B14F-4D97-AF65-F5344CB8AC3E}">
        <p14:creationId xmlns:p14="http://schemas.microsoft.com/office/powerpoint/2010/main" val="2360985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C:\Users\funky_hero\Desktop\new_presa\parts\q-29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99"/>
          <a:stretch/>
        </p:blipFill>
        <p:spPr bwMode="auto">
          <a:xfrm>
            <a:off x="-149020" y="12699"/>
            <a:ext cx="7661164" cy="1343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502535" y="336682"/>
            <a:ext cx="58284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bg1"/>
                </a:solidFill>
                <a:latin typeface="Neo Sans Pro Light" pitchFamily="34" charset="-52"/>
              </a:rPr>
              <a:t>График событийных мероприятий  </a:t>
            </a:r>
            <a:r>
              <a:rPr lang="ru-RU" sz="1600" dirty="0" err="1" smtClean="0">
                <a:solidFill>
                  <a:schemeClr val="bg1"/>
                </a:solidFill>
                <a:latin typeface="Neo Sans Pro Light" pitchFamily="34" charset="-52"/>
              </a:rPr>
              <a:t>г.Астана</a:t>
            </a:r>
            <a:endParaRPr lang="ru-RU" sz="1600" dirty="0" smtClean="0">
              <a:solidFill>
                <a:schemeClr val="bg1"/>
              </a:solidFill>
              <a:latin typeface="Neo Sans Pro Light" pitchFamily="34" charset="-52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1186656" y="1383381"/>
          <a:ext cx="9961563" cy="5270748"/>
        </p:xfrm>
        <a:graphic>
          <a:graphicData uri="http://schemas.openxmlformats.org/drawingml/2006/table">
            <a:tbl>
              <a:tblPr firstRow="1" bandRow="1">
                <a:tableStyleId>{46F890A9-2807-4EBB-B81D-B2AA78EC7F39}</a:tableStyleId>
              </a:tblPr>
              <a:tblGrid>
                <a:gridCol w="631858"/>
                <a:gridCol w="4915211"/>
                <a:gridCol w="1797716"/>
                <a:gridCol w="2616778"/>
              </a:tblGrid>
              <a:tr h="298653"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 smtClean="0">
                          <a:solidFill>
                            <a:schemeClr val="bg1"/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№</a:t>
                      </a:r>
                      <a:endParaRPr lang="ru-RU" sz="1400" kern="1200" dirty="0">
                        <a:solidFill>
                          <a:schemeClr val="bg1"/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kern="1200" dirty="0" smtClean="0">
                          <a:solidFill>
                            <a:schemeClr val="bg1"/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Наименование мероприятий </a:t>
                      </a:r>
                      <a:endParaRPr lang="ru-RU" sz="1400" kern="1200" dirty="0">
                        <a:solidFill>
                          <a:schemeClr val="bg1"/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kern="1200" dirty="0" smtClean="0">
                          <a:solidFill>
                            <a:schemeClr val="bg1"/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Срок</a:t>
                      </a:r>
                      <a:endParaRPr lang="ru-RU" sz="1400" kern="1200" dirty="0">
                        <a:solidFill>
                          <a:schemeClr val="bg1"/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kern="1200" dirty="0" smtClean="0">
                          <a:solidFill>
                            <a:schemeClr val="bg1"/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Место</a:t>
                      </a:r>
                      <a:endParaRPr lang="ru-RU" sz="1400" kern="1200" dirty="0">
                        <a:solidFill>
                          <a:schemeClr val="bg1"/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28632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1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kk-KZ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Вечера классической музыки «Река звука»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апрель-май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ЦКЗ «Казахстан»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4174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2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kk-KZ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Кубок Президента по теннису (Челленджер)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22.07.2017-28.07.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СК «</a:t>
                      </a:r>
                      <a:r>
                        <a:rPr lang="ru-RU" sz="1400" b="0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Даулет</a:t>
                      </a:r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»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44624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3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Проведение Республиканского </a:t>
                      </a:r>
                      <a:r>
                        <a:rPr lang="ru-RU" sz="1400" b="0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айтыса</a:t>
                      </a:r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 акынов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август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Конгресс-холл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4407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4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kk-KZ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Чемпионат мира по Көкпар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август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Ипподром «</a:t>
                      </a:r>
                      <a:r>
                        <a:rPr lang="ru-RU" sz="1400" b="0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Қазанат</a:t>
                      </a:r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»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5098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5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Фестиваль КВН «</a:t>
                      </a:r>
                      <a:r>
                        <a:rPr lang="ru-RU" sz="1400" b="0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Жайдарман</a:t>
                      </a:r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» 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сентябрь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ЦКЗ «Казахстан»</a:t>
                      </a:r>
                    </a:p>
                  </a:txBody>
                  <a:tcPr/>
                </a:tc>
              </a:tr>
              <a:tr h="55128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6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kk-KZ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Международный фестиваль «Музыка Великой степи» 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сентябрь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Концертный зал имени </a:t>
                      </a:r>
                      <a:r>
                        <a:rPr lang="ru-RU" sz="1400" b="0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Ж.Жабаева</a:t>
                      </a:r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0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КазНУИ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44624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7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kk-KZ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Международный турнир «Бүркітші»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сентябрь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«</a:t>
                      </a:r>
                      <a:r>
                        <a:rPr lang="ru-RU" sz="1400" b="0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Балқарағай</a:t>
                      </a:r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» </a:t>
                      </a:r>
                    </a:p>
                  </a:txBody>
                  <a:tcPr/>
                </a:tc>
              </a:tr>
              <a:tr h="44968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8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Чемпионат мира по  </a:t>
                      </a:r>
                      <a:r>
                        <a:rPr lang="ru-RU" sz="1400" b="0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Қазақ</a:t>
                      </a:r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0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күресі</a:t>
                      </a:r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 «</a:t>
                      </a:r>
                      <a:r>
                        <a:rPr lang="ru-RU" sz="1400" b="0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Әлем</a:t>
                      </a:r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0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Барысы</a:t>
                      </a:r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» 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сентябрь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СК «</a:t>
                      </a:r>
                      <a:r>
                        <a:rPr lang="ru-RU" sz="1400" b="0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Даулет</a:t>
                      </a:r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»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6022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9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kk-KZ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Массовый велопробег 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10.06.2017-10.09.2017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прорабатывается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6022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10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kk-KZ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Кубок мира по художественной гимнастике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30.06.2017-02.07.2017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СК «</a:t>
                      </a:r>
                      <a:r>
                        <a:rPr lang="ru-RU" sz="1400" b="0" kern="120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Даулет</a:t>
                      </a:r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»</a:t>
                      </a:r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50406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Neo Sans Pro Light" pitchFamily="34" charset="-52"/>
                          <a:ea typeface="+mn-ea"/>
                          <a:cs typeface="+mn-cs"/>
                        </a:rPr>
                        <a:t>Специальные мероприятия для школьников: конкурсы, олимпиады, форумы, конференции, фестивали и акции в г. Астана и на пяти площадках ЭКСПО-2017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ru-RU" sz="16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kern="120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Neo Sans Pro Light" pitchFamily="34" charset="-52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115724" y="1017685"/>
            <a:ext cx="56147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 Light" pitchFamily="34" charset="-52"/>
              </a:rPr>
              <a:t>Более 3000 </a:t>
            </a:r>
            <a:r>
              <a:rPr lang="ru-RU" sz="1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Neo Sans Pro Light" pitchFamily="34" charset="-52"/>
              </a:rPr>
              <a:t>событийных мероприятий в 2017 году,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 Light" pitchFamily="34" charset="-52"/>
              </a:rPr>
              <a:t>в </a:t>
            </a:r>
            <a:r>
              <a:rPr lang="ru-RU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Neo Sans Pro Light" pitchFamily="34" charset="-52"/>
              </a:rPr>
              <a:t>т.ч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Neo Sans Pro Light" pitchFamily="34" charset="-52"/>
              </a:rPr>
              <a:t>.:</a:t>
            </a:r>
          </a:p>
        </p:txBody>
      </p:sp>
      <p:pic>
        <p:nvPicPr>
          <p:cNvPr id="9" name="Изображение 10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130181" y="-184647"/>
            <a:ext cx="1206500" cy="1511300"/>
          </a:xfrm>
          <a:prstGeom prst="rect">
            <a:avLst/>
          </a:prstGeom>
        </p:spPr>
      </p:pic>
      <p:pic>
        <p:nvPicPr>
          <p:cNvPr id="10" name="Picture 2" descr="BI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6914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5" name="Picture 5" descr="C:\Users\amarat\Desktop\сыфысыыыыыы.png"/>
          <p:cNvPicPr>
            <a:picLocks noChangeAspect="1" noChangeArrowheads="1"/>
          </p:cNvPicPr>
          <p:nvPr/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0" y="277687"/>
            <a:ext cx="4426527" cy="5257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6" name="object 2"/>
          <p:cNvSpPr txBox="1">
            <a:spLocks/>
          </p:cNvSpPr>
          <p:nvPr/>
        </p:nvSpPr>
        <p:spPr>
          <a:xfrm>
            <a:off x="141699" y="211692"/>
            <a:ext cx="3833548" cy="615553"/>
          </a:xfrm>
          <a:prstGeom prst="rect">
            <a:avLst/>
          </a:prstGeom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ts val="2358"/>
              </a:lnSpc>
            </a:pPr>
            <a:r>
              <a:rPr lang="ru-RU" sz="1800" spc="-30" dirty="0" smtClean="0">
                <a:solidFill>
                  <a:srgbClr val="FFFFFF"/>
                </a:solidFill>
                <a:latin typeface="Trebuchet MS"/>
                <a:cs typeface="Trebuchet MS"/>
              </a:rPr>
              <a:t>Туры</a:t>
            </a:r>
          </a:p>
          <a:p>
            <a:pPr>
              <a:lnSpc>
                <a:spcPts val="2358"/>
              </a:lnSpc>
            </a:pPr>
            <a:r>
              <a:rPr lang="ru-RU" sz="1600" spc="-30" dirty="0" smtClean="0">
                <a:solidFill>
                  <a:srgbClr val="FFFFFF"/>
                </a:solidFill>
                <a:latin typeface="Trebuchet MS"/>
                <a:cs typeface="Trebuchet MS"/>
              </a:rPr>
              <a:t>с посещением </a:t>
            </a:r>
            <a:r>
              <a:rPr lang="ru-RU" sz="1600" spc="-30" dirty="0" err="1" smtClean="0">
                <a:solidFill>
                  <a:srgbClr val="FFFFFF"/>
                </a:solidFill>
                <a:latin typeface="Trebuchet MS"/>
                <a:cs typeface="Trebuchet MS"/>
              </a:rPr>
              <a:t>г.Астана</a:t>
            </a:r>
            <a:r>
              <a:rPr lang="ru-RU" sz="1600" spc="-30" dirty="0" smtClean="0">
                <a:solidFill>
                  <a:srgbClr val="FFFFFF"/>
                </a:solidFill>
                <a:latin typeface="Trebuchet MS"/>
                <a:cs typeface="Trebuchet MS"/>
              </a:rPr>
              <a:t> и ЭКСПО-2017</a:t>
            </a:r>
            <a:endParaRPr lang="ru-RU" sz="1600" dirty="0">
              <a:latin typeface="Trebuchet MS"/>
              <a:cs typeface="Trebuchet MS"/>
            </a:endParaRPr>
          </a:p>
        </p:txBody>
      </p:sp>
      <p:sp>
        <p:nvSpPr>
          <p:cNvPr id="522" name="Прямоугольник 521"/>
          <p:cNvSpPr/>
          <p:nvPr/>
        </p:nvSpPr>
        <p:spPr>
          <a:xfrm>
            <a:off x="7111132" y="6427941"/>
            <a:ext cx="190920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spc="-30" dirty="0" smtClean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Боровое, </a:t>
            </a:r>
            <a:r>
              <a:rPr lang="ru-RU" sz="1600" spc="-30" dirty="0" err="1" smtClean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Капчагай</a:t>
            </a:r>
            <a:endParaRPr lang="en-US" sz="1600" spc="-30" dirty="0">
              <a:solidFill>
                <a:schemeClr val="bg2">
                  <a:lumMod val="50000"/>
                </a:schemeClr>
              </a:solidFill>
              <a:latin typeface="Trebuchet MS"/>
              <a:ea typeface="MS PGothic" panose="020B0600070205080204" pitchFamily="34" charset="-128"/>
              <a:cs typeface="Trebuchet MS"/>
            </a:endParaRPr>
          </a:p>
        </p:txBody>
      </p:sp>
      <p:pic>
        <p:nvPicPr>
          <p:cNvPr id="539" name="Picture 4" descr="http://www.kantengri.kz/rus/images/clip_image002_025.jpg"/>
          <p:cNvPicPr>
            <a:picLocks noChangeAspect="1" noChangeArrowheads="1"/>
          </p:cNvPicPr>
          <p:nvPr/>
        </p:nvPicPr>
        <p:blipFill rotWithShape="1"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067"/>
          <a:stretch/>
        </p:blipFill>
        <p:spPr bwMode="auto">
          <a:xfrm>
            <a:off x="3625583" y="5449318"/>
            <a:ext cx="1519854" cy="86345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chemeClr val="accent3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0" name="Picture 2" descr="http://ic.pics.livejournal.com/el_magico/17218424/1790776/1790776_original.jp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7469" y="2652863"/>
            <a:ext cx="1515427" cy="81887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chemeClr val="accent3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2" name="Picture 2" descr="http://ortcom.kz/media/upload/112/2014/03/11/34ad3b7b41ba4735aa6278a5505a51f4.jp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4687" y="5449381"/>
            <a:ext cx="1520602" cy="85105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chemeClr val="accent3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3" name="Picture 8" descr="Фотография 'Босжира'"/>
          <p:cNvPicPr>
            <a:picLocks noChangeAspect="1" noChangeArrowheads="1"/>
          </p:cNvPicPr>
          <p:nvPr/>
        </p:nvPicPr>
        <p:blipFill rotWithShape="1"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654"/>
          <a:stretch/>
        </p:blipFill>
        <p:spPr bwMode="auto">
          <a:xfrm>
            <a:off x="10504108" y="4856613"/>
            <a:ext cx="1517859" cy="80835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chemeClr val="accent3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4" name="Прямоугольник 543"/>
          <p:cNvSpPr/>
          <p:nvPr/>
        </p:nvSpPr>
        <p:spPr>
          <a:xfrm>
            <a:off x="8788253" y="2853165"/>
            <a:ext cx="166887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spc="-30" dirty="0" smtClean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Ходжа </a:t>
            </a:r>
          </a:p>
          <a:p>
            <a:pPr algn="r"/>
            <a:r>
              <a:rPr lang="ru-RU" sz="1600" spc="-30" dirty="0" err="1" smtClean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Ахмет</a:t>
            </a:r>
            <a:r>
              <a:rPr lang="ru-RU" sz="1600" spc="-30" dirty="0" smtClean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 </a:t>
            </a:r>
            <a:r>
              <a:rPr lang="ru-RU" sz="1600" spc="-30" dirty="0" err="1" smtClean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Яссауи</a:t>
            </a:r>
            <a:endParaRPr lang="en-US" sz="1600" spc="-30" dirty="0">
              <a:solidFill>
                <a:schemeClr val="bg2">
                  <a:lumMod val="50000"/>
                </a:schemeClr>
              </a:solidFill>
              <a:latin typeface="Trebuchet MS"/>
              <a:ea typeface="MS PGothic" panose="020B0600070205080204" pitchFamily="34" charset="-128"/>
              <a:cs typeface="Trebuchet MS"/>
            </a:endParaRPr>
          </a:p>
        </p:txBody>
      </p:sp>
      <p:pic>
        <p:nvPicPr>
          <p:cNvPr id="545" name="Рисунок 544" descr="http://massaget.kz/userdata/uploads/u42894/P7278895.JPG"/>
          <p:cNvPicPr/>
          <p:nvPr/>
        </p:nvPicPr>
        <p:blipFill rotWithShape="1"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9" r="-1"/>
          <a:stretch/>
        </p:blipFill>
        <p:spPr bwMode="auto">
          <a:xfrm>
            <a:off x="10503784" y="3734638"/>
            <a:ext cx="1515427" cy="81887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chemeClr val="accent3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46" name="Прямоугольник 545"/>
          <p:cNvSpPr/>
          <p:nvPr/>
        </p:nvSpPr>
        <p:spPr>
          <a:xfrm>
            <a:off x="9070343" y="3916994"/>
            <a:ext cx="13302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spc="-30" dirty="0" smtClean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Древний </a:t>
            </a:r>
            <a:r>
              <a:rPr lang="ru-RU" sz="1600" spc="-30" dirty="0" err="1" smtClean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Тараз</a:t>
            </a:r>
            <a:endParaRPr lang="en-US" sz="1600" spc="-30" dirty="0">
              <a:solidFill>
                <a:schemeClr val="bg2">
                  <a:lumMod val="50000"/>
                </a:schemeClr>
              </a:solidFill>
              <a:latin typeface="Trebuchet MS"/>
              <a:ea typeface="MS PGothic" panose="020B0600070205080204" pitchFamily="34" charset="-128"/>
              <a:cs typeface="Trebuchet MS"/>
            </a:endParaRPr>
          </a:p>
        </p:txBody>
      </p:sp>
      <p:sp>
        <p:nvSpPr>
          <p:cNvPr id="547" name="Прямоугольник 546"/>
          <p:cNvSpPr/>
          <p:nvPr/>
        </p:nvSpPr>
        <p:spPr>
          <a:xfrm>
            <a:off x="9215033" y="4992626"/>
            <a:ext cx="128946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spc="-30" dirty="0" smtClean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Некрополи </a:t>
            </a:r>
            <a:r>
              <a:rPr lang="ru-RU" sz="1600" spc="-30" dirty="0" err="1" smtClean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Мангистау</a:t>
            </a:r>
            <a:endParaRPr lang="en-US" sz="1600" spc="-30" dirty="0">
              <a:solidFill>
                <a:schemeClr val="bg2">
                  <a:lumMod val="50000"/>
                </a:schemeClr>
              </a:solidFill>
              <a:latin typeface="Trebuchet MS"/>
              <a:ea typeface="MS PGothic" panose="020B0600070205080204" pitchFamily="34" charset="-128"/>
              <a:cs typeface="Trebuchet MS"/>
            </a:endParaRPr>
          </a:p>
        </p:txBody>
      </p:sp>
      <p:sp>
        <p:nvSpPr>
          <p:cNvPr id="548" name="Прямоугольник 547"/>
          <p:cNvSpPr/>
          <p:nvPr/>
        </p:nvSpPr>
        <p:spPr>
          <a:xfrm>
            <a:off x="3820508" y="6460333"/>
            <a:ext cx="124704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spc="-30" dirty="0" smtClean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Хан Тенгри</a:t>
            </a:r>
            <a:endParaRPr lang="en-US" sz="1600" spc="-30" dirty="0">
              <a:solidFill>
                <a:schemeClr val="bg2">
                  <a:lumMod val="50000"/>
                </a:schemeClr>
              </a:solidFill>
              <a:latin typeface="Trebuchet MS"/>
              <a:ea typeface="MS PGothic" panose="020B0600070205080204" pitchFamily="34" charset="-128"/>
              <a:cs typeface="Trebuchet MS"/>
            </a:endParaRPr>
          </a:p>
        </p:txBody>
      </p:sp>
      <p:sp>
        <p:nvSpPr>
          <p:cNvPr id="549" name="Прямоугольник 548"/>
          <p:cNvSpPr/>
          <p:nvPr/>
        </p:nvSpPr>
        <p:spPr>
          <a:xfrm>
            <a:off x="5339821" y="6455420"/>
            <a:ext cx="183341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spc="-30" dirty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Байконур</a:t>
            </a:r>
            <a:endParaRPr lang="en-US" sz="1600" spc="-30" dirty="0">
              <a:solidFill>
                <a:schemeClr val="bg2">
                  <a:lumMod val="50000"/>
                </a:schemeClr>
              </a:solidFill>
              <a:latin typeface="Trebuchet MS"/>
              <a:ea typeface="MS PGothic" panose="020B0600070205080204" pitchFamily="34" charset="-128"/>
              <a:cs typeface="Trebuchet MS"/>
            </a:endParaRPr>
          </a:p>
        </p:txBody>
      </p:sp>
      <p:pic>
        <p:nvPicPr>
          <p:cNvPr id="550" name="Picture 2" descr="http://mediad.publicbroadcasting.net/p/wnpr/files/201509/casino-package-02.jp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213" y="5424262"/>
            <a:ext cx="1530370" cy="83421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chemeClr val="accent3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1" name="Picture 4" descr="http://im1.asset.yvimg.kz/userimages/madika/T7m0jIqCxW47g1ZFuhgFvMKj279j1I.jpg"/>
          <p:cNvPicPr>
            <a:picLocks noChangeAspect="1" noChangeArrowheads="1"/>
          </p:cNvPicPr>
          <p:nvPr/>
        </p:nvPicPr>
        <p:blipFill rotWithShape="1"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88"/>
          <a:stretch/>
        </p:blipFill>
        <p:spPr bwMode="auto">
          <a:xfrm>
            <a:off x="195344" y="4841071"/>
            <a:ext cx="1489346" cy="80537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chemeClr val="accent3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2" name="Прямоугольник 551"/>
          <p:cNvSpPr/>
          <p:nvPr/>
        </p:nvSpPr>
        <p:spPr>
          <a:xfrm>
            <a:off x="1850651" y="2600019"/>
            <a:ext cx="124980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spc="-30" dirty="0" smtClean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Иле-Алатауский ГНПП</a:t>
            </a:r>
            <a:endParaRPr lang="en-US" sz="1600" spc="-30" dirty="0">
              <a:solidFill>
                <a:schemeClr val="bg2">
                  <a:lumMod val="50000"/>
                </a:schemeClr>
              </a:solidFill>
              <a:latin typeface="Trebuchet MS"/>
              <a:ea typeface="MS PGothic" panose="020B0600070205080204" pitchFamily="34" charset="-128"/>
              <a:cs typeface="Trebuchet MS"/>
            </a:endParaRPr>
          </a:p>
        </p:txBody>
      </p:sp>
      <p:sp>
        <p:nvSpPr>
          <p:cNvPr id="553" name="Прямоугольник 552"/>
          <p:cNvSpPr/>
          <p:nvPr/>
        </p:nvSpPr>
        <p:spPr>
          <a:xfrm>
            <a:off x="1787542" y="4965945"/>
            <a:ext cx="11630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spc="-30" dirty="0" smtClean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Легенды </a:t>
            </a:r>
            <a:r>
              <a:rPr lang="ru-RU" sz="1600" spc="-30" dirty="0" err="1" smtClean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Баянаула</a:t>
            </a:r>
            <a:endParaRPr lang="en-US" sz="1600" spc="-30" dirty="0">
              <a:solidFill>
                <a:schemeClr val="bg2">
                  <a:lumMod val="50000"/>
                </a:schemeClr>
              </a:solidFill>
              <a:latin typeface="Trebuchet MS"/>
              <a:ea typeface="MS PGothic" panose="020B0600070205080204" pitchFamily="34" charset="-128"/>
              <a:cs typeface="Trebuchet MS"/>
            </a:endParaRPr>
          </a:p>
        </p:txBody>
      </p:sp>
      <p:pic>
        <p:nvPicPr>
          <p:cNvPr id="554" name="Рисунок 553" descr="C:\Users\User\Desktop\фото на новый тур маршрут\IMG_2318.jpg"/>
          <p:cNvPicPr/>
          <p:nvPr/>
        </p:nvPicPr>
        <p:blipFill rotWithShape="1"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59" b="9356"/>
          <a:stretch/>
        </p:blipFill>
        <p:spPr bwMode="auto">
          <a:xfrm>
            <a:off x="200466" y="5854809"/>
            <a:ext cx="1497878" cy="87480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chemeClr val="accent3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555" name="Прямоугольник 554"/>
          <p:cNvSpPr/>
          <p:nvPr/>
        </p:nvSpPr>
        <p:spPr>
          <a:xfrm>
            <a:off x="1832969" y="6021214"/>
            <a:ext cx="117295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spc="-30" dirty="0" err="1" smtClean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Катон-карагай</a:t>
            </a:r>
            <a:endParaRPr lang="ru-RU" sz="1600" spc="-30" dirty="0">
              <a:solidFill>
                <a:schemeClr val="bg2">
                  <a:lumMod val="50000"/>
                </a:schemeClr>
              </a:solidFill>
              <a:latin typeface="Trebuchet MS"/>
              <a:ea typeface="MS PGothic" panose="020B0600070205080204" pitchFamily="34" charset="-128"/>
              <a:cs typeface="Trebuchet MS"/>
            </a:endParaRPr>
          </a:p>
        </p:txBody>
      </p:sp>
      <p:pic>
        <p:nvPicPr>
          <p:cNvPr id="298" name="Picture 2" descr="L:\Нурлан\computer 2\Map\All\Коридоры\Основа кор.tif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9608" y="1242506"/>
            <a:ext cx="6202907" cy="384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8" name="Полилиния 397"/>
          <p:cNvSpPr/>
          <p:nvPr/>
        </p:nvSpPr>
        <p:spPr bwMode="auto">
          <a:xfrm>
            <a:off x="7883216" y="4154248"/>
            <a:ext cx="20208" cy="158971"/>
          </a:xfrm>
          <a:custGeom>
            <a:avLst/>
            <a:gdLst>
              <a:gd name="connsiteX0" fmla="*/ 0 w 28575"/>
              <a:gd name="connsiteY0" fmla="*/ 0 h 254000"/>
              <a:gd name="connsiteX1" fmla="*/ 25400 w 28575"/>
              <a:gd name="connsiteY1" fmla="*/ 107950 h 254000"/>
              <a:gd name="connsiteX2" fmla="*/ 19050 w 28575"/>
              <a:gd name="connsiteY2" fmla="*/ 254000 h 25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575" h="254000">
                <a:moveTo>
                  <a:pt x="0" y="0"/>
                </a:moveTo>
                <a:cubicBezTo>
                  <a:pt x="11112" y="32808"/>
                  <a:pt x="22225" y="65617"/>
                  <a:pt x="25400" y="107950"/>
                </a:cubicBezTo>
                <a:cubicBezTo>
                  <a:pt x="28575" y="150283"/>
                  <a:pt x="23812" y="202141"/>
                  <a:pt x="19050" y="254000"/>
                </a:cubicBezTo>
              </a:path>
            </a:pathLst>
          </a:custGeom>
          <a:ln w="762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399" name="Полилиния 398"/>
          <p:cNvSpPr/>
          <p:nvPr/>
        </p:nvSpPr>
        <p:spPr bwMode="auto">
          <a:xfrm>
            <a:off x="8074278" y="2475908"/>
            <a:ext cx="62463" cy="48422"/>
          </a:xfrm>
          <a:custGeom>
            <a:avLst/>
            <a:gdLst>
              <a:gd name="connsiteX0" fmla="*/ 0 w 88900"/>
              <a:gd name="connsiteY0" fmla="*/ 0 h 76200"/>
              <a:gd name="connsiteX1" fmla="*/ 88900 w 88900"/>
              <a:gd name="connsiteY1" fmla="*/ 76200 h 76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8900" h="76200">
                <a:moveTo>
                  <a:pt x="0" y="0"/>
                </a:moveTo>
                <a:lnTo>
                  <a:pt x="88900" y="76200"/>
                </a:lnTo>
              </a:path>
            </a:pathLst>
          </a:custGeom>
          <a:ln w="762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400" name="Прямоугольник 399"/>
          <p:cNvSpPr/>
          <p:nvPr/>
        </p:nvSpPr>
        <p:spPr bwMode="auto">
          <a:xfrm>
            <a:off x="8157868" y="4476759"/>
            <a:ext cx="1123408" cy="27317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000">
              <a:solidFill>
                <a:prstClr val="black"/>
              </a:solidFill>
            </a:endParaRPr>
          </a:p>
        </p:txBody>
      </p:sp>
      <p:cxnSp>
        <p:nvCxnSpPr>
          <p:cNvPr id="401" name="Прямая соединительная линия 400"/>
          <p:cNvCxnSpPr/>
          <p:nvPr/>
        </p:nvCxnSpPr>
        <p:spPr bwMode="auto">
          <a:xfrm flipH="1">
            <a:off x="7948434" y="4240129"/>
            <a:ext cx="725669" cy="19186"/>
          </a:xfrm>
          <a:prstGeom prst="lin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2" name="Овал 401"/>
          <p:cNvSpPr/>
          <p:nvPr/>
        </p:nvSpPr>
        <p:spPr bwMode="auto">
          <a:xfrm>
            <a:off x="6444739" y="1592427"/>
            <a:ext cx="83590" cy="75831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403" name="Полилиния 402"/>
          <p:cNvSpPr/>
          <p:nvPr/>
        </p:nvSpPr>
        <p:spPr bwMode="auto">
          <a:xfrm>
            <a:off x="3819472" y="2305971"/>
            <a:ext cx="123088" cy="867949"/>
          </a:xfrm>
          <a:custGeom>
            <a:avLst/>
            <a:gdLst>
              <a:gd name="connsiteX0" fmla="*/ 209909 w 224287"/>
              <a:gd name="connsiteY0" fmla="*/ 0 h 1483743"/>
              <a:gd name="connsiteX1" fmla="*/ 115019 w 224287"/>
              <a:gd name="connsiteY1" fmla="*/ 267419 h 1483743"/>
              <a:gd name="connsiteX2" fmla="*/ 132272 w 224287"/>
              <a:gd name="connsiteY2" fmla="*/ 439947 h 1483743"/>
              <a:gd name="connsiteX3" fmla="*/ 175404 w 224287"/>
              <a:gd name="connsiteY3" fmla="*/ 655607 h 1483743"/>
              <a:gd name="connsiteX4" fmla="*/ 218536 w 224287"/>
              <a:gd name="connsiteY4" fmla="*/ 785003 h 1483743"/>
              <a:gd name="connsiteX5" fmla="*/ 140898 w 224287"/>
              <a:gd name="connsiteY5" fmla="*/ 888520 h 1483743"/>
              <a:gd name="connsiteX6" fmla="*/ 123645 w 224287"/>
              <a:gd name="connsiteY6" fmla="*/ 983411 h 1483743"/>
              <a:gd name="connsiteX7" fmla="*/ 37381 w 224287"/>
              <a:gd name="connsiteY7" fmla="*/ 1086928 h 1483743"/>
              <a:gd name="connsiteX8" fmla="*/ 28755 w 224287"/>
              <a:gd name="connsiteY8" fmla="*/ 1242203 h 1483743"/>
              <a:gd name="connsiteX9" fmla="*/ 2875 w 224287"/>
              <a:gd name="connsiteY9" fmla="*/ 1276709 h 1483743"/>
              <a:gd name="connsiteX10" fmla="*/ 11502 w 224287"/>
              <a:gd name="connsiteY10" fmla="*/ 1397479 h 1483743"/>
              <a:gd name="connsiteX11" fmla="*/ 54634 w 224287"/>
              <a:gd name="connsiteY11" fmla="*/ 1483743 h 1483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24287" h="1483743">
                <a:moveTo>
                  <a:pt x="209909" y="0"/>
                </a:moveTo>
                <a:cubicBezTo>
                  <a:pt x="168933" y="97047"/>
                  <a:pt x="127958" y="194095"/>
                  <a:pt x="115019" y="267419"/>
                </a:cubicBezTo>
                <a:cubicBezTo>
                  <a:pt x="102080" y="340743"/>
                  <a:pt x="122208" y="375249"/>
                  <a:pt x="132272" y="439947"/>
                </a:cubicBezTo>
                <a:cubicBezTo>
                  <a:pt x="142336" y="504645"/>
                  <a:pt x="161027" y="598098"/>
                  <a:pt x="175404" y="655607"/>
                </a:cubicBezTo>
                <a:cubicBezTo>
                  <a:pt x="189781" y="713116"/>
                  <a:pt x="224287" y="746184"/>
                  <a:pt x="218536" y="785003"/>
                </a:cubicBezTo>
                <a:cubicBezTo>
                  <a:pt x="212785" y="823822"/>
                  <a:pt x="156713" y="855452"/>
                  <a:pt x="140898" y="888520"/>
                </a:cubicBezTo>
                <a:cubicBezTo>
                  <a:pt x="125083" y="921588"/>
                  <a:pt x="140898" y="950343"/>
                  <a:pt x="123645" y="983411"/>
                </a:cubicBezTo>
                <a:cubicBezTo>
                  <a:pt x="106392" y="1016479"/>
                  <a:pt x="53196" y="1043796"/>
                  <a:pt x="37381" y="1086928"/>
                </a:cubicBezTo>
                <a:cubicBezTo>
                  <a:pt x="21566" y="1130060"/>
                  <a:pt x="34506" y="1210573"/>
                  <a:pt x="28755" y="1242203"/>
                </a:cubicBezTo>
                <a:cubicBezTo>
                  <a:pt x="23004" y="1273833"/>
                  <a:pt x="5751" y="1250830"/>
                  <a:pt x="2875" y="1276709"/>
                </a:cubicBezTo>
                <a:cubicBezTo>
                  <a:pt x="0" y="1302588"/>
                  <a:pt x="2875" y="1362973"/>
                  <a:pt x="11502" y="1397479"/>
                </a:cubicBezTo>
                <a:cubicBezTo>
                  <a:pt x="20129" y="1431985"/>
                  <a:pt x="37381" y="1457864"/>
                  <a:pt x="54634" y="1483743"/>
                </a:cubicBezTo>
              </a:path>
            </a:pathLst>
          </a:custGeom>
          <a:ln w="762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04" name="Полилиния 403"/>
          <p:cNvSpPr/>
          <p:nvPr/>
        </p:nvSpPr>
        <p:spPr bwMode="auto">
          <a:xfrm>
            <a:off x="3821309" y="3199503"/>
            <a:ext cx="395902" cy="550919"/>
          </a:xfrm>
          <a:custGeom>
            <a:avLst/>
            <a:gdLst>
              <a:gd name="connsiteX0" fmla="*/ 0 w 635000"/>
              <a:gd name="connsiteY0" fmla="*/ 74083 h 924983"/>
              <a:gd name="connsiteX1" fmla="*/ 107950 w 635000"/>
              <a:gd name="connsiteY1" fmla="*/ 16933 h 924983"/>
              <a:gd name="connsiteX2" fmla="*/ 241300 w 635000"/>
              <a:gd name="connsiteY2" fmla="*/ 4233 h 924983"/>
              <a:gd name="connsiteX3" fmla="*/ 393700 w 635000"/>
              <a:gd name="connsiteY3" fmla="*/ 42333 h 924983"/>
              <a:gd name="connsiteX4" fmla="*/ 482600 w 635000"/>
              <a:gd name="connsiteY4" fmla="*/ 251883 h 924983"/>
              <a:gd name="connsiteX5" fmla="*/ 476250 w 635000"/>
              <a:gd name="connsiteY5" fmla="*/ 391583 h 924983"/>
              <a:gd name="connsiteX6" fmla="*/ 527050 w 635000"/>
              <a:gd name="connsiteY6" fmla="*/ 569383 h 924983"/>
              <a:gd name="connsiteX7" fmla="*/ 514350 w 635000"/>
              <a:gd name="connsiteY7" fmla="*/ 658283 h 924983"/>
              <a:gd name="connsiteX8" fmla="*/ 635000 w 635000"/>
              <a:gd name="connsiteY8" fmla="*/ 924983 h 924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5000" h="924983">
                <a:moveTo>
                  <a:pt x="0" y="74083"/>
                </a:moveTo>
                <a:cubicBezTo>
                  <a:pt x="33866" y="51329"/>
                  <a:pt x="67733" y="28575"/>
                  <a:pt x="107950" y="16933"/>
                </a:cubicBezTo>
                <a:cubicBezTo>
                  <a:pt x="148167" y="5291"/>
                  <a:pt x="193675" y="0"/>
                  <a:pt x="241300" y="4233"/>
                </a:cubicBezTo>
                <a:cubicBezTo>
                  <a:pt x="288925" y="8466"/>
                  <a:pt x="353483" y="1058"/>
                  <a:pt x="393700" y="42333"/>
                </a:cubicBezTo>
                <a:cubicBezTo>
                  <a:pt x="433917" y="83608"/>
                  <a:pt x="468842" y="193675"/>
                  <a:pt x="482600" y="251883"/>
                </a:cubicBezTo>
                <a:cubicBezTo>
                  <a:pt x="496358" y="310091"/>
                  <a:pt x="468842" y="338666"/>
                  <a:pt x="476250" y="391583"/>
                </a:cubicBezTo>
                <a:cubicBezTo>
                  <a:pt x="483658" y="444500"/>
                  <a:pt x="520700" y="524933"/>
                  <a:pt x="527050" y="569383"/>
                </a:cubicBezTo>
                <a:cubicBezTo>
                  <a:pt x="533400" y="613833"/>
                  <a:pt x="496358" y="599016"/>
                  <a:pt x="514350" y="658283"/>
                </a:cubicBezTo>
                <a:cubicBezTo>
                  <a:pt x="532342" y="717550"/>
                  <a:pt x="583671" y="821266"/>
                  <a:pt x="635000" y="924983"/>
                </a:cubicBezTo>
              </a:path>
            </a:pathLst>
          </a:custGeom>
          <a:ln w="762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05" name="Полилиния 404"/>
          <p:cNvSpPr/>
          <p:nvPr/>
        </p:nvSpPr>
        <p:spPr bwMode="auto">
          <a:xfrm>
            <a:off x="3764358" y="2188114"/>
            <a:ext cx="132274" cy="46595"/>
          </a:xfrm>
          <a:custGeom>
            <a:avLst/>
            <a:gdLst>
              <a:gd name="connsiteX0" fmla="*/ 0 w 327803"/>
              <a:gd name="connsiteY0" fmla="*/ 0 h 113581"/>
              <a:gd name="connsiteX1" fmla="*/ 112143 w 327803"/>
              <a:gd name="connsiteY1" fmla="*/ 103517 h 113581"/>
              <a:gd name="connsiteX2" fmla="*/ 327803 w 327803"/>
              <a:gd name="connsiteY2" fmla="*/ 60385 h 113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7803" h="113581">
                <a:moveTo>
                  <a:pt x="0" y="0"/>
                </a:moveTo>
                <a:cubicBezTo>
                  <a:pt x="28754" y="46726"/>
                  <a:pt x="57509" y="93453"/>
                  <a:pt x="112143" y="103517"/>
                </a:cubicBezTo>
                <a:cubicBezTo>
                  <a:pt x="166777" y="113581"/>
                  <a:pt x="247290" y="86983"/>
                  <a:pt x="327803" y="60385"/>
                </a:cubicBezTo>
              </a:path>
            </a:pathLst>
          </a:custGeom>
          <a:ln w="762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06" name="Полилиния 405"/>
          <p:cNvSpPr/>
          <p:nvPr/>
        </p:nvSpPr>
        <p:spPr bwMode="auto">
          <a:xfrm>
            <a:off x="3642188" y="4053749"/>
            <a:ext cx="79915" cy="401084"/>
          </a:xfrm>
          <a:custGeom>
            <a:avLst/>
            <a:gdLst>
              <a:gd name="connsiteX0" fmla="*/ 0 w 167640"/>
              <a:gd name="connsiteY0" fmla="*/ 0 h 678180"/>
              <a:gd name="connsiteX1" fmla="*/ 91440 w 167640"/>
              <a:gd name="connsiteY1" fmla="*/ 106680 h 678180"/>
              <a:gd name="connsiteX2" fmla="*/ 167640 w 167640"/>
              <a:gd name="connsiteY2" fmla="*/ 121920 h 678180"/>
              <a:gd name="connsiteX3" fmla="*/ 91440 w 167640"/>
              <a:gd name="connsiteY3" fmla="*/ 289560 h 678180"/>
              <a:gd name="connsiteX4" fmla="*/ 129540 w 167640"/>
              <a:gd name="connsiteY4" fmla="*/ 373380 h 678180"/>
              <a:gd name="connsiteX5" fmla="*/ 45720 w 167640"/>
              <a:gd name="connsiteY5" fmla="*/ 487680 h 678180"/>
              <a:gd name="connsiteX6" fmla="*/ 7620 w 167640"/>
              <a:gd name="connsiteY6" fmla="*/ 678180 h 678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640" h="678180">
                <a:moveTo>
                  <a:pt x="0" y="0"/>
                </a:moveTo>
                <a:cubicBezTo>
                  <a:pt x="31750" y="43180"/>
                  <a:pt x="63500" y="86360"/>
                  <a:pt x="91440" y="106680"/>
                </a:cubicBezTo>
                <a:cubicBezTo>
                  <a:pt x="119380" y="127000"/>
                  <a:pt x="167640" y="91440"/>
                  <a:pt x="167640" y="121920"/>
                </a:cubicBezTo>
                <a:cubicBezTo>
                  <a:pt x="167640" y="152400"/>
                  <a:pt x="97790" y="247650"/>
                  <a:pt x="91440" y="289560"/>
                </a:cubicBezTo>
                <a:cubicBezTo>
                  <a:pt x="85090" y="331470"/>
                  <a:pt x="137160" y="340360"/>
                  <a:pt x="129540" y="373380"/>
                </a:cubicBezTo>
                <a:cubicBezTo>
                  <a:pt x="121920" y="406400"/>
                  <a:pt x="66040" y="436880"/>
                  <a:pt x="45720" y="487680"/>
                </a:cubicBezTo>
                <a:cubicBezTo>
                  <a:pt x="25400" y="538480"/>
                  <a:pt x="16510" y="608330"/>
                  <a:pt x="7620" y="678180"/>
                </a:cubicBezTo>
              </a:path>
            </a:pathLst>
          </a:custGeom>
          <a:ln w="762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07" name="Полилиния 406"/>
          <p:cNvSpPr/>
          <p:nvPr/>
        </p:nvSpPr>
        <p:spPr bwMode="auto">
          <a:xfrm>
            <a:off x="3669745" y="3895690"/>
            <a:ext cx="191061" cy="66696"/>
          </a:xfrm>
          <a:custGeom>
            <a:avLst/>
            <a:gdLst>
              <a:gd name="connsiteX0" fmla="*/ 0 w 314325"/>
              <a:gd name="connsiteY0" fmla="*/ 53181 h 119856"/>
              <a:gd name="connsiteX1" fmla="*/ 23812 w 314325"/>
              <a:gd name="connsiteY1" fmla="*/ 794 h 119856"/>
              <a:gd name="connsiteX2" fmla="*/ 123825 w 314325"/>
              <a:gd name="connsiteY2" fmla="*/ 48419 h 119856"/>
              <a:gd name="connsiteX3" fmla="*/ 200025 w 314325"/>
              <a:gd name="connsiteY3" fmla="*/ 86519 h 119856"/>
              <a:gd name="connsiteX4" fmla="*/ 247650 w 314325"/>
              <a:gd name="connsiteY4" fmla="*/ 119856 h 119856"/>
              <a:gd name="connsiteX5" fmla="*/ 314325 w 314325"/>
              <a:gd name="connsiteY5" fmla="*/ 86519 h 119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4325" h="119856">
                <a:moveTo>
                  <a:pt x="0" y="53181"/>
                </a:moveTo>
                <a:cubicBezTo>
                  <a:pt x="1587" y="27384"/>
                  <a:pt x="3175" y="1588"/>
                  <a:pt x="23812" y="794"/>
                </a:cubicBezTo>
                <a:cubicBezTo>
                  <a:pt x="44449" y="0"/>
                  <a:pt x="94456" y="34132"/>
                  <a:pt x="123825" y="48419"/>
                </a:cubicBezTo>
                <a:cubicBezTo>
                  <a:pt x="153194" y="62706"/>
                  <a:pt x="179387" y="74613"/>
                  <a:pt x="200025" y="86519"/>
                </a:cubicBezTo>
                <a:cubicBezTo>
                  <a:pt x="220663" y="98425"/>
                  <a:pt x="228600" y="119856"/>
                  <a:pt x="247650" y="119856"/>
                </a:cubicBezTo>
                <a:cubicBezTo>
                  <a:pt x="266700" y="119856"/>
                  <a:pt x="290512" y="103187"/>
                  <a:pt x="314325" y="86519"/>
                </a:cubicBezTo>
              </a:path>
            </a:pathLst>
          </a:custGeom>
          <a:ln w="762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7890" tIns="28945" rIns="57890" bIns="2894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08" name="Полилиния 407"/>
          <p:cNvSpPr/>
          <p:nvPr/>
        </p:nvSpPr>
        <p:spPr bwMode="auto">
          <a:xfrm>
            <a:off x="3550331" y="3913049"/>
            <a:ext cx="121251" cy="126081"/>
          </a:xfrm>
          <a:custGeom>
            <a:avLst/>
            <a:gdLst>
              <a:gd name="connsiteX0" fmla="*/ 242888 w 242888"/>
              <a:gd name="connsiteY0" fmla="*/ 0 h 208757"/>
              <a:gd name="connsiteX1" fmla="*/ 209550 w 242888"/>
              <a:gd name="connsiteY1" fmla="*/ 176213 h 208757"/>
              <a:gd name="connsiteX2" fmla="*/ 190500 w 242888"/>
              <a:gd name="connsiteY2" fmla="*/ 195263 h 208757"/>
              <a:gd name="connsiteX3" fmla="*/ 109538 w 242888"/>
              <a:gd name="connsiteY3" fmla="*/ 157163 h 208757"/>
              <a:gd name="connsiteX4" fmla="*/ 0 w 242888"/>
              <a:gd name="connsiteY4" fmla="*/ 109538 h 208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888" h="208757">
                <a:moveTo>
                  <a:pt x="242888" y="0"/>
                </a:moveTo>
                <a:cubicBezTo>
                  <a:pt x="230584" y="71834"/>
                  <a:pt x="218281" y="143669"/>
                  <a:pt x="209550" y="176213"/>
                </a:cubicBezTo>
                <a:cubicBezTo>
                  <a:pt x="200819" y="208757"/>
                  <a:pt x="207169" y="198438"/>
                  <a:pt x="190500" y="195263"/>
                </a:cubicBezTo>
                <a:cubicBezTo>
                  <a:pt x="173831" y="192088"/>
                  <a:pt x="141288" y="171451"/>
                  <a:pt x="109538" y="157163"/>
                </a:cubicBezTo>
                <a:cubicBezTo>
                  <a:pt x="77788" y="142876"/>
                  <a:pt x="38894" y="126207"/>
                  <a:pt x="0" y="109538"/>
                </a:cubicBezTo>
              </a:path>
            </a:pathLst>
          </a:custGeom>
          <a:ln w="762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09" name="Полилиния 408"/>
          <p:cNvSpPr/>
          <p:nvPr/>
        </p:nvSpPr>
        <p:spPr bwMode="auto">
          <a:xfrm>
            <a:off x="3967362" y="3785056"/>
            <a:ext cx="271598" cy="93275"/>
          </a:xfrm>
          <a:custGeom>
            <a:avLst/>
            <a:gdLst>
              <a:gd name="connsiteX0" fmla="*/ 266700 w 266700"/>
              <a:gd name="connsiteY0" fmla="*/ 0 h 123825"/>
              <a:gd name="connsiteX1" fmla="*/ 123825 w 266700"/>
              <a:gd name="connsiteY1" fmla="*/ 71437 h 123825"/>
              <a:gd name="connsiteX2" fmla="*/ 0 w 266700"/>
              <a:gd name="connsiteY2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6700" h="123825">
                <a:moveTo>
                  <a:pt x="266700" y="0"/>
                </a:moveTo>
                <a:cubicBezTo>
                  <a:pt x="217487" y="25400"/>
                  <a:pt x="168275" y="50800"/>
                  <a:pt x="123825" y="71437"/>
                </a:cubicBezTo>
                <a:cubicBezTo>
                  <a:pt x="79375" y="92075"/>
                  <a:pt x="39687" y="107950"/>
                  <a:pt x="0" y="123825"/>
                </a:cubicBezTo>
              </a:path>
            </a:pathLst>
          </a:custGeom>
          <a:ln w="762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7890" tIns="28945" rIns="57890" bIns="2894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10" name="Полилиния 409"/>
          <p:cNvSpPr/>
          <p:nvPr/>
        </p:nvSpPr>
        <p:spPr bwMode="auto">
          <a:xfrm>
            <a:off x="3843355" y="3873762"/>
            <a:ext cx="144215" cy="94105"/>
          </a:xfrm>
          <a:custGeom>
            <a:avLst/>
            <a:gdLst>
              <a:gd name="connsiteX0" fmla="*/ 171450 w 171450"/>
              <a:gd name="connsiteY0" fmla="*/ 0 h 109537"/>
              <a:gd name="connsiteX1" fmla="*/ 85725 w 171450"/>
              <a:gd name="connsiteY1" fmla="*/ 38100 h 109537"/>
              <a:gd name="connsiteX2" fmla="*/ 71437 w 171450"/>
              <a:gd name="connsiteY2" fmla="*/ 80962 h 109537"/>
              <a:gd name="connsiteX3" fmla="*/ 0 w 171450"/>
              <a:gd name="connsiteY3" fmla="*/ 109537 h 109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450" h="109537">
                <a:moveTo>
                  <a:pt x="171450" y="0"/>
                </a:moveTo>
                <a:cubicBezTo>
                  <a:pt x="136922" y="12303"/>
                  <a:pt x="102394" y="24606"/>
                  <a:pt x="85725" y="38100"/>
                </a:cubicBezTo>
                <a:cubicBezTo>
                  <a:pt x="69056" y="51594"/>
                  <a:pt x="85724" y="69056"/>
                  <a:pt x="71437" y="80962"/>
                </a:cubicBezTo>
                <a:cubicBezTo>
                  <a:pt x="57150" y="92868"/>
                  <a:pt x="28575" y="101202"/>
                  <a:pt x="0" y="109537"/>
                </a:cubicBezTo>
              </a:path>
            </a:pathLst>
          </a:custGeom>
          <a:ln w="762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11" name="Полилиния 410"/>
          <p:cNvSpPr/>
          <p:nvPr/>
        </p:nvSpPr>
        <p:spPr bwMode="auto">
          <a:xfrm>
            <a:off x="3970117" y="2267600"/>
            <a:ext cx="756187" cy="345848"/>
          </a:xfrm>
          <a:custGeom>
            <a:avLst/>
            <a:gdLst>
              <a:gd name="connsiteX0" fmla="*/ 0 w 1138687"/>
              <a:gd name="connsiteY0" fmla="*/ 0 h 621102"/>
              <a:gd name="connsiteX1" fmla="*/ 138023 w 1138687"/>
              <a:gd name="connsiteY1" fmla="*/ 250166 h 621102"/>
              <a:gd name="connsiteX2" fmla="*/ 241540 w 1138687"/>
              <a:gd name="connsiteY2" fmla="*/ 448573 h 621102"/>
              <a:gd name="connsiteX3" fmla="*/ 629729 w 1138687"/>
              <a:gd name="connsiteY3" fmla="*/ 577970 h 621102"/>
              <a:gd name="connsiteX4" fmla="*/ 923027 w 1138687"/>
              <a:gd name="connsiteY4" fmla="*/ 603849 h 621102"/>
              <a:gd name="connsiteX5" fmla="*/ 1138687 w 1138687"/>
              <a:gd name="connsiteY5" fmla="*/ 621102 h 621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38687" h="621102">
                <a:moveTo>
                  <a:pt x="0" y="0"/>
                </a:moveTo>
                <a:cubicBezTo>
                  <a:pt x="48883" y="87702"/>
                  <a:pt x="97766" y="175404"/>
                  <a:pt x="138023" y="250166"/>
                </a:cubicBezTo>
                <a:cubicBezTo>
                  <a:pt x="178280" y="324928"/>
                  <a:pt x="159589" y="393939"/>
                  <a:pt x="241540" y="448573"/>
                </a:cubicBezTo>
                <a:cubicBezTo>
                  <a:pt x="323491" y="503207"/>
                  <a:pt x="516148" y="552091"/>
                  <a:pt x="629729" y="577970"/>
                </a:cubicBezTo>
                <a:cubicBezTo>
                  <a:pt x="743310" y="603849"/>
                  <a:pt x="923027" y="603849"/>
                  <a:pt x="923027" y="603849"/>
                </a:cubicBezTo>
                <a:lnTo>
                  <a:pt x="1138687" y="621102"/>
                </a:lnTo>
              </a:path>
            </a:pathLst>
          </a:custGeom>
          <a:ln w="762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12" name="Полилиния 411"/>
          <p:cNvSpPr/>
          <p:nvPr/>
        </p:nvSpPr>
        <p:spPr bwMode="auto">
          <a:xfrm>
            <a:off x="4655369" y="2463117"/>
            <a:ext cx="2015338" cy="2173528"/>
          </a:xfrm>
          <a:custGeom>
            <a:avLst/>
            <a:gdLst>
              <a:gd name="connsiteX0" fmla="*/ 0 w 2876550"/>
              <a:gd name="connsiteY0" fmla="*/ 0 h 3460750"/>
              <a:gd name="connsiteX1" fmla="*/ 76200 w 2876550"/>
              <a:gd name="connsiteY1" fmla="*/ 107950 h 3460750"/>
              <a:gd name="connsiteX2" fmla="*/ 171450 w 2876550"/>
              <a:gd name="connsiteY2" fmla="*/ 127000 h 3460750"/>
              <a:gd name="connsiteX3" fmla="*/ 177800 w 2876550"/>
              <a:gd name="connsiteY3" fmla="*/ 266700 h 3460750"/>
              <a:gd name="connsiteX4" fmla="*/ 304800 w 2876550"/>
              <a:gd name="connsiteY4" fmla="*/ 285750 h 3460750"/>
              <a:gd name="connsiteX5" fmla="*/ 501650 w 2876550"/>
              <a:gd name="connsiteY5" fmla="*/ 368300 h 3460750"/>
              <a:gd name="connsiteX6" fmla="*/ 787400 w 2876550"/>
              <a:gd name="connsiteY6" fmla="*/ 476250 h 3460750"/>
              <a:gd name="connsiteX7" fmla="*/ 787400 w 2876550"/>
              <a:gd name="connsiteY7" fmla="*/ 596900 h 3460750"/>
              <a:gd name="connsiteX8" fmla="*/ 895350 w 2876550"/>
              <a:gd name="connsiteY8" fmla="*/ 774700 h 3460750"/>
              <a:gd name="connsiteX9" fmla="*/ 958850 w 2876550"/>
              <a:gd name="connsiteY9" fmla="*/ 1168400 h 3460750"/>
              <a:gd name="connsiteX10" fmla="*/ 1003300 w 2876550"/>
              <a:gd name="connsiteY10" fmla="*/ 1358900 h 3460750"/>
              <a:gd name="connsiteX11" fmla="*/ 1035050 w 2876550"/>
              <a:gd name="connsiteY11" fmla="*/ 1473200 h 3460750"/>
              <a:gd name="connsiteX12" fmla="*/ 1016000 w 2876550"/>
              <a:gd name="connsiteY12" fmla="*/ 1612900 h 3460750"/>
              <a:gd name="connsiteX13" fmla="*/ 1085850 w 2876550"/>
              <a:gd name="connsiteY13" fmla="*/ 1746250 h 3460750"/>
              <a:gd name="connsiteX14" fmla="*/ 1123950 w 2876550"/>
              <a:gd name="connsiteY14" fmla="*/ 1968500 h 3460750"/>
              <a:gd name="connsiteX15" fmla="*/ 1136650 w 2876550"/>
              <a:gd name="connsiteY15" fmla="*/ 2082800 h 3460750"/>
              <a:gd name="connsiteX16" fmla="*/ 1212850 w 2876550"/>
              <a:gd name="connsiteY16" fmla="*/ 2070100 h 3460750"/>
              <a:gd name="connsiteX17" fmla="*/ 1390650 w 2876550"/>
              <a:gd name="connsiteY17" fmla="*/ 2178050 h 3460750"/>
              <a:gd name="connsiteX18" fmla="*/ 1511300 w 2876550"/>
              <a:gd name="connsiteY18" fmla="*/ 2133600 h 3460750"/>
              <a:gd name="connsiteX19" fmla="*/ 1581150 w 2876550"/>
              <a:gd name="connsiteY19" fmla="*/ 2247900 h 3460750"/>
              <a:gd name="connsiteX20" fmla="*/ 1574800 w 2876550"/>
              <a:gd name="connsiteY20" fmla="*/ 2317750 h 3460750"/>
              <a:gd name="connsiteX21" fmla="*/ 1612900 w 2876550"/>
              <a:gd name="connsiteY21" fmla="*/ 2413000 h 3460750"/>
              <a:gd name="connsiteX22" fmla="*/ 1816100 w 2876550"/>
              <a:gd name="connsiteY22" fmla="*/ 2514600 h 3460750"/>
              <a:gd name="connsiteX23" fmla="*/ 1936750 w 2876550"/>
              <a:gd name="connsiteY23" fmla="*/ 2520950 h 3460750"/>
              <a:gd name="connsiteX24" fmla="*/ 2114550 w 2876550"/>
              <a:gd name="connsiteY24" fmla="*/ 2660650 h 3460750"/>
              <a:gd name="connsiteX25" fmla="*/ 2203450 w 2876550"/>
              <a:gd name="connsiteY25" fmla="*/ 2774950 h 3460750"/>
              <a:gd name="connsiteX26" fmla="*/ 2273300 w 2876550"/>
              <a:gd name="connsiteY26" fmla="*/ 2806700 h 3460750"/>
              <a:gd name="connsiteX27" fmla="*/ 2381250 w 2876550"/>
              <a:gd name="connsiteY27" fmla="*/ 2959100 h 3460750"/>
              <a:gd name="connsiteX28" fmla="*/ 2571750 w 2876550"/>
              <a:gd name="connsiteY28" fmla="*/ 3136900 h 3460750"/>
              <a:gd name="connsiteX29" fmla="*/ 2736850 w 2876550"/>
              <a:gd name="connsiteY29" fmla="*/ 3276600 h 3460750"/>
              <a:gd name="connsiteX30" fmla="*/ 2800350 w 2876550"/>
              <a:gd name="connsiteY30" fmla="*/ 3302000 h 3460750"/>
              <a:gd name="connsiteX31" fmla="*/ 2806700 w 2876550"/>
              <a:gd name="connsiteY31" fmla="*/ 3403600 h 3460750"/>
              <a:gd name="connsiteX32" fmla="*/ 2876550 w 2876550"/>
              <a:gd name="connsiteY32" fmla="*/ 3460750 h 3460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2876550" h="3460750">
                <a:moveTo>
                  <a:pt x="0" y="0"/>
                </a:moveTo>
                <a:cubicBezTo>
                  <a:pt x="23812" y="43391"/>
                  <a:pt x="47625" y="86783"/>
                  <a:pt x="76200" y="107950"/>
                </a:cubicBezTo>
                <a:cubicBezTo>
                  <a:pt x="104775" y="129117"/>
                  <a:pt x="154517" y="100542"/>
                  <a:pt x="171450" y="127000"/>
                </a:cubicBezTo>
                <a:cubicBezTo>
                  <a:pt x="188383" y="153458"/>
                  <a:pt x="155575" y="240242"/>
                  <a:pt x="177800" y="266700"/>
                </a:cubicBezTo>
                <a:cubicBezTo>
                  <a:pt x="200025" y="293158"/>
                  <a:pt x="250825" y="268817"/>
                  <a:pt x="304800" y="285750"/>
                </a:cubicBezTo>
                <a:cubicBezTo>
                  <a:pt x="358775" y="302683"/>
                  <a:pt x="421217" y="336550"/>
                  <a:pt x="501650" y="368300"/>
                </a:cubicBezTo>
                <a:cubicBezTo>
                  <a:pt x="582083" y="400050"/>
                  <a:pt x="739775" y="438150"/>
                  <a:pt x="787400" y="476250"/>
                </a:cubicBezTo>
                <a:cubicBezTo>
                  <a:pt x="835025" y="514350"/>
                  <a:pt x="769408" y="547158"/>
                  <a:pt x="787400" y="596900"/>
                </a:cubicBezTo>
                <a:cubicBezTo>
                  <a:pt x="805392" y="646642"/>
                  <a:pt x="866775" y="679450"/>
                  <a:pt x="895350" y="774700"/>
                </a:cubicBezTo>
                <a:cubicBezTo>
                  <a:pt x="923925" y="869950"/>
                  <a:pt x="940858" y="1071033"/>
                  <a:pt x="958850" y="1168400"/>
                </a:cubicBezTo>
                <a:cubicBezTo>
                  <a:pt x="976842" y="1265767"/>
                  <a:pt x="990600" y="1308100"/>
                  <a:pt x="1003300" y="1358900"/>
                </a:cubicBezTo>
                <a:cubicBezTo>
                  <a:pt x="1016000" y="1409700"/>
                  <a:pt x="1032933" y="1430867"/>
                  <a:pt x="1035050" y="1473200"/>
                </a:cubicBezTo>
                <a:cubicBezTo>
                  <a:pt x="1037167" y="1515533"/>
                  <a:pt x="1007533" y="1567392"/>
                  <a:pt x="1016000" y="1612900"/>
                </a:cubicBezTo>
                <a:cubicBezTo>
                  <a:pt x="1024467" y="1658408"/>
                  <a:pt x="1067858" y="1686983"/>
                  <a:pt x="1085850" y="1746250"/>
                </a:cubicBezTo>
                <a:cubicBezTo>
                  <a:pt x="1103842" y="1805517"/>
                  <a:pt x="1115483" y="1912408"/>
                  <a:pt x="1123950" y="1968500"/>
                </a:cubicBezTo>
                <a:cubicBezTo>
                  <a:pt x="1132417" y="2024592"/>
                  <a:pt x="1121833" y="2065867"/>
                  <a:pt x="1136650" y="2082800"/>
                </a:cubicBezTo>
                <a:cubicBezTo>
                  <a:pt x="1151467" y="2099733"/>
                  <a:pt x="1170517" y="2054225"/>
                  <a:pt x="1212850" y="2070100"/>
                </a:cubicBezTo>
                <a:cubicBezTo>
                  <a:pt x="1255183" y="2085975"/>
                  <a:pt x="1340908" y="2167467"/>
                  <a:pt x="1390650" y="2178050"/>
                </a:cubicBezTo>
                <a:cubicBezTo>
                  <a:pt x="1440392" y="2188633"/>
                  <a:pt x="1479550" y="2121958"/>
                  <a:pt x="1511300" y="2133600"/>
                </a:cubicBezTo>
                <a:cubicBezTo>
                  <a:pt x="1543050" y="2145242"/>
                  <a:pt x="1570567" y="2217208"/>
                  <a:pt x="1581150" y="2247900"/>
                </a:cubicBezTo>
                <a:cubicBezTo>
                  <a:pt x="1591733" y="2278592"/>
                  <a:pt x="1569508" y="2290233"/>
                  <a:pt x="1574800" y="2317750"/>
                </a:cubicBezTo>
                <a:cubicBezTo>
                  <a:pt x="1580092" y="2345267"/>
                  <a:pt x="1572683" y="2380192"/>
                  <a:pt x="1612900" y="2413000"/>
                </a:cubicBezTo>
                <a:cubicBezTo>
                  <a:pt x="1653117" y="2445808"/>
                  <a:pt x="1762125" y="2496608"/>
                  <a:pt x="1816100" y="2514600"/>
                </a:cubicBezTo>
                <a:cubicBezTo>
                  <a:pt x="1870075" y="2532592"/>
                  <a:pt x="1887008" y="2496608"/>
                  <a:pt x="1936750" y="2520950"/>
                </a:cubicBezTo>
                <a:cubicBezTo>
                  <a:pt x="1986492" y="2545292"/>
                  <a:pt x="2070100" y="2618317"/>
                  <a:pt x="2114550" y="2660650"/>
                </a:cubicBezTo>
                <a:cubicBezTo>
                  <a:pt x="2159000" y="2702983"/>
                  <a:pt x="2176992" y="2750608"/>
                  <a:pt x="2203450" y="2774950"/>
                </a:cubicBezTo>
                <a:cubicBezTo>
                  <a:pt x="2229908" y="2799292"/>
                  <a:pt x="2243667" y="2776008"/>
                  <a:pt x="2273300" y="2806700"/>
                </a:cubicBezTo>
                <a:cubicBezTo>
                  <a:pt x="2302933" y="2837392"/>
                  <a:pt x="2331508" y="2904067"/>
                  <a:pt x="2381250" y="2959100"/>
                </a:cubicBezTo>
                <a:cubicBezTo>
                  <a:pt x="2430992" y="3014133"/>
                  <a:pt x="2512483" y="3083983"/>
                  <a:pt x="2571750" y="3136900"/>
                </a:cubicBezTo>
                <a:cubicBezTo>
                  <a:pt x="2631017" y="3189817"/>
                  <a:pt x="2698750" y="3249083"/>
                  <a:pt x="2736850" y="3276600"/>
                </a:cubicBezTo>
                <a:cubicBezTo>
                  <a:pt x="2774950" y="3304117"/>
                  <a:pt x="2788708" y="3280833"/>
                  <a:pt x="2800350" y="3302000"/>
                </a:cubicBezTo>
                <a:cubicBezTo>
                  <a:pt x="2811992" y="3323167"/>
                  <a:pt x="2794000" y="3377142"/>
                  <a:pt x="2806700" y="3403600"/>
                </a:cubicBezTo>
                <a:cubicBezTo>
                  <a:pt x="2819400" y="3430058"/>
                  <a:pt x="2847975" y="3445404"/>
                  <a:pt x="2876550" y="3460750"/>
                </a:cubicBezTo>
              </a:path>
            </a:pathLst>
          </a:custGeom>
          <a:ln w="762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7890" tIns="28945" rIns="57890" bIns="2894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13" name="Овал 412"/>
          <p:cNvSpPr/>
          <p:nvPr/>
        </p:nvSpPr>
        <p:spPr bwMode="auto">
          <a:xfrm>
            <a:off x="4708645" y="2592852"/>
            <a:ext cx="83590" cy="75831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414" name="Полилиния 413"/>
          <p:cNvSpPr/>
          <p:nvPr/>
        </p:nvSpPr>
        <p:spPr bwMode="auto">
          <a:xfrm>
            <a:off x="6457599" y="4831248"/>
            <a:ext cx="189225" cy="253990"/>
          </a:xfrm>
          <a:custGeom>
            <a:avLst/>
            <a:gdLst>
              <a:gd name="connsiteX0" fmla="*/ 19050 w 330200"/>
              <a:gd name="connsiteY0" fmla="*/ 438150 h 438150"/>
              <a:gd name="connsiteX1" fmla="*/ 6350 w 330200"/>
              <a:gd name="connsiteY1" fmla="*/ 279400 h 438150"/>
              <a:gd name="connsiteX2" fmla="*/ 57150 w 330200"/>
              <a:gd name="connsiteY2" fmla="*/ 215900 h 438150"/>
              <a:gd name="connsiteX3" fmla="*/ 57150 w 330200"/>
              <a:gd name="connsiteY3" fmla="*/ 95250 h 438150"/>
              <a:gd name="connsiteX4" fmla="*/ 190500 w 330200"/>
              <a:gd name="connsiteY4" fmla="*/ 25400 h 438150"/>
              <a:gd name="connsiteX5" fmla="*/ 285750 w 330200"/>
              <a:gd name="connsiteY5" fmla="*/ 12700 h 438150"/>
              <a:gd name="connsiteX6" fmla="*/ 330200 w 330200"/>
              <a:gd name="connsiteY6" fmla="*/ 0 h 43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0200" h="438150">
                <a:moveTo>
                  <a:pt x="19050" y="438150"/>
                </a:moveTo>
                <a:cubicBezTo>
                  <a:pt x="9525" y="377296"/>
                  <a:pt x="0" y="316442"/>
                  <a:pt x="6350" y="279400"/>
                </a:cubicBezTo>
                <a:cubicBezTo>
                  <a:pt x="12700" y="242358"/>
                  <a:pt x="48683" y="246592"/>
                  <a:pt x="57150" y="215900"/>
                </a:cubicBezTo>
                <a:cubicBezTo>
                  <a:pt x="65617" y="185208"/>
                  <a:pt x="34925" y="127000"/>
                  <a:pt x="57150" y="95250"/>
                </a:cubicBezTo>
                <a:cubicBezTo>
                  <a:pt x="79375" y="63500"/>
                  <a:pt x="152400" y="39158"/>
                  <a:pt x="190500" y="25400"/>
                </a:cubicBezTo>
                <a:cubicBezTo>
                  <a:pt x="228600" y="11642"/>
                  <a:pt x="262467" y="16933"/>
                  <a:pt x="285750" y="12700"/>
                </a:cubicBezTo>
                <a:cubicBezTo>
                  <a:pt x="309033" y="8467"/>
                  <a:pt x="319616" y="4233"/>
                  <a:pt x="330200" y="0"/>
                </a:cubicBezTo>
              </a:path>
            </a:pathLst>
          </a:custGeom>
          <a:ln w="762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15" name="Полилиния 414"/>
          <p:cNvSpPr/>
          <p:nvPr/>
        </p:nvSpPr>
        <p:spPr bwMode="auto">
          <a:xfrm>
            <a:off x="6634882" y="4616546"/>
            <a:ext cx="178202" cy="204653"/>
          </a:xfrm>
          <a:custGeom>
            <a:avLst/>
            <a:gdLst>
              <a:gd name="connsiteX0" fmla="*/ 19050 w 330200"/>
              <a:gd name="connsiteY0" fmla="*/ 438150 h 438150"/>
              <a:gd name="connsiteX1" fmla="*/ 6350 w 330200"/>
              <a:gd name="connsiteY1" fmla="*/ 279400 h 438150"/>
              <a:gd name="connsiteX2" fmla="*/ 57150 w 330200"/>
              <a:gd name="connsiteY2" fmla="*/ 215900 h 438150"/>
              <a:gd name="connsiteX3" fmla="*/ 57150 w 330200"/>
              <a:gd name="connsiteY3" fmla="*/ 95250 h 438150"/>
              <a:gd name="connsiteX4" fmla="*/ 190500 w 330200"/>
              <a:gd name="connsiteY4" fmla="*/ 25400 h 438150"/>
              <a:gd name="connsiteX5" fmla="*/ 285750 w 330200"/>
              <a:gd name="connsiteY5" fmla="*/ 12700 h 438150"/>
              <a:gd name="connsiteX6" fmla="*/ 330200 w 330200"/>
              <a:gd name="connsiteY6" fmla="*/ 0 h 43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0200" h="438150">
                <a:moveTo>
                  <a:pt x="19050" y="438150"/>
                </a:moveTo>
                <a:cubicBezTo>
                  <a:pt x="9525" y="377296"/>
                  <a:pt x="0" y="316442"/>
                  <a:pt x="6350" y="279400"/>
                </a:cubicBezTo>
                <a:cubicBezTo>
                  <a:pt x="12700" y="242358"/>
                  <a:pt x="48683" y="246592"/>
                  <a:pt x="57150" y="215900"/>
                </a:cubicBezTo>
                <a:cubicBezTo>
                  <a:pt x="65617" y="185208"/>
                  <a:pt x="34925" y="127000"/>
                  <a:pt x="57150" y="95250"/>
                </a:cubicBezTo>
                <a:cubicBezTo>
                  <a:pt x="79375" y="63500"/>
                  <a:pt x="152400" y="39158"/>
                  <a:pt x="190500" y="25400"/>
                </a:cubicBezTo>
                <a:cubicBezTo>
                  <a:pt x="228600" y="11642"/>
                  <a:pt x="262467" y="16933"/>
                  <a:pt x="285750" y="12700"/>
                </a:cubicBezTo>
                <a:cubicBezTo>
                  <a:pt x="309033" y="8467"/>
                  <a:pt x="319616" y="4233"/>
                  <a:pt x="330200" y="0"/>
                </a:cubicBezTo>
              </a:path>
            </a:pathLst>
          </a:custGeom>
          <a:ln w="762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16" name="Полилиния 415"/>
          <p:cNvSpPr/>
          <p:nvPr/>
        </p:nvSpPr>
        <p:spPr bwMode="auto">
          <a:xfrm>
            <a:off x="7484557" y="4318701"/>
            <a:ext cx="351811" cy="57559"/>
          </a:xfrm>
          <a:custGeom>
            <a:avLst/>
            <a:gdLst>
              <a:gd name="connsiteX0" fmla="*/ 0 w 457200"/>
              <a:gd name="connsiteY0" fmla="*/ 12700 h 12700"/>
              <a:gd name="connsiteX1" fmla="*/ 171450 w 457200"/>
              <a:gd name="connsiteY1" fmla="*/ 0 h 12700"/>
              <a:gd name="connsiteX2" fmla="*/ 381000 w 457200"/>
              <a:gd name="connsiteY2" fmla="*/ 12700 h 12700"/>
              <a:gd name="connsiteX3" fmla="*/ 457200 w 457200"/>
              <a:gd name="connsiteY3" fmla="*/ 0 h 1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7200" h="12700">
                <a:moveTo>
                  <a:pt x="0" y="12700"/>
                </a:moveTo>
                <a:cubicBezTo>
                  <a:pt x="53975" y="6350"/>
                  <a:pt x="107950" y="0"/>
                  <a:pt x="171450" y="0"/>
                </a:cubicBezTo>
                <a:cubicBezTo>
                  <a:pt x="234950" y="0"/>
                  <a:pt x="333375" y="12700"/>
                  <a:pt x="381000" y="12700"/>
                </a:cubicBezTo>
                <a:cubicBezTo>
                  <a:pt x="428625" y="12700"/>
                  <a:pt x="442912" y="6350"/>
                  <a:pt x="457200" y="0"/>
                </a:cubicBezTo>
              </a:path>
            </a:pathLst>
          </a:custGeom>
          <a:ln w="762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17" name="Полилиния 416"/>
          <p:cNvSpPr/>
          <p:nvPr/>
        </p:nvSpPr>
        <p:spPr bwMode="auto">
          <a:xfrm>
            <a:off x="7931342" y="3989794"/>
            <a:ext cx="536083" cy="319771"/>
          </a:xfrm>
          <a:custGeom>
            <a:avLst/>
            <a:gdLst>
              <a:gd name="connsiteX0" fmla="*/ 0 w 749300"/>
              <a:gd name="connsiteY0" fmla="*/ 482600 h 482600"/>
              <a:gd name="connsiteX1" fmla="*/ 165100 w 749300"/>
              <a:gd name="connsiteY1" fmla="*/ 374650 h 482600"/>
              <a:gd name="connsiteX2" fmla="*/ 317500 w 749300"/>
              <a:gd name="connsiteY2" fmla="*/ 342900 h 482600"/>
              <a:gd name="connsiteX3" fmla="*/ 406400 w 749300"/>
              <a:gd name="connsiteY3" fmla="*/ 406400 h 482600"/>
              <a:gd name="connsiteX4" fmla="*/ 450850 w 749300"/>
              <a:gd name="connsiteY4" fmla="*/ 336550 h 482600"/>
              <a:gd name="connsiteX5" fmla="*/ 552450 w 749300"/>
              <a:gd name="connsiteY5" fmla="*/ 311150 h 482600"/>
              <a:gd name="connsiteX6" fmla="*/ 539750 w 749300"/>
              <a:gd name="connsiteY6" fmla="*/ 222250 h 482600"/>
              <a:gd name="connsiteX7" fmla="*/ 590550 w 749300"/>
              <a:gd name="connsiteY7" fmla="*/ 76200 h 482600"/>
              <a:gd name="connsiteX8" fmla="*/ 749300 w 749300"/>
              <a:gd name="connsiteY8" fmla="*/ 0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49300" h="482600">
                <a:moveTo>
                  <a:pt x="0" y="482600"/>
                </a:moveTo>
                <a:cubicBezTo>
                  <a:pt x="56091" y="440266"/>
                  <a:pt x="112183" y="397933"/>
                  <a:pt x="165100" y="374650"/>
                </a:cubicBezTo>
                <a:cubicBezTo>
                  <a:pt x="218017" y="351367"/>
                  <a:pt x="277283" y="337608"/>
                  <a:pt x="317500" y="342900"/>
                </a:cubicBezTo>
                <a:cubicBezTo>
                  <a:pt x="357717" y="348192"/>
                  <a:pt x="384175" y="407458"/>
                  <a:pt x="406400" y="406400"/>
                </a:cubicBezTo>
                <a:cubicBezTo>
                  <a:pt x="428625" y="405342"/>
                  <a:pt x="426508" y="352425"/>
                  <a:pt x="450850" y="336550"/>
                </a:cubicBezTo>
                <a:cubicBezTo>
                  <a:pt x="475192" y="320675"/>
                  <a:pt x="537633" y="330200"/>
                  <a:pt x="552450" y="311150"/>
                </a:cubicBezTo>
                <a:cubicBezTo>
                  <a:pt x="567267" y="292100"/>
                  <a:pt x="533400" y="261408"/>
                  <a:pt x="539750" y="222250"/>
                </a:cubicBezTo>
                <a:cubicBezTo>
                  <a:pt x="546100" y="183092"/>
                  <a:pt x="555625" y="113242"/>
                  <a:pt x="590550" y="76200"/>
                </a:cubicBezTo>
                <a:cubicBezTo>
                  <a:pt x="625475" y="39158"/>
                  <a:pt x="687387" y="19579"/>
                  <a:pt x="749300" y="0"/>
                </a:cubicBezTo>
              </a:path>
            </a:pathLst>
          </a:custGeom>
          <a:ln w="762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18" name="Полилиния 417"/>
          <p:cNvSpPr/>
          <p:nvPr/>
        </p:nvSpPr>
        <p:spPr bwMode="auto">
          <a:xfrm>
            <a:off x="6072718" y="1665517"/>
            <a:ext cx="390392" cy="1686563"/>
          </a:xfrm>
          <a:custGeom>
            <a:avLst/>
            <a:gdLst>
              <a:gd name="connsiteX0" fmla="*/ 477329 w 477329"/>
              <a:gd name="connsiteY0" fmla="*/ 0 h 2484407"/>
              <a:gd name="connsiteX1" fmla="*/ 408317 w 477329"/>
              <a:gd name="connsiteY1" fmla="*/ 112143 h 2484407"/>
              <a:gd name="connsiteX2" fmla="*/ 270295 w 477329"/>
              <a:gd name="connsiteY2" fmla="*/ 189781 h 2484407"/>
              <a:gd name="connsiteX3" fmla="*/ 123646 w 477329"/>
              <a:gd name="connsiteY3" fmla="*/ 422694 h 2484407"/>
              <a:gd name="connsiteX4" fmla="*/ 37382 w 477329"/>
              <a:gd name="connsiteY4" fmla="*/ 733245 h 2484407"/>
              <a:gd name="connsiteX5" fmla="*/ 2876 w 477329"/>
              <a:gd name="connsiteY5" fmla="*/ 923026 h 2484407"/>
              <a:gd name="connsiteX6" fmla="*/ 28755 w 477329"/>
              <a:gd name="connsiteY6" fmla="*/ 1138687 h 2484407"/>
              <a:gd name="connsiteX7" fmla="*/ 11502 w 477329"/>
              <a:gd name="connsiteY7" fmla="*/ 1285336 h 2484407"/>
              <a:gd name="connsiteX8" fmla="*/ 97766 w 477329"/>
              <a:gd name="connsiteY8" fmla="*/ 1466490 h 2484407"/>
              <a:gd name="connsiteX9" fmla="*/ 166778 w 477329"/>
              <a:gd name="connsiteY9" fmla="*/ 1716657 h 2484407"/>
              <a:gd name="connsiteX10" fmla="*/ 132272 w 477329"/>
              <a:gd name="connsiteY10" fmla="*/ 1837426 h 2484407"/>
              <a:gd name="connsiteX11" fmla="*/ 149525 w 477329"/>
              <a:gd name="connsiteY11" fmla="*/ 2018581 h 2484407"/>
              <a:gd name="connsiteX12" fmla="*/ 132272 w 477329"/>
              <a:gd name="connsiteY12" fmla="*/ 2380890 h 2484407"/>
              <a:gd name="connsiteX13" fmla="*/ 287548 w 477329"/>
              <a:gd name="connsiteY13" fmla="*/ 2484407 h 2484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77329" h="2484407">
                <a:moveTo>
                  <a:pt x="477329" y="0"/>
                </a:moveTo>
                <a:cubicBezTo>
                  <a:pt x="460076" y="40256"/>
                  <a:pt x="442823" y="80513"/>
                  <a:pt x="408317" y="112143"/>
                </a:cubicBezTo>
                <a:cubicBezTo>
                  <a:pt x="373811" y="143773"/>
                  <a:pt x="317740" y="138023"/>
                  <a:pt x="270295" y="189781"/>
                </a:cubicBezTo>
                <a:cubicBezTo>
                  <a:pt x="222850" y="241539"/>
                  <a:pt x="162465" y="332117"/>
                  <a:pt x="123646" y="422694"/>
                </a:cubicBezTo>
                <a:cubicBezTo>
                  <a:pt x="84827" y="513271"/>
                  <a:pt x="57510" y="649856"/>
                  <a:pt x="37382" y="733245"/>
                </a:cubicBezTo>
                <a:cubicBezTo>
                  <a:pt x="17254" y="816634"/>
                  <a:pt x="4314" y="855452"/>
                  <a:pt x="2876" y="923026"/>
                </a:cubicBezTo>
                <a:cubicBezTo>
                  <a:pt x="1438" y="990600"/>
                  <a:pt x="27317" y="1078302"/>
                  <a:pt x="28755" y="1138687"/>
                </a:cubicBezTo>
                <a:cubicBezTo>
                  <a:pt x="30193" y="1199072"/>
                  <a:pt x="0" y="1230702"/>
                  <a:pt x="11502" y="1285336"/>
                </a:cubicBezTo>
                <a:cubicBezTo>
                  <a:pt x="23004" y="1339970"/>
                  <a:pt x="71887" y="1394603"/>
                  <a:pt x="97766" y="1466490"/>
                </a:cubicBezTo>
                <a:cubicBezTo>
                  <a:pt x="123645" y="1538377"/>
                  <a:pt x="161027" y="1654834"/>
                  <a:pt x="166778" y="1716657"/>
                </a:cubicBezTo>
                <a:cubicBezTo>
                  <a:pt x="172529" y="1778480"/>
                  <a:pt x="135147" y="1787105"/>
                  <a:pt x="132272" y="1837426"/>
                </a:cubicBezTo>
                <a:cubicBezTo>
                  <a:pt x="129397" y="1887747"/>
                  <a:pt x="149525" y="1928004"/>
                  <a:pt x="149525" y="2018581"/>
                </a:cubicBezTo>
                <a:cubicBezTo>
                  <a:pt x="149525" y="2109158"/>
                  <a:pt x="109268" y="2303252"/>
                  <a:pt x="132272" y="2380890"/>
                </a:cubicBezTo>
                <a:cubicBezTo>
                  <a:pt x="155276" y="2458528"/>
                  <a:pt x="221412" y="2471467"/>
                  <a:pt x="287548" y="2484407"/>
                </a:cubicBezTo>
              </a:path>
            </a:pathLst>
          </a:cu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19" name="Овал 418"/>
          <p:cNvSpPr/>
          <p:nvPr/>
        </p:nvSpPr>
        <p:spPr bwMode="auto">
          <a:xfrm>
            <a:off x="6275722" y="3290866"/>
            <a:ext cx="84508" cy="74918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421" name="Полилиния 420"/>
          <p:cNvSpPr/>
          <p:nvPr/>
        </p:nvSpPr>
        <p:spPr bwMode="auto">
          <a:xfrm>
            <a:off x="5488509" y="1800734"/>
            <a:ext cx="1376933" cy="674259"/>
          </a:xfrm>
          <a:custGeom>
            <a:avLst/>
            <a:gdLst>
              <a:gd name="connsiteX0" fmla="*/ 0 w 1966822"/>
              <a:gd name="connsiteY0" fmla="*/ 0 h 1095555"/>
              <a:gd name="connsiteX1" fmla="*/ 129396 w 1966822"/>
              <a:gd name="connsiteY1" fmla="*/ 155275 h 1095555"/>
              <a:gd name="connsiteX2" fmla="*/ 207033 w 1966822"/>
              <a:gd name="connsiteY2" fmla="*/ 146649 h 1095555"/>
              <a:gd name="connsiteX3" fmla="*/ 396815 w 1966822"/>
              <a:gd name="connsiteY3" fmla="*/ 353683 h 1095555"/>
              <a:gd name="connsiteX4" fmla="*/ 508958 w 1966822"/>
              <a:gd name="connsiteY4" fmla="*/ 672860 h 1095555"/>
              <a:gd name="connsiteX5" fmla="*/ 655607 w 1966822"/>
              <a:gd name="connsiteY5" fmla="*/ 733245 h 1095555"/>
              <a:gd name="connsiteX6" fmla="*/ 854015 w 1966822"/>
              <a:gd name="connsiteY6" fmla="*/ 828136 h 1095555"/>
              <a:gd name="connsiteX7" fmla="*/ 1035169 w 1966822"/>
              <a:gd name="connsiteY7" fmla="*/ 888521 h 1095555"/>
              <a:gd name="connsiteX8" fmla="*/ 1147313 w 1966822"/>
              <a:gd name="connsiteY8" fmla="*/ 836762 h 1095555"/>
              <a:gd name="connsiteX9" fmla="*/ 1207698 w 1966822"/>
              <a:gd name="connsiteY9" fmla="*/ 897147 h 1095555"/>
              <a:gd name="connsiteX10" fmla="*/ 1380226 w 1966822"/>
              <a:gd name="connsiteY10" fmla="*/ 897147 h 1095555"/>
              <a:gd name="connsiteX11" fmla="*/ 1613139 w 1966822"/>
              <a:gd name="connsiteY11" fmla="*/ 940279 h 1095555"/>
              <a:gd name="connsiteX12" fmla="*/ 1647645 w 1966822"/>
              <a:gd name="connsiteY12" fmla="*/ 1035170 h 1095555"/>
              <a:gd name="connsiteX13" fmla="*/ 1716656 w 1966822"/>
              <a:gd name="connsiteY13" fmla="*/ 1078302 h 1095555"/>
              <a:gd name="connsiteX14" fmla="*/ 1828800 w 1966822"/>
              <a:gd name="connsiteY14" fmla="*/ 1061049 h 1095555"/>
              <a:gd name="connsiteX15" fmla="*/ 1966822 w 1966822"/>
              <a:gd name="connsiteY15" fmla="*/ 1095555 h 1095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966822" h="1095555">
                <a:moveTo>
                  <a:pt x="0" y="0"/>
                </a:moveTo>
                <a:cubicBezTo>
                  <a:pt x="47445" y="65416"/>
                  <a:pt x="94890" y="130833"/>
                  <a:pt x="129396" y="155275"/>
                </a:cubicBezTo>
                <a:cubicBezTo>
                  <a:pt x="163902" y="179717"/>
                  <a:pt x="162463" y="113581"/>
                  <a:pt x="207033" y="146649"/>
                </a:cubicBezTo>
                <a:cubicBezTo>
                  <a:pt x="251603" y="179717"/>
                  <a:pt x="346494" y="265981"/>
                  <a:pt x="396815" y="353683"/>
                </a:cubicBezTo>
                <a:cubicBezTo>
                  <a:pt x="447136" y="441385"/>
                  <a:pt x="465826" y="609600"/>
                  <a:pt x="508958" y="672860"/>
                </a:cubicBezTo>
                <a:cubicBezTo>
                  <a:pt x="552090" y="736120"/>
                  <a:pt x="598098" y="707366"/>
                  <a:pt x="655607" y="733245"/>
                </a:cubicBezTo>
                <a:cubicBezTo>
                  <a:pt x="713116" y="759124"/>
                  <a:pt x="790755" y="802257"/>
                  <a:pt x="854015" y="828136"/>
                </a:cubicBezTo>
                <a:cubicBezTo>
                  <a:pt x="917275" y="854015"/>
                  <a:pt x="986286" y="887083"/>
                  <a:pt x="1035169" y="888521"/>
                </a:cubicBezTo>
                <a:cubicBezTo>
                  <a:pt x="1084052" y="889959"/>
                  <a:pt x="1118558" y="835324"/>
                  <a:pt x="1147313" y="836762"/>
                </a:cubicBezTo>
                <a:cubicBezTo>
                  <a:pt x="1176068" y="838200"/>
                  <a:pt x="1168879" y="887083"/>
                  <a:pt x="1207698" y="897147"/>
                </a:cubicBezTo>
                <a:cubicBezTo>
                  <a:pt x="1246517" y="907211"/>
                  <a:pt x="1312653" y="889958"/>
                  <a:pt x="1380226" y="897147"/>
                </a:cubicBezTo>
                <a:cubicBezTo>
                  <a:pt x="1447799" y="904336"/>
                  <a:pt x="1568569" y="917275"/>
                  <a:pt x="1613139" y="940279"/>
                </a:cubicBezTo>
                <a:cubicBezTo>
                  <a:pt x="1657709" y="963283"/>
                  <a:pt x="1630392" y="1012166"/>
                  <a:pt x="1647645" y="1035170"/>
                </a:cubicBezTo>
                <a:cubicBezTo>
                  <a:pt x="1664898" y="1058174"/>
                  <a:pt x="1686463" y="1073989"/>
                  <a:pt x="1716656" y="1078302"/>
                </a:cubicBezTo>
                <a:cubicBezTo>
                  <a:pt x="1746849" y="1082615"/>
                  <a:pt x="1787106" y="1058174"/>
                  <a:pt x="1828800" y="1061049"/>
                </a:cubicBezTo>
                <a:cubicBezTo>
                  <a:pt x="1870494" y="1063924"/>
                  <a:pt x="1918658" y="1079739"/>
                  <a:pt x="1966822" y="1095555"/>
                </a:cubicBezTo>
              </a:path>
            </a:pathLst>
          </a:custGeom>
          <a:ln w="76200">
            <a:solidFill>
              <a:srgbClr val="C4F4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23" name="Полилиния 422"/>
          <p:cNvSpPr/>
          <p:nvPr/>
        </p:nvSpPr>
        <p:spPr bwMode="auto">
          <a:xfrm>
            <a:off x="6492505" y="1673739"/>
            <a:ext cx="70729" cy="278658"/>
          </a:xfrm>
          <a:custGeom>
            <a:avLst/>
            <a:gdLst>
              <a:gd name="connsiteX0" fmla="*/ 31750 w 69850"/>
              <a:gd name="connsiteY0" fmla="*/ 0 h 426720"/>
              <a:gd name="connsiteX1" fmla="*/ 16510 w 69850"/>
              <a:gd name="connsiteY1" fmla="*/ 106680 h 426720"/>
              <a:gd name="connsiteX2" fmla="*/ 62230 w 69850"/>
              <a:gd name="connsiteY2" fmla="*/ 182880 h 426720"/>
              <a:gd name="connsiteX3" fmla="*/ 1270 w 69850"/>
              <a:gd name="connsiteY3" fmla="*/ 274320 h 426720"/>
              <a:gd name="connsiteX4" fmla="*/ 69850 w 69850"/>
              <a:gd name="connsiteY4" fmla="*/ 426720 h 426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850" h="426720">
                <a:moveTo>
                  <a:pt x="31750" y="0"/>
                </a:moveTo>
                <a:cubicBezTo>
                  <a:pt x="21590" y="38100"/>
                  <a:pt x="11430" y="76200"/>
                  <a:pt x="16510" y="106680"/>
                </a:cubicBezTo>
                <a:cubicBezTo>
                  <a:pt x="21590" y="137160"/>
                  <a:pt x="64770" y="154940"/>
                  <a:pt x="62230" y="182880"/>
                </a:cubicBezTo>
                <a:cubicBezTo>
                  <a:pt x="59690" y="210820"/>
                  <a:pt x="0" y="233680"/>
                  <a:pt x="1270" y="274320"/>
                </a:cubicBezTo>
                <a:cubicBezTo>
                  <a:pt x="2540" y="314960"/>
                  <a:pt x="36195" y="370840"/>
                  <a:pt x="69850" y="426720"/>
                </a:cubicBezTo>
              </a:path>
            </a:pathLst>
          </a:custGeom>
          <a:ln w="762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25" name="Полилиния 424"/>
          <p:cNvSpPr/>
          <p:nvPr/>
        </p:nvSpPr>
        <p:spPr bwMode="auto">
          <a:xfrm>
            <a:off x="6491585" y="1914025"/>
            <a:ext cx="301290" cy="538128"/>
          </a:xfrm>
          <a:custGeom>
            <a:avLst/>
            <a:gdLst>
              <a:gd name="connsiteX0" fmla="*/ 464820 w 464820"/>
              <a:gd name="connsiteY0" fmla="*/ 929640 h 929640"/>
              <a:gd name="connsiteX1" fmla="*/ 411480 w 464820"/>
              <a:gd name="connsiteY1" fmla="*/ 815340 h 929640"/>
              <a:gd name="connsiteX2" fmla="*/ 358140 w 464820"/>
              <a:gd name="connsiteY2" fmla="*/ 670560 h 929640"/>
              <a:gd name="connsiteX3" fmla="*/ 358140 w 464820"/>
              <a:gd name="connsiteY3" fmla="*/ 563880 h 929640"/>
              <a:gd name="connsiteX4" fmla="*/ 304800 w 464820"/>
              <a:gd name="connsiteY4" fmla="*/ 518160 h 929640"/>
              <a:gd name="connsiteX5" fmla="*/ 220980 w 464820"/>
              <a:gd name="connsiteY5" fmla="*/ 396240 h 929640"/>
              <a:gd name="connsiteX6" fmla="*/ 160020 w 464820"/>
              <a:gd name="connsiteY6" fmla="*/ 289560 h 929640"/>
              <a:gd name="connsiteX7" fmla="*/ 38100 w 464820"/>
              <a:gd name="connsiteY7" fmla="*/ 198120 h 929640"/>
              <a:gd name="connsiteX8" fmla="*/ 22860 w 464820"/>
              <a:gd name="connsiteY8" fmla="*/ 137160 h 929640"/>
              <a:gd name="connsiteX9" fmla="*/ 45720 w 464820"/>
              <a:gd name="connsiteY9" fmla="*/ 45720 h 929640"/>
              <a:gd name="connsiteX10" fmla="*/ 0 w 464820"/>
              <a:gd name="connsiteY10" fmla="*/ 0 h 929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64820" h="929640">
                <a:moveTo>
                  <a:pt x="464820" y="929640"/>
                </a:moveTo>
                <a:cubicBezTo>
                  <a:pt x="447040" y="894080"/>
                  <a:pt x="429260" y="858520"/>
                  <a:pt x="411480" y="815340"/>
                </a:cubicBezTo>
                <a:cubicBezTo>
                  <a:pt x="393700" y="772160"/>
                  <a:pt x="367030" y="712470"/>
                  <a:pt x="358140" y="670560"/>
                </a:cubicBezTo>
                <a:cubicBezTo>
                  <a:pt x="349250" y="628650"/>
                  <a:pt x="367030" y="589280"/>
                  <a:pt x="358140" y="563880"/>
                </a:cubicBezTo>
                <a:cubicBezTo>
                  <a:pt x="349250" y="538480"/>
                  <a:pt x="327660" y="546100"/>
                  <a:pt x="304800" y="518160"/>
                </a:cubicBezTo>
                <a:cubicBezTo>
                  <a:pt x="281940" y="490220"/>
                  <a:pt x="245110" y="434340"/>
                  <a:pt x="220980" y="396240"/>
                </a:cubicBezTo>
                <a:cubicBezTo>
                  <a:pt x="196850" y="358140"/>
                  <a:pt x="190500" y="322580"/>
                  <a:pt x="160020" y="289560"/>
                </a:cubicBezTo>
                <a:cubicBezTo>
                  <a:pt x="129540" y="256540"/>
                  <a:pt x="60960" y="223520"/>
                  <a:pt x="38100" y="198120"/>
                </a:cubicBezTo>
                <a:cubicBezTo>
                  <a:pt x="15240" y="172720"/>
                  <a:pt x="21590" y="162560"/>
                  <a:pt x="22860" y="137160"/>
                </a:cubicBezTo>
                <a:cubicBezTo>
                  <a:pt x="24130" y="111760"/>
                  <a:pt x="49530" y="68580"/>
                  <a:pt x="45720" y="45720"/>
                </a:cubicBezTo>
                <a:cubicBezTo>
                  <a:pt x="41910" y="22860"/>
                  <a:pt x="20955" y="11430"/>
                  <a:pt x="0" y="0"/>
                </a:cubicBezTo>
              </a:path>
            </a:pathLst>
          </a:custGeom>
          <a:ln w="762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27" name="Полилиния 426"/>
          <p:cNvSpPr/>
          <p:nvPr/>
        </p:nvSpPr>
        <p:spPr bwMode="auto">
          <a:xfrm>
            <a:off x="6862704" y="2173496"/>
            <a:ext cx="715547" cy="275550"/>
          </a:xfrm>
          <a:custGeom>
            <a:avLst/>
            <a:gdLst>
              <a:gd name="connsiteX0" fmla="*/ 0 w 1066800"/>
              <a:gd name="connsiteY0" fmla="*/ 546100 h 546100"/>
              <a:gd name="connsiteX1" fmla="*/ 88900 w 1066800"/>
              <a:gd name="connsiteY1" fmla="*/ 368300 h 546100"/>
              <a:gd name="connsiteX2" fmla="*/ 247650 w 1066800"/>
              <a:gd name="connsiteY2" fmla="*/ 317500 h 546100"/>
              <a:gd name="connsiteX3" fmla="*/ 342900 w 1066800"/>
              <a:gd name="connsiteY3" fmla="*/ 361950 h 546100"/>
              <a:gd name="connsiteX4" fmla="*/ 546100 w 1066800"/>
              <a:gd name="connsiteY4" fmla="*/ 304800 h 546100"/>
              <a:gd name="connsiteX5" fmla="*/ 647700 w 1066800"/>
              <a:gd name="connsiteY5" fmla="*/ 279400 h 546100"/>
              <a:gd name="connsiteX6" fmla="*/ 838200 w 1066800"/>
              <a:gd name="connsiteY6" fmla="*/ 241300 h 546100"/>
              <a:gd name="connsiteX7" fmla="*/ 933450 w 1066800"/>
              <a:gd name="connsiteY7" fmla="*/ 114300 h 546100"/>
              <a:gd name="connsiteX8" fmla="*/ 1066800 w 1066800"/>
              <a:gd name="connsiteY8" fmla="*/ 0 h 54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66800" h="546100">
                <a:moveTo>
                  <a:pt x="0" y="546100"/>
                </a:moveTo>
                <a:cubicBezTo>
                  <a:pt x="23812" y="476250"/>
                  <a:pt x="47625" y="406400"/>
                  <a:pt x="88900" y="368300"/>
                </a:cubicBezTo>
                <a:cubicBezTo>
                  <a:pt x="130175" y="330200"/>
                  <a:pt x="205317" y="318558"/>
                  <a:pt x="247650" y="317500"/>
                </a:cubicBezTo>
                <a:cubicBezTo>
                  <a:pt x="289983" y="316442"/>
                  <a:pt x="293158" y="364067"/>
                  <a:pt x="342900" y="361950"/>
                </a:cubicBezTo>
                <a:cubicBezTo>
                  <a:pt x="392642" y="359833"/>
                  <a:pt x="495300" y="318558"/>
                  <a:pt x="546100" y="304800"/>
                </a:cubicBezTo>
                <a:cubicBezTo>
                  <a:pt x="596900" y="291042"/>
                  <a:pt x="599017" y="289983"/>
                  <a:pt x="647700" y="279400"/>
                </a:cubicBezTo>
                <a:cubicBezTo>
                  <a:pt x="696383" y="268817"/>
                  <a:pt x="790575" y="268817"/>
                  <a:pt x="838200" y="241300"/>
                </a:cubicBezTo>
                <a:cubicBezTo>
                  <a:pt x="885825" y="213783"/>
                  <a:pt x="895350" y="154517"/>
                  <a:pt x="933450" y="114300"/>
                </a:cubicBezTo>
                <a:cubicBezTo>
                  <a:pt x="971550" y="74083"/>
                  <a:pt x="1019175" y="37041"/>
                  <a:pt x="1066800" y="0"/>
                </a:cubicBezTo>
              </a:path>
            </a:pathLst>
          </a:custGeom>
          <a:ln w="762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29" name="Полилиния 428"/>
          <p:cNvSpPr/>
          <p:nvPr/>
        </p:nvSpPr>
        <p:spPr bwMode="auto">
          <a:xfrm>
            <a:off x="7317379" y="1814438"/>
            <a:ext cx="307721" cy="302412"/>
          </a:xfrm>
          <a:custGeom>
            <a:avLst/>
            <a:gdLst>
              <a:gd name="connsiteX0" fmla="*/ 0 w 425450"/>
              <a:gd name="connsiteY0" fmla="*/ 0 h 501650"/>
              <a:gd name="connsiteX1" fmla="*/ 107950 w 425450"/>
              <a:gd name="connsiteY1" fmla="*/ 127000 h 501650"/>
              <a:gd name="connsiteX2" fmla="*/ 196850 w 425450"/>
              <a:gd name="connsiteY2" fmla="*/ 234950 h 501650"/>
              <a:gd name="connsiteX3" fmla="*/ 304800 w 425450"/>
              <a:gd name="connsiteY3" fmla="*/ 273050 h 501650"/>
              <a:gd name="connsiteX4" fmla="*/ 387350 w 425450"/>
              <a:gd name="connsiteY4" fmla="*/ 400050 h 501650"/>
              <a:gd name="connsiteX5" fmla="*/ 425450 w 425450"/>
              <a:gd name="connsiteY5" fmla="*/ 501650 h 501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5450" h="501650">
                <a:moveTo>
                  <a:pt x="0" y="0"/>
                </a:moveTo>
                <a:lnTo>
                  <a:pt x="107950" y="127000"/>
                </a:lnTo>
                <a:cubicBezTo>
                  <a:pt x="140758" y="166158"/>
                  <a:pt x="164042" y="210608"/>
                  <a:pt x="196850" y="234950"/>
                </a:cubicBezTo>
                <a:cubicBezTo>
                  <a:pt x="229658" y="259292"/>
                  <a:pt x="273050" y="245533"/>
                  <a:pt x="304800" y="273050"/>
                </a:cubicBezTo>
                <a:cubicBezTo>
                  <a:pt x="336550" y="300567"/>
                  <a:pt x="367242" y="361950"/>
                  <a:pt x="387350" y="400050"/>
                </a:cubicBezTo>
                <a:cubicBezTo>
                  <a:pt x="407458" y="438150"/>
                  <a:pt x="416454" y="469900"/>
                  <a:pt x="425450" y="501650"/>
                </a:cubicBezTo>
              </a:path>
            </a:pathLst>
          </a:custGeom>
          <a:ln w="762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31" name="Полилиния 430"/>
          <p:cNvSpPr/>
          <p:nvPr/>
        </p:nvSpPr>
        <p:spPr bwMode="auto">
          <a:xfrm>
            <a:off x="7603972" y="2211868"/>
            <a:ext cx="504294" cy="293275"/>
          </a:xfrm>
          <a:custGeom>
            <a:avLst/>
            <a:gdLst>
              <a:gd name="connsiteX0" fmla="*/ 0 w 660400"/>
              <a:gd name="connsiteY0" fmla="*/ 0 h 488950"/>
              <a:gd name="connsiteX1" fmla="*/ 69850 w 660400"/>
              <a:gd name="connsiteY1" fmla="*/ 95250 h 488950"/>
              <a:gd name="connsiteX2" fmla="*/ 120650 w 660400"/>
              <a:gd name="connsiteY2" fmla="*/ 171450 h 488950"/>
              <a:gd name="connsiteX3" fmla="*/ 139700 w 660400"/>
              <a:gd name="connsiteY3" fmla="*/ 254000 h 488950"/>
              <a:gd name="connsiteX4" fmla="*/ 254000 w 660400"/>
              <a:gd name="connsiteY4" fmla="*/ 254000 h 488950"/>
              <a:gd name="connsiteX5" fmla="*/ 412750 w 660400"/>
              <a:gd name="connsiteY5" fmla="*/ 298450 h 488950"/>
              <a:gd name="connsiteX6" fmla="*/ 482600 w 660400"/>
              <a:gd name="connsiteY6" fmla="*/ 393700 h 488950"/>
              <a:gd name="connsiteX7" fmla="*/ 558800 w 660400"/>
              <a:gd name="connsiteY7" fmla="*/ 406400 h 488950"/>
              <a:gd name="connsiteX8" fmla="*/ 596900 w 660400"/>
              <a:gd name="connsiteY8" fmla="*/ 463550 h 488950"/>
              <a:gd name="connsiteX9" fmla="*/ 660400 w 660400"/>
              <a:gd name="connsiteY9" fmla="*/ 488950 h 488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0400" h="488950">
                <a:moveTo>
                  <a:pt x="0" y="0"/>
                </a:moveTo>
                <a:cubicBezTo>
                  <a:pt x="24871" y="33337"/>
                  <a:pt x="49742" y="66675"/>
                  <a:pt x="69850" y="95250"/>
                </a:cubicBezTo>
                <a:cubicBezTo>
                  <a:pt x="89958" y="123825"/>
                  <a:pt x="109008" y="144992"/>
                  <a:pt x="120650" y="171450"/>
                </a:cubicBezTo>
                <a:cubicBezTo>
                  <a:pt x="132292" y="197908"/>
                  <a:pt x="117475" y="240242"/>
                  <a:pt x="139700" y="254000"/>
                </a:cubicBezTo>
                <a:cubicBezTo>
                  <a:pt x="161925" y="267758"/>
                  <a:pt x="208492" y="246592"/>
                  <a:pt x="254000" y="254000"/>
                </a:cubicBezTo>
                <a:cubicBezTo>
                  <a:pt x="299508" y="261408"/>
                  <a:pt x="374650" y="275167"/>
                  <a:pt x="412750" y="298450"/>
                </a:cubicBezTo>
                <a:cubicBezTo>
                  <a:pt x="450850" y="321733"/>
                  <a:pt x="458258" y="375708"/>
                  <a:pt x="482600" y="393700"/>
                </a:cubicBezTo>
                <a:cubicBezTo>
                  <a:pt x="506942" y="411692"/>
                  <a:pt x="539750" y="394758"/>
                  <a:pt x="558800" y="406400"/>
                </a:cubicBezTo>
                <a:cubicBezTo>
                  <a:pt x="577850" y="418042"/>
                  <a:pt x="579967" y="449792"/>
                  <a:pt x="596900" y="463550"/>
                </a:cubicBezTo>
                <a:cubicBezTo>
                  <a:pt x="613833" y="477308"/>
                  <a:pt x="637116" y="483129"/>
                  <a:pt x="660400" y="488950"/>
                </a:cubicBezTo>
              </a:path>
            </a:pathLst>
          </a:custGeom>
          <a:ln w="762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33" name="Овал 432"/>
          <p:cNvSpPr/>
          <p:nvPr/>
        </p:nvSpPr>
        <p:spPr bwMode="auto">
          <a:xfrm>
            <a:off x="7554369" y="2118677"/>
            <a:ext cx="83590" cy="75831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435" name="Полилиния 434"/>
          <p:cNvSpPr/>
          <p:nvPr/>
        </p:nvSpPr>
        <p:spPr bwMode="auto">
          <a:xfrm>
            <a:off x="8189098" y="2530725"/>
            <a:ext cx="220456" cy="187294"/>
          </a:xfrm>
          <a:custGeom>
            <a:avLst/>
            <a:gdLst>
              <a:gd name="connsiteX0" fmla="*/ 0 w 234950"/>
              <a:gd name="connsiteY0" fmla="*/ 0 h 254000"/>
              <a:gd name="connsiteX1" fmla="*/ 69850 w 234950"/>
              <a:gd name="connsiteY1" fmla="*/ 57150 h 254000"/>
              <a:gd name="connsiteX2" fmla="*/ 139700 w 234950"/>
              <a:gd name="connsiteY2" fmla="*/ 127000 h 254000"/>
              <a:gd name="connsiteX3" fmla="*/ 184150 w 234950"/>
              <a:gd name="connsiteY3" fmla="*/ 215900 h 254000"/>
              <a:gd name="connsiteX4" fmla="*/ 234950 w 234950"/>
              <a:gd name="connsiteY4" fmla="*/ 254000 h 25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4950" h="254000">
                <a:moveTo>
                  <a:pt x="0" y="0"/>
                </a:moveTo>
                <a:cubicBezTo>
                  <a:pt x="23283" y="17991"/>
                  <a:pt x="46567" y="35983"/>
                  <a:pt x="69850" y="57150"/>
                </a:cubicBezTo>
                <a:cubicBezTo>
                  <a:pt x="93133" y="78317"/>
                  <a:pt x="120650" y="100542"/>
                  <a:pt x="139700" y="127000"/>
                </a:cubicBezTo>
                <a:cubicBezTo>
                  <a:pt x="158750" y="153458"/>
                  <a:pt x="168275" y="194733"/>
                  <a:pt x="184150" y="215900"/>
                </a:cubicBezTo>
                <a:cubicBezTo>
                  <a:pt x="200025" y="237067"/>
                  <a:pt x="217487" y="245533"/>
                  <a:pt x="234950" y="254000"/>
                </a:cubicBezTo>
              </a:path>
            </a:pathLst>
          </a:custGeom>
          <a:ln w="762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37" name="Полилиния 436"/>
          <p:cNvSpPr/>
          <p:nvPr/>
        </p:nvSpPr>
        <p:spPr bwMode="auto">
          <a:xfrm>
            <a:off x="8428846" y="2707056"/>
            <a:ext cx="728424" cy="311548"/>
          </a:xfrm>
          <a:custGeom>
            <a:avLst/>
            <a:gdLst>
              <a:gd name="connsiteX0" fmla="*/ 0 w 1043940"/>
              <a:gd name="connsiteY0" fmla="*/ 0 h 496570"/>
              <a:gd name="connsiteX1" fmla="*/ 91440 w 1043940"/>
              <a:gd name="connsiteY1" fmla="*/ 60960 h 496570"/>
              <a:gd name="connsiteX2" fmla="*/ 106680 w 1043940"/>
              <a:gd name="connsiteY2" fmla="*/ 121920 h 496570"/>
              <a:gd name="connsiteX3" fmla="*/ 297180 w 1043940"/>
              <a:gd name="connsiteY3" fmla="*/ 266700 h 496570"/>
              <a:gd name="connsiteX4" fmla="*/ 335280 w 1043940"/>
              <a:gd name="connsiteY4" fmla="*/ 373380 h 496570"/>
              <a:gd name="connsiteX5" fmla="*/ 548640 w 1043940"/>
              <a:gd name="connsiteY5" fmla="*/ 464820 h 496570"/>
              <a:gd name="connsiteX6" fmla="*/ 685800 w 1043940"/>
              <a:gd name="connsiteY6" fmla="*/ 457200 h 496570"/>
              <a:gd name="connsiteX7" fmla="*/ 822960 w 1043940"/>
              <a:gd name="connsiteY7" fmla="*/ 487680 h 496570"/>
              <a:gd name="connsiteX8" fmla="*/ 883920 w 1043940"/>
              <a:gd name="connsiteY8" fmla="*/ 403860 h 496570"/>
              <a:gd name="connsiteX9" fmla="*/ 1043940 w 1043940"/>
              <a:gd name="connsiteY9" fmla="*/ 464820 h 4965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43940" h="496570">
                <a:moveTo>
                  <a:pt x="0" y="0"/>
                </a:moveTo>
                <a:cubicBezTo>
                  <a:pt x="36830" y="20320"/>
                  <a:pt x="73660" y="40640"/>
                  <a:pt x="91440" y="60960"/>
                </a:cubicBezTo>
                <a:cubicBezTo>
                  <a:pt x="109220" y="81280"/>
                  <a:pt x="72390" y="87630"/>
                  <a:pt x="106680" y="121920"/>
                </a:cubicBezTo>
                <a:cubicBezTo>
                  <a:pt x="140970" y="156210"/>
                  <a:pt x="259080" y="224790"/>
                  <a:pt x="297180" y="266700"/>
                </a:cubicBezTo>
                <a:cubicBezTo>
                  <a:pt x="335280" y="308610"/>
                  <a:pt x="293370" y="340360"/>
                  <a:pt x="335280" y="373380"/>
                </a:cubicBezTo>
                <a:cubicBezTo>
                  <a:pt x="377190" y="406400"/>
                  <a:pt x="490220" y="450850"/>
                  <a:pt x="548640" y="464820"/>
                </a:cubicBezTo>
                <a:cubicBezTo>
                  <a:pt x="607060" y="478790"/>
                  <a:pt x="640080" y="453390"/>
                  <a:pt x="685800" y="457200"/>
                </a:cubicBezTo>
                <a:cubicBezTo>
                  <a:pt x="731520" y="461010"/>
                  <a:pt x="789940" y="496570"/>
                  <a:pt x="822960" y="487680"/>
                </a:cubicBezTo>
                <a:cubicBezTo>
                  <a:pt x="855980" y="478790"/>
                  <a:pt x="847090" y="407670"/>
                  <a:pt x="883920" y="403860"/>
                </a:cubicBezTo>
                <a:cubicBezTo>
                  <a:pt x="920750" y="400050"/>
                  <a:pt x="982345" y="432435"/>
                  <a:pt x="1043940" y="464820"/>
                </a:cubicBezTo>
              </a:path>
            </a:pathLst>
          </a:custGeom>
          <a:ln w="762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39" name="Полилиния 438"/>
          <p:cNvSpPr/>
          <p:nvPr/>
        </p:nvSpPr>
        <p:spPr bwMode="auto">
          <a:xfrm>
            <a:off x="8406800" y="2573666"/>
            <a:ext cx="66137" cy="133390"/>
          </a:xfrm>
          <a:custGeom>
            <a:avLst/>
            <a:gdLst>
              <a:gd name="connsiteX0" fmla="*/ 112144 w 112144"/>
              <a:gd name="connsiteY0" fmla="*/ 0 h 215660"/>
              <a:gd name="connsiteX1" fmla="*/ 34506 w 112144"/>
              <a:gd name="connsiteY1" fmla="*/ 103517 h 215660"/>
              <a:gd name="connsiteX2" fmla="*/ 0 w 112144"/>
              <a:gd name="connsiteY2" fmla="*/ 215660 h 215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2144" h="215660">
                <a:moveTo>
                  <a:pt x="112144" y="0"/>
                </a:moveTo>
                <a:cubicBezTo>
                  <a:pt x="82670" y="33787"/>
                  <a:pt x="53197" y="67574"/>
                  <a:pt x="34506" y="103517"/>
                </a:cubicBezTo>
                <a:cubicBezTo>
                  <a:pt x="15815" y="139460"/>
                  <a:pt x="7907" y="177560"/>
                  <a:pt x="0" y="215660"/>
                </a:cubicBezTo>
              </a:path>
            </a:pathLst>
          </a:custGeom>
          <a:ln w="762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40" name="Полилиния 439"/>
          <p:cNvSpPr/>
          <p:nvPr/>
        </p:nvSpPr>
        <p:spPr bwMode="auto">
          <a:xfrm>
            <a:off x="7129990" y="2802073"/>
            <a:ext cx="772728" cy="1369111"/>
          </a:xfrm>
          <a:custGeom>
            <a:avLst/>
            <a:gdLst>
              <a:gd name="connsiteX0" fmla="*/ 0 w 1155700"/>
              <a:gd name="connsiteY0" fmla="*/ 0 h 2260600"/>
              <a:gd name="connsiteX1" fmla="*/ 82550 w 1155700"/>
              <a:gd name="connsiteY1" fmla="*/ 120650 h 2260600"/>
              <a:gd name="connsiteX2" fmla="*/ 139700 w 1155700"/>
              <a:gd name="connsiteY2" fmla="*/ 336550 h 2260600"/>
              <a:gd name="connsiteX3" fmla="*/ 190500 w 1155700"/>
              <a:gd name="connsiteY3" fmla="*/ 412750 h 2260600"/>
              <a:gd name="connsiteX4" fmla="*/ 228600 w 1155700"/>
              <a:gd name="connsiteY4" fmla="*/ 615950 h 2260600"/>
              <a:gd name="connsiteX5" fmla="*/ 260350 w 1155700"/>
              <a:gd name="connsiteY5" fmla="*/ 692150 h 2260600"/>
              <a:gd name="connsiteX6" fmla="*/ 342900 w 1155700"/>
              <a:gd name="connsiteY6" fmla="*/ 844550 h 2260600"/>
              <a:gd name="connsiteX7" fmla="*/ 508000 w 1155700"/>
              <a:gd name="connsiteY7" fmla="*/ 990600 h 2260600"/>
              <a:gd name="connsiteX8" fmla="*/ 539750 w 1155700"/>
              <a:gd name="connsiteY8" fmla="*/ 1168400 h 2260600"/>
              <a:gd name="connsiteX9" fmla="*/ 463550 w 1155700"/>
              <a:gd name="connsiteY9" fmla="*/ 1225550 h 2260600"/>
              <a:gd name="connsiteX10" fmla="*/ 355600 w 1155700"/>
              <a:gd name="connsiteY10" fmla="*/ 1352550 h 2260600"/>
              <a:gd name="connsiteX11" fmla="*/ 285750 w 1155700"/>
              <a:gd name="connsiteY11" fmla="*/ 1466850 h 2260600"/>
              <a:gd name="connsiteX12" fmla="*/ 285750 w 1155700"/>
              <a:gd name="connsiteY12" fmla="*/ 1543050 h 2260600"/>
              <a:gd name="connsiteX13" fmla="*/ 203200 w 1155700"/>
              <a:gd name="connsiteY13" fmla="*/ 1619250 h 2260600"/>
              <a:gd name="connsiteX14" fmla="*/ 304800 w 1155700"/>
              <a:gd name="connsiteY14" fmla="*/ 1816100 h 2260600"/>
              <a:gd name="connsiteX15" fmla="*/ 488950 w 1155700"/>
              <a:gd name="connsiteY15" fmla="*/ 2000250 h 2260600"/>
              <a:gd name="connsiteX16" fmla="*/ 635000 w 1155700"/>
              <a:gd name="connsiteY16" fmla="*/ 2082800 h 2260600"/>
              <a:gd name="connsiteX17" fmla="*/ 774700 w 1155700"/>
              <a:gd name="connsiteY17" fmla="*/ 2120900 h 2260600"/>
              <a:gd name="connsiteX18" fmla="*/ 965200 w 1155700"/>
              <a:gd name="connsiteY18" fmla="*/ 2247900 h 2260600"/>
              <a:gd name="connsiteX19" fmla="*/ 1060450 w 1155700"/>
              <a:gd name="connsiteY19" fmla="*/ 2197100 h 2260600"/>
              <a:gd name="connsiteX20" fmla="*/ 1155700 w 1155700"/>
              <a:gd name="connsiteY20" fmla="*/ 2228850 h 226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155700" h="2260600">
                <a:moveTo>
                  <a:pt x="0" y="0"/>
                </a:moveTo>
                <a:cubicBezTo>
                  <a:pt x="29633" y="32279"/>
                  <a:pt x="59267" y="64558"/>
                  <a:pt x="82550" y="120650"/>
                </a:cubicBezTo>
                <a:cubicBezTo>
                  <a:pt x="105833" y="176742"/>
                  <a:pt x="121708" y="287867"/>
                  <a:pt x="139700" y="336550"/>
                </a:cubicBezTo>
                <a:cubicBezTo>
                  <a:pt x="157692" y="385233"/>
                  <a:pt x="175683" y="366183"/>
                  <a:pt x="190500" y="412750"/>
                </a:cubicBezTo>
                <a:cubicBezTo>
                  <a:pt x="205317" y="459317"/>
                  <a:pt x="216958" y="569383"/>
                  <a:pt x="228600" y="615950"/>
                </a:cubicBezTo>
                <a:cubicBezTo>
                  <a:pt x="240242" y="662517"/>
                  <a:pt x="241300" y="654050"/>
                  <a:pt x="260350" y="692150"/>
                </a:cubicBezTo>
                <a:cubicBezTo>
                  <a:pt x="279400" y="730250"/>
                  <a:pt x="301625" y="794808"/>
                  <a:pt x="342900" y="844550"/>
                </a:cubicBezTo>
                <a:cubicBezTo>
                  <a:pt x="384175" y="894292"/>
                  <a:pt x="475192" y="936625"/>
                  <a:pt x="508000" y="990600"/>
                </a:cubicBezTo>
                <a:cubicBezTo>
                  <a:pt x="540808" y="1044575"/>
                  <a:pt x="547158" y="1129242"/>
                  <a:pt x="539750" y="1168400"/>
                </a:cubicBezTo>
                <a:cubicBezTo>
                  <a:pt x="532342" y="1207558"/>
                  <a:pt x="494242" y="1194858"/>
                  <a:pt x="463550" y="1225550"/>
                </a:cubicBezTo>
                <a:cubicBezTo>
                  <a:pt x="432858" y="1256242"/>
                  <a:pt x="385233" y="1312334"/>
                  <a:pt x="355600" y="1352550"/>
                </a:cubicBezTo>
                <a:cubicBezTo>
                  <a:pt x="325967" y="1392766"/>
                  <a:pt x="297392" y="1435100"/>
                  <a:pt x="285750" y="1466850"/>
                </a:cubicBezTo>
                <a:cubicBezTo>
                  <a:pt x="274108" y="1498600"/>
                  <a:pt x="299508" y="1517650"/>
                  <a:pt x="285750" y="1543050"/>
                </a:cubicBezTo>
                <a:cubicBezTo>
                  <a:pt x="271992" y="1568450"/>
                  <a:pt x="200025" y="1573742"/>
                  <a:pt x="203200" y="1619250"/>
                </a:cubicBezTo>
                <a:cubicBezTo>
                  <a:pt x="206375" y="1664758"/>
                  <a:pt x="257175" y="1752600"/>
                  <a:pt x="304800" y="1816100"/>
                </a:cubicBezTo>
                <a:cubicBezTo>
                  <a:pt x="352425" y="1879600"/>
                  <a:pt x="433917" y="1955800"/>
                  <a:pt x="488950" y="2000250"/>
                </a:cubicBezTo>
                <a:cubicBezTo>
                  <a:pt x="543983" y="2044700"/>
                  <a:pt x="587375" y="2062692"/>
                  <a:pt x="635000" y="2082800"/>
                </a:cubicBezTo>
                <a:cubicBezTo>
                  <a:pt x="682625" y="2102908"/>
                  <a:pt x="719667" y="2093383"/>
                  <a:pt x="774700" y="2120900"/>
                </a:cubicBezTo>
                <a:cubicBezTo>
                  <a:pt x="829733" y="2148417"/>
                  <a:pt x="917575" y="2235200"/>
                  <a:pt x="965200" y="2247900"/>
                </a:cubicBezTo>
                <a:cubicBezTo>
                  <a:pt x="1012825" y="2260600"/>
                  <a:pt x="1028700" y="2200275"/>
                  <a:pt x="1060450" y="2197100"/>
                </a:cubicBezTo>
                <a:cubicBezTo>
                  <a:pt x="1092200" y="2193925"/>
                  <a:pt x="1123950" y="2211387"/>
                  <a:pt x="1155700" y="2228850"/>
                </a:cubicBezTo>
              </a:path>
            </a:pathLst>
          </a:cu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441" name="Полилиния 440"/>
          <p:cNvSpPr/>
          <p:nvPr/>
        </p:nvSpPr>
        <p:spPr bwMode="auto">
          <a:xfrm>
            <a:off x="5236822" y="2538418"/>
            <a:ext cx="1578100" cy="339487"/>
          </a:xfrm>
          <a:custGeom>
            <a:avLst/>
            <a:gdLst>
              <a:gd name="connsiteX0" fmla="*/ 2216989 w 2216989"/>
              <a:gd name="connsiteY0" fmla="*/ 0 h 547777"/>
              <a:gd name="connsiteX1" fmla="*/ 2070340 w 2216989"/>
              <a:gd name="connsiteY1" fmla="*/ 86264 h 547777"/>
              <a:gd name="connsiteX2" fmla="*/ 1820174 w 2216989"/>
              <a:gd name="connsiteY2" fmla="*/ 155276 h 547777"/>
              <a:gd name="connsiteX3" fmla="*/ 1630393 w 2216989"/>
              <a:gd name="connsiteY3" fmla="*/ 146649 h 547777"/>
              <a:gd name="connsiteX4" fmla="*/ 1431985 w 2216989"/>
              <a:gd name="connsiteY4" fmla="*/ 293298 h 547777"/>
              <a:gd name="connsiteX5" fmla="*/ 1259457 w 2216989"/>
              <a:gd name="connsiteY5" fmla="*/ 293298 h 547777"/>
              <a:gd name="connsiteX6" fmla="*/ 1155940 w 2216989"/>
              <a:gd name="connsiteY6" fmla="*/ 241540 h 547777"/>
              <a:gd name="connsiteX7" fmla="*/ 1061049 w 2216989"/>
              <a:gd name="connsiteY7" fmla="*/ 345057 h 547777"/>
              <a:gd name="connsiteX8" fmla="*/ 905774 w 2216989"/>
              <a:gd name="connsiteY8" fmla="*/ 388189 h 547777"/>
              <a:gd name="connsiteX9" fmla="*/ 672861 w 2216989"/>
              <a:gd name="connsiteY9" fmla="*/ 543464 h 547777"/>
              <a:gd name="connsiteX10" fmla="*/ 319178 w 2216989"/>
              <a:gd name="connsiteY10" fmla="*/ 414068 h 547777"/>
              <a:gd name="connsiteX11" fmla="*/ 189781 w 2216989"/>
              <a:gd name="connsiteY11" fmla="*/ 362310 h 547777"/>
              <a:gd name="connsiteX12" fmla="*/ 0 w 2216989"/>
              <a:gd name="connsiteY12" fmla="*/ 336430 h 547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16989" h="547777">
                <a:moveTo>
                  <a:pt x="2216989" y="0"/>
                </a:moveTo>
                <a:cubicBezTo>
                  <a:pt x="2176732" y="30192"/>
                  <a:pt x="2136476" y="60385"/>
                  <a:pt x="2070340" y="86264"/>
                </a:cubicBezTo>
                <a:cubicBezTo>
                  <a:pt x="2004204" y="112143"/>
                  <a:pt x="1893498" y="145212"/>
                  <a:pt x="1820174" y="155276"/>
                </a:cubicBezTo>
                <a:cubicBezTo>
                  <a:pt x="1746850" y="165340"/>
                  <a:pt x="1695091" y="123645"/>
                  <a:pt x="1630393" y="146649"/>
                </a:cubicBezTo>
                <a:cubicBezTo>
                  <a:pt x="1565695" y="169653"/>
                  <a:pt x="1493808" y="268857"/>
                  <a:pt x="1431985" y="293298"/>
                </a:cubicBezTo>
                <a:cubicBezTo>
                  <a:pt x="1370162" y="317739"/>
                  <a:pt x="1305464" y="301924"/>
                  <a:pt x="1259457" y="293298"/>
                </a:cubicBezTo>
                <a:cubicBezTo>
                  <a:pt x="1213450" y="284672"/>
                  <a:pt x="1189008" y="232914"/>
                  <a:pt x="1155940" y="241540"/>
                </a:cubicBezTo>
                <a:cubicBezTo>
                  <a:pt x="1122872" y="250166"/>
                  <a:pt x="1102743" y="320616"/>
                  <a:pt x="1061049" y="345057"/>
                </a:cubicBezTo>
                <a:cubicBezTo>
                  <a:pt x="1019355" y="369498"/>
                  <a:pt x="970472" y="355121"/>
                  <a:pt x="905774" y="388189"/>
                </a:cubicBezTo>
                <a:cubicBezTo>
                  <a:pt x="841076" y="421257"/>
                  <a:pt x="770627" y="539151"/>
                  <a:pt x="672861" y="543464"/>
                </a:cubicBezTo>
                <a:cubicBezTo>
                  <a:pt x="575095" y="547777"/>
                  <a:pt x="399691" y="444260"/>
                  <a:pt x="319178" y="414068"/>
                </a:cubicBezTo>
                <a:cubicBezTo>
                  <a:pt x="238665" y="383876"/>
                  <a:pt x="242977" y="375250"/>
                  <a:pt x="189781" y="362310"/>
                </a:cubicBezTo>
                <a:cubicBezTo>
                  <a:pt x="136585" y="349370"/>
                  <a:pt x="68292" y="342900"/>
                  <a:pt x="0" y="336430"/>
                </a:cubicBezTo>
              </a:path>
            </a:pathLst>
          </a:custGeom>
          <a:ln w="762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42" name="Полилиния 441"/>
          <p:cNvSpPr/>
          <p:nvPr/>
        </p:nvSpPr>
        <p:spPr bwMode="auto">
          <a:xfrm>
            <a:off x="3275680" y="3176663"/>
            <a:ext cx="496945" cy="115117"/>
          </a:xfrm>
          <a:custGeom>
            <a:avLst/>
            <a:gdLst>
              <a:gd name="connsiteX0" fmla="*/ 0 w 793750"/>
              <a:gd name="connsiteY0" fmla="*/ 121708 h 172508"/>
              <a:gd name="connsiteX1" fmla="*/ 107950 w 793750"/>
              <a:gd name="connsiteY1" fmla="*/ 166158 h 172508"/>
              <a:gd name="connsiteX2" fmla="*/ 215900 w 793750"/>
              <a:gd name="connsiteY2" fmla="*/ 134408 h 172508"/>
              <a:gd name="connsiteX3" fmla="*/ 349250 w 793750"/>
              <a:gd name="connsiteY3" fmla="*/ 166158 h 172508"/>
              <a:gd name="connsiteX4" fmla="*/ 469900 w 793750"/>
              <a:gd name="connsiteY4" fmla="*/ 96308 h 172508"/>
              <a:gd name="connsiteX5" fmla="*/ 590550 w 793750"/>
              <a:gd name="connsiteY5" fmla="*/ 45508 h 172508"/>
              <a:gd name="connsiteX6" fmla="*/ 622300 w 793750"/>
              <a:gd name="connsiteY6" fmla="*/ 1058 h 172508"/>
              <a:gd name="connsiteX7" fmla="*/ 717550 w 793750"/>
              <a:gd name="connsiteY7" fmla="*/ 39158 h 172508"/>
              <a:gd name="connsiteX8" fmla="*/ 793750 w 793750"/>
              <a:gd name="connsiteY8" fmla="*/ 121708 h 172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93750" h="172508">
                <a:moveTo>
                  <a:pt x="0" y="121708"/>
                </a:moveTo>
                <a:cubicBezTo>
                  <a:pt x="35983" y="142874"/>
                  <a:pt x="71967" y="164041"/>
                  <a:pt x="107950" y="166158"/>
                </a:cubicBezTo>
                <a:cubicBezTo>
                  <a:pt x="143933" y="168275"/>
                  <a:pt x="175683" y="134408"/>
                  <a:pt x="215900" y="134408"/>
                </a:cubicBezTo>
                <a:cubicBezTo>
                  <a:pt x="256117" y="134408"/>
                  <a:pt x="306917" y="172508"/>
                  <a:pt x="349250" y="166158"/>
                </a:cubicBezTo>
                <a:cubicBezTo>
                  <a:pt x="391583" y="159808"/>
                  <a:pt x="429683" y="116416"/>
                  <a:pt x="469900" y="96308"/>
                </a:cubicBezTo>
                <a:cubicBezTo>
                  <a:pt x="510117" y="76200"/>
                  <a:pt x="565150" y="61383"/>
                  <a:pt x="590550" y="45508"/>
                </a:cubicBezTo>
                <a:cubicBezTo>
                  <a:pt x="615950" y="29633"/>
                  <a:pt x="601133" y="2116"/>
                  <a:pt x="622300" y="1058"/>
                </a:cubicBezTo>
                <a:cubicBezTo>
                  <a:pt x="643467" y="0"/>
                  <a:pt x="688975" y="19050"/>
                  <a:pt x="717550" y="39158"/>
                </a:cubicBezTo>
                <a:cubicBezTo>
                  <a:pt x="746125" y="59266"/>
                  <a:pt x="769937" y="90487"/>
                  <a:pt x="793750" y="121708"/>
                </a:cubicBezTo>
              </a:path>
            </a:pathLst>
          </a:custGeom>
          <a:ln w="762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43" name="Овал 442"/>
          <p:cNvSpPr/>
          <p:nvPr/>
        </p:nvSpPr>
        <p:spPr bwMode="auto">
          <a:xfrm>
            <a:off x="3760683" y="3173922"/>
            <a:ext cx="83590" cy="75831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445" name="Полилиния 444"/>
          <p:cNvSpPr/>
          <p:nvPr/>
        </p:nvSpPr>
        <p:spPr bwMode="auto">
          <a:xfrm>
            <a:off x="7236545" y="3914876"/>
            <a:ext cx="106554" cy="595687"/>
          </a:xfrm>
          <a:custGeom>
            <a:avLst/>
            <a:gdLst>
              <a:gd name="connsiteX0" fmla="*/ 126206 w 141288"/>
              <a:gd name="connsiteY0" fmla="*/ 0 h 762000"/>
              <a:gd name="connsiteX1" fmla="*/ 102394 w 141288"/>
              <a:gd name="connsiteY1" fmla="*/ 66675 h 762000"/>
              <a:gd name="connsiteX2" fmla="*/ 130969 w 141288"/>
              <a:gd name="connsiteY2" fmla="*/ 204787 h 762000"/>
              <a:gd name="connsiteX3" fmla="*/ 40481 w 141288"/>
              <a:gd name="connsiteY3" fmla="*/ 319087 h 762000"/>
              <a:gd name="connsiteX4" fmla="*/ 88106 w 141288"/>
              <a:gd name="connsiteY4" fmla="*/ 371475 h 762000"/>
              <a:gd name="connsiteX5" fmla="*/ 116681 w 141288"/>
              <a:gd name="connsiteY5" fmla="*/ 452437 h 762000"/>
              <a:gd name="connsiteX6" fmla="*/ 107156 w 141288"/>
              <a:gd name="connsiteY6" fmla="*/ 557212 h 762000"/>
              <a:gd name="connsiteX7" fmla="*/ 54769 w 141288"/>
              <a:gd name="connsiteY7" fmla="*/ 642937 h 762000"/>
              <a:gd name="connsiteX8" fmla="*/ 7144 w 141288"/>
              <a:gd name="connsiteY8" fmla="*/ 661987 h 762000"/>
              <a:gd name="connsiteX9" fmla="*/ 11906 w 141288"/>
              <a:gd name="connsiteY9" fmla="*/ 762000 h 76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288" h="762000">
                <a:moveTo>
                  <a:pt x="126206" y="0"/>
                </a:moveTo>
                <a:cubicBezTo>
                  <a:pt x="113903" y="16272"/>
                  <a:pt x="101600" y="32544"/>
                  <a:pt x="102394" y="66675"/>
                </a:cubicBezTo>
                <a:cubicBezTo>
                  <a:pt x="103188" y="100806"/>
                  <a:pt x="141288" y="162718"/>
                  <a:pt x="130969" y="204787"/>
                </a:cubicBezTo>
                <a:cubicBezTo>
                  <a:pt x="120650" y="246856"/>
                  <a:pt x="47625" y="291306"/>
                  <a:pt x="40481" y="319087"/>
                </a:cubicBezTo>
                <a:cubicBezTo>
                  <a:pt x="33337" y="346868"/>
                  <a:pt x="75406" y="349250"/>
                  <a:pt x="88106" y="371475"/>
                </a:cubicBezTo>
                <a:cubicBezTo>
                  <a:pt x="100806" y="393700"/>
                  <a:pt x="113506" y="421481"/>
                  <a:pt x="116681" y="452437"/>
                </a:cubicBezTo>
                <a:cubicBezTo>
                  <a:pt x="119856" y="483393"/>
                  <a:pt x="117475" y="525462"/>
                  <a:pt x="107156" y="557212"/>
                </a:cubicBezTo>
                <a:cubicBezTo>
                  <a:pt x="96837" y="588962"/>
                  <a:pt x="71438" y="625475"/>
                  <a:pt x="54769" y="642937"/>
                </a:cubicBezTo>
                <a:cubicBezTo>
                  <a:pt x="38100" y="660399"/>
                  <a:pt x="14288" y="642143"/>
                  <a:pt x="7144" y="661987"/>
                </a:cubicBezTo>
                <a:cubicBezTo>
                  <a:pt x="0" y="681831"/>
                  <a:pt x="5953" y="721915"/>
                  <a:pt x="11906" y="762000"/>
                </a:cubicBezTo>
              </a:path>
            </a:pathLst>
          </a:custGeom>
          <a:ln w="762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300" name="TextBox 8"/>
          <p:cNvSpPr txBox="1">
            <a:spLocks noChangeArrowheads="1"/>
          </p:cNvSpPr>
          <p:nvPr/>
        </p:nvSpPr>
        <p:spPr bwMode="auto">
          <a:xfrm>
            <a:off x="6303290" y="3298052"/>
            <a:ext cx="65274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altLang="ru-RU" sz="900" dirty="0" err="1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Жезказган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301" name="TextBox 10"/>
          <p:cNvSpPr txBox="1">
            <a:spLocks noChangeArrowheads="1"/>
          </p:cNvSpPr>
          <p:nvPr/>
        </p:nvSpPr>
        <p:spPr bwMode="auto">
          <a:xfrm>
            <a:off x="6512378" y="1800377"/>
            <a:ext cx="6046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ru-RU" altLang="ru-RU" sz="900" dirty="0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Кокшетау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302" name="TextBox 11"/>
          <p:cNvSpPr txBox="1">
            <a:spLocks noChangeArrowheads="1"/>
          </p:cNvSpPr>
          <p:nvPr/>
        </p:nvSpPr>
        <p:spPr bwMode="auto">
          <a:xfrm>
            <a:off x="6474451" y="1486591"/>
            <a:ext cx="84189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ru-RU" altLang="ru-RU" sz="900" dirty="0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Петропавловск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303" name="TextBox 12"/>
          <p:cNvSpPr txBox="1">
            <a:spLocks noChangeArrowheads="1"/>
          </p:cNvSpPr>
          <p:nvPr/>
        </p:nvSpPr>
        <p:spPr bwMode="auto">
          <a:xfrm>
            <a:off x="5678493" y="1746232"/>
            <a:ext cx="59343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ru-RU" altLang="ru-RU" sz="900" dirty="0" err="1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Костанай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304" name="Овал 303"/>
          <p:cNvSpPr/>
          <p:nvPr/>
        </p:nvSpPr>
        <p:spPr bwMode="auto">
          <a:xfrm>
            <a:off x="5713558" y="1993512"/>
            <a:ext cx="83590" cy="75833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305" name="Прямоугольник 15"/>
          <p:cNvSpPr>
            <a:spLocks noChangeArrowheads="1"/>
          </p:cNvSpPr>
          <p:nvPr/>
        </p:nvSpPr>
        <p:spPr bwMode="auto">
          <a:xfrm>
            <a:off x="8405121" y="2311271"/>
            <a:ext cx="98135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altLang="ru-RU" sz="900" dirty="0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Усть-Каменогорск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306" name="Прямоугольник 17"/>
          <p:cNvSpPr>
            <a:spLocks noChangeArrowheads="1"/>
          </p:cNvSpPr>
          <p:nvPr/>
        </p:nvSpPr>
        <p:spPr bwMode="auto">
          <a:xfrm>
            <a:off x="8024877" y="2308715"/>
            <a:ext cx="47320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altLang="ru-RU" sz="900" dirty="0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Семей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307" name="Прямоугольник 20"/>
          <p:cNvSpPr>
            <a:spLocks noChangeArrowheads="1"/>
          </p:cNvSpPr>
          <p:nvPr/>
        </p:nvSpPr>
        <p:spPr bwMode="auto">
          <a:xfrm>
            <a:off x="8001271" y="3714648"/>
            <a:ext cx="74571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altLang="ru-RU" sz="900" dirty="0" err="1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Талдыкорган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308" name="Прямоугольник 21"/>
          <p:cNvSpPr>
            <a:spLocks noChangeArrowheads="1"/>
          </p:cNvSpPr>
          <p:nvPr/>
        </p:nvSpPr>
        <p:spPr bwMode="auto">
          <a:xfrm>
            <a:off x="6762055" y="4146381"/>
            <a:ext cx="4347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altLang="ru-RU" sz="900" dirty="0" err="1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Тараз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309" name="Прямоугольник 22"/>
          <p:cNvSpPr>
            <a:spLocks noChangeArrowheads="1"/>
          </p:cNvSpPr>
          <p:nvPr/>
        </p:nvSpPr>
        <p:spPr bwMode="auto">
          <a:xfrm>
            <a:off x="6048636" y="4528184"/>
            <a:ext cx="60625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altLang="ru-RU" sz="900" dirty="0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Шымкент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311" name="Прямоугольник 24"/>
          <p:cNvSpPr>
            <a:spLocks noChangeArrowheads="1"/>
          </p:cNvSpPr>
          <p:nvPr/>
        </p:nvSpPr>
        <p:spPr bwMode="auto">
          <a:xfrm>
            <a:off x="3225568" y="3863224"/>
            <a:ext cx="42191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altLang="ru-RU" sz="900" dirty="0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Актау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312" name="Прямоугольник 26"/>
          <p:cNvSpPr>
            <a:spLocks noChangeArrowheads="1"/>
          </p:cNvSpPr>
          <p:nvPr/>
        </p:nvSpPr>
        <p:spPr bwMode="auto">
          <a:xfrm>
            <a:off x="3359801" y="2949780"/>
            <a:ext cx="4972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altLang="ru-RU" sz="900" dirty="0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Атырау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313" name="Прямоугольник 27"/>
          <p:cNvSpPr>
            <a:spLocks noChangeArrowheads="1"/>
          </p:cNvSpPr>
          <p:nvPr/>
        </p:nvSpPr>
        <p:spPr bwMode="auto">
          <a:xfrm>
            <a:off x="3890578" y="2011802"/>
            <a:ext cx="52931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altLang="ru-RU" sz="900" dirty="0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Уральск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314" name="Прямоугольник 28"/>
          <p:cNvSpPr>
            <a:spLocks noChangeArrowheads="1"/>
          </p:cNvSpPr>
          <p:nvPr/>
        </p:nvSpPr>
        <p:spPr bwMode="auto">
          <a:xfrm>
            <a:off x="4734372" y="2389872"/>
            <a:ext cx="48442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altLang="ru-RU" sz="900" dirty="0" err="1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Актобе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316" name="Шестиугольник 4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891179">
            <a:off x="3759765" y="3826253"/>
            <a:ext cx="112066" cy="87709"/>
          </a:xfrm>
          <a:prstGeom prst="hexagon">
            <a:avLst>
              <a:gd name="adj" fmla="val 32148"/>
              <a:gd name="vf" fmla="val 115470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txBody>
          <a:bodyPr lIns="72000" tIns="0" rIns="7200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317" name="Шестиугольник 21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891179">
            <a:off x="3767774" y="3834118"/>
            <a:ext cx="96899" cy="72584"/>
          </a:xfrm>
          <a:prstGeom prst="hexagon">
            <a:avLst>
              <a:gd name="adj" fmla="val 32163"/>
              <a:gd name="vf" fmla="val 115470"/>
            </a:avLst>
          </a:prstGeom>
          <a:solidFill>
            <a:srgbClr val="C2E49C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endParaRPr lang="ru-RU" altLang="ru-RU" sz="1600">
              <a:solidFill>
                <a:srgbClr val="000000"/>
              </a:solidFill>
            </a:endParaRPr>
          </a:p>
        </p:txBody>
      </p:sp>
      <p:pic>
        <p:nvPicPr>
          <p:cNvPr id="318" name="Рисунок 317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781308" y="3847090"/>
            <a:ext cx="69831" cy="466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20" name="Шестиугольник 4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891179">
            <a:off x="3926026" y="3017691"/>
            <a:ext cx="112066" cy="87709"/>
          </a:xfrm>
          <a:prstGeom prst="hexagon">
            <a:avLst>
              <a:gd name="adj" fmla="val 32148"/>
              <a:gd name="vf" fmla="val 115470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txBody>
          <a:bodyPr lIns="72000" tIns="0" rIns="7200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321" name="Шестиугольник 21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891179">
            <a:off x="3933375" y="3025073"/>
            <a:ext cx="96899" cy="72584"/>
          </a:xfrm>
          <a:prstGeom prst="hexagon">
            <a:avLst>
              <a:gd name="adj" fmla="val 32163"/>
              <a:gd name="vf" fmla="val 115470"/>
            </a:avLst>
          </a:prstGeom>
          <a:solidFill>
            <a:srgbClr val="C2E49C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endParaRPr lang="ru-RU" altLang="ru-RU" sz="1600">
              <a:solidFill>
                <a:srgbClr val="000000"/>
              </a:solidFill>
            </a:endParaRPr>
          </a:p>
        </p:txBody>
      </p:sp>
      <p:pic>
        <p:nvPicPr>
          <p:cNvPr id="322" name="Рисунок 321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946910" y="3038046"/>
            <a:ext cx="69831" cy="466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23" name="Шестиугольник 4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1891179">
            <a:off x="3961850" y="2490525"/>
            <a:ext cx="112066" cy="87709"/>
          </a:xfrm>
          <a:prstGeom prst="hexagon">
            <a:avLst>
              <a:gd name="adj" fmla="val 32148"/>
              <a:gd name="vf" fmla="val 115470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txBody>
          <a:bodyPr lIns="72000" tIns="0" rIns="7200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324" name="Шестиугольник 21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1891179">
            <a:off x="3969267" y="2498277"/>
            <a:ext cx="96899" cy="72584"/>
          </a:xfrm>
          <a:prstGeom prst="hexagon">
            <a:avLst>
              <a:gd name="adj" fmla="val 32163"/>
              <a:gd name="vf" fmla="val 115470"/>
            </a:avLst>
          </a:prstGeom>
          <a:solidFill>
            <a:srgbClr val="C2E49C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endParaRPr lang="ru-RU" altLang="ru-RU" sz="1600">
              <a:solidFill>
                <a:srgbClr val="000000"/>
              </a:solidFill>
            </a:endParaRPr>
          </a:p>
        </p:txBody>
      </p:sp>
      <p:pic>
        <p:nvPicPr>
          <p:cNvPr id="325" name="Рисунок 324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982802" y="2511249"/>
            <a:ext cx="69831" cy="466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26" name="Шестиугольник 4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1891179">
            <a:off x="5142209" y="2944601"/>
            <a:ext cx="112066" cy="87709"/>
          </a:xfrm>
          <a:prstGeom prst="hexagon">
            <a:avLst>
              <a:gd name="adj" fmla="val 32148"/>
              <a:gd name="vf" fmla="val 115470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txBody>
          <a:bodyPr lIns="72000" tIns="0" rIns="7200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327" name="Шестиугольник 21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rot="1891179">
            <a:off x="5149636" y="2952374"/>
            <a:ext cx="96899" cy="72584"/>
          </a:xfrm>
          <a:prstGeom prst="hexagon">
            <a:avLst>
              <a:gd name="adj" fmla="val 32163"/>
              <a:gd name="vf" fmla="val 115470"/>
            </a:avLst>
          </a:prstGeom>
          <a:solidFill>
            <a:srgbClr val="C2E49C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endParaRPr lang="ru-RU" altLang="ru-RU" sz="1600">
              <a:solidFill>
                <a:srgbClr val="000000"/>
              </a:solidFill>
            </a:endParaRPr>
          </a:p>
        </p:txBody>
      </p:sp>
      <p:pic>
        <p:nvPicPr>
          <p:cNvPr id="328" name="Рисунок 327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63171" y="2965345"/>
            <a:ext cx="69831" cy="466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31" name="Шестиугольник 4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 rot="1891179">
            <a:off x="5538112" y="3621601"/>
            <a:ext cx="112066" cy="87709"/>
          </a:xfrm>
          <a:prstGeom prst="hexagon">
            <a:avLst>
              <a:gd name="adj" fmla="val 32148"/>
              <a:gd name="vf" fmla="val 115470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txBody>
          <a:bodyPr lIns="72000" tIns="0" rIns="7200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332" name="Шестиугольник 217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1891179">
            <a:off x="5545383" y="3629047"/>
            <a:ext cx="96899" cy="72584"/>
          </a:xfrm>
          <a:prstGeom prst="hexagon">
            <a:avLst>
              <a:gd name="adj" fmla="val 32163"/>
              <a:gd name="vf" fmla="val 115470"/>
            </a:avLst>
          </a:prstGeom>
          <a:solidFill>
            <a:srgbClr val="C2E49C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endParaRPr lang="ru-RU" altLang="ru-RU" sz="1600">
              <a:solidFill>
                <a:srgbClr val="000000"/>
              </a:solidFill>
            </a:endParaRPr>
          </a:p>
        </p:txBody>
      </p:sp>
      <p:pic>
        <p:nvPicPr>
          <p:cNvPr id="333" name="Рисунок 332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558919" y="3642019"/>
            <a:ext cx="69831" cy="466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34" name="Шестиугольник 21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1891179">
            <a:off x="6380533" y="4501025"/>
            <a:ext cx="96899" cy="72584"/>
          </a:xfrm>
          <a:prstGeom prst="hexagon">
            <a:avLst>
              <a:gd name="adj" fmla="val 32163"/>
              <a:gd name="vf" fmla="val 115470"/>
            </a:avLst>
          </a:prstGeom>
          <a:solidFill>
            <a:srgbClr val="C2E49C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endParaRPr lang="ru-RU" altLang="ru-RU" sz="1600">
              <a:solidFill>
                <a:srgbClr val="000000"/>
              </a:solidFill>
            </a:endParaRPr>
          </a:p>
        </p:txBody>
      </p:sp>
      <p:sp>
        <p:nvSpPr>
          <p:cNvPr id="336" name="Шестиугольник 4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1891179">
            <a:off x="7095085" y="4277588"/>
            <a:ext cx="112066" cy="87709"/>
          </a:xfrm>
          <a:prstGeom prst="hexagon">
            <a:avLst>
              <a:gd name="adj" fmla="val 32148"/>
              <a:gd name="vf" fmla="val 115470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txBody>
          <a:bodyPr lIns="72000" tIns="0" rIns="7200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340" name="Шестиугольник 42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1891179">
            <a:off x="8342499" y="4174347"/>
            <a:ext cx="112066" cy="87709"/>
          </a:xfrm>
          <a:prstGeom prst="hexagon">
            <a:avLst>
              <a:gd name="adj" fmla="val 32148"/>
              <a:gd name="vf" fmla="val 115470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txBody>
          <a:bodyPr lIns="72000" tIns="0" rIns="7200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341" name="Шестиугольник 21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1891179">
            <a:off x="8350137" y="4182124"/>
            <a:ext cx="96899" cy="72584"/>
          </a:xfrm>
          <a:prstGeom prst="hexagon">
            <a:avLst>
              <a:gd name="adj" fmla="val 32163"/>
              <a:gd name="vf" fmla="val 115470"/>
            </a:avLst>
          </a:prstGeom>
          <a:solidFill>
            <a:srgbClr val="C2E49C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endParaRPr lang="ru-RU" altLang="ru-RU" sz="1600">
              <a:solidFill>
                <a:srgbClr val="000000"/>
              </a:solidFill>
            </a:endParaRPr>
          </a:p>
        </p:txBody>
      </p:sp>
      <p:pic>
        <p:nvPicPr>
          <p:cNvPr id="342" name="Рисунок 341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63672" y="4195096"/>
            <a:ext cx="69831" cy="466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44" name="Шестиугольник 4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 rot="1891179">
            <a:off x="7408316" y="3756818"/>
            <a:ext cx="112066" cy="87709"/>
          </a:xfrm>
          <a:prstGeom prst="hexagon">
            <a:avLst>
              <a:gd name="adj" fmla="val 32148"/>
              <a:gd name="vf" fmla="val 115470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txBody>
          <a:bodyPr lIns="72000" tIns="0" rIns="7200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346" name="Шестиугольник 217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 rot="1891179">
            <a:off x="7416092" y="3764666"/>
            <a:ext cx="96899" cy="72584"/>
          </a:xfrm>
          <a:prstGeom prst="hexagon">
            <a:avLst>
              <a:gd name="adj" fmla="val 32163"/>
              <a:gd name="vf" fmla="val 115470"/>
            </a:avLst>
          </a:prstGeom>
          <a:solidFill>
            <a:srgbClr val="C2E49C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endParaRPr lang="ru-RU" altLang="ru-RU" sz="1600">
              <a:solidFill>
                <a:srgbClr val="000000"/>
              </a:solidFill>
            </a:endParaRPr>
          </a:p>
        </p:txBody>
      </p:sp>
      <p:pic>
        <p:nvPicPr>
          <p:cNvPr id="347" name="Рисунок 346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29626" y="3777640"/>
            <a:ext cx="69831" cy="466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48" name="Шестиугольник 42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 rot="1891179">
            <a:off x="7389026" y="2870596"/>
            <a:ext cx="112066" cy="87709"/>
          </a:xfrm>
          <a:prstGeom prst="hexagon">
            <a:avLst>
              <a:gd name="adj" fmla="val 32148"/>
              <a:gd name="vf" fmla="val 115470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txBody>
          <a:bodyPr lIns="72000" tIns="0" rIns="7200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350" name="Шестиугольник 217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 rot="1891179">
            <a:off x="7396451" y="2877830"/>
            <a:ext cx="96899" cy="72584"/>
          </a:xfrm>
          <a:prstGeom prst="hexagon">
            <a:avLst>
              <a:gd name="adj" fmla="val 32163"/>
              <a:gd name="vf" fmla="val 115470"/>
            </a:avLst>
          </a:prstGeom>
          <a:solidFill>
            <a:srgbClr val="C2E49C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endParaRPr lang="ru-RU" altLang="ru-RU" sz="1600">
              <a:solidFill>
                <a:srgbClr val="000000"/>
              </a:solidFill>
            </a:endParaRPr>
          </a:p>
        </p:txBody>
      </p:sp>
      <p:pic>
        <p:nvPicPr>
          <p:cNvPr id="357" name="Рисунок 356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09986" y="2890803"/>
            <a:ext cx="69831" cy="466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58" name="Шестиугольник 42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 rot="1891179">
            <a:off x="7321053" y="2338864"/>
            <a:ext cx="112066" cy="87709"/>
          </a:xfrm>
          <a:prstGeom prst="hexagon">
            <a:avLst>
              <a:gd name="adj" fmla="val 32148"/>
              <a:gd name="vf" fmla="val 115470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txBody>
          <a:bodyPr lIns="72000" tIns="0" rIns="7200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362" name="Шестиугольник 217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 rot="1891179">
            <a:off x="7328971" y="2346561"/>
            <a:ext cx="96899" cy="72584"/>
          </a:xfrm>
          <a:prstGeom prst="hexagon">
            <a:avLst>
              <a:gd name="adj" fmla="val 32163"/>
              <a:gd name="vf" fmla="val 115470"/>
            </a:avLst>
          </a:prstGeom>
          <a:solidFill>
            <a:srgbClr val="C2E49C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endParaRPr lang="ru-RU" altLang="ru-RU" sz="1600">
              <a:solidFill>
                <a:srgbClr val="000000"/>
              </a:solidFill>
            </a:endParaRPr>
          </a:p>
        </p:txBody>
      </p:sp>
      <p:pic>
        <p:nvPicPr>
          <p:cNvPr id="363" name="Рисунок 362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42505" y="2359534"/>
            <a:ext cx="69831" cy="466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65" name="Шестиугольник 42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 rot="1891179">
            <a:off x="6624778" y="2328813"/>
            <a:ext cx="112066" cy="87709"/>
          </a:xfrm>
          <a:prstGeom prst="hexagon">
            <a:avLst>
              <a:gd name="adj" fmla="val 32148"/>
              <a:gd name="vf" fmla="val 115470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txBody>
          <a:bodyPr lIns="72000" tIns="0" rIns="7200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366" name="Шестиугольник 217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1891179">
            <a:off x="6632073" y="2336695"/>
            <a:ext cx="96899" cy="72584"/>
          </a:xfrm>
          <a:prstGeom prst="hexagon">
            <a:avLst>
              <a:gd name="adj" fmla="val 32163"/>
              <a:gd name="vf" fmla="val 115470"/>
            </a:avLst>
          </a:prstGeom>
          <a:solidFill>
            <a:srgbClr val="C2E49C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endParaRPr lang="ru-RU" altLang="ru-RU" sz="1600">
              <a:solidFill>
                <a:srgbClr val="000000"/>
              </a:solidFill>
            </a:endParaRPr>
          </a:p>
        </p:txBody>
      </p:sp>
      <p:pic>
        <p:nvPicPr>
          <p:cNvPr id="367" name="Рисунок 366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645609" y="2349669"/>
            <a:ext cx="69831" cy="466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68" name="Шестиугольник 42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1891179">
            <a:off x="6530166" y="2125987"/>
            <a:ext cx="112066" cy="87709"/>
          </a:xfrm>
          <a:prstGeom prst="hexagon">
            <a:avLst>
              <a:gd name="adj" fmla="val 32148"/>
              <a:gd name="vf" fmla="val 115470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txBody>
          <a:bodyPr lIns="72000" tIns="0" rIns="7200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369" name="Шестиугольник 217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1891179">
            <a:off x="6537540" y="2133374"/>
            <a:ext cx="96899" cy="72584"/>
          </a:xfrm>
          <a:prstGeom prst="hexagon">
            <a:avLst>
              <a:gd name="adj" fmla="val 32163"/>
              <a:gd name="vf" fmla="val 115470"/>
            </a:avLst>
          </a:prstGeom>
          <a:solidFill>
            <a:srgbClr val="C2E49C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endParaRPr lang="ru-RU" altLang="ru-RU" sz="1600">
              <a:solidFill>
                <a:srgbClr val="000000"/>
              </a:solidFill>
            </a:endParaRPr>
          </a:p>
        </p:txBody>
      </p:sp>
      <p:pic>
        <p:nvPicPr>
          <p:cNvPr id="371" name="Рисунок 370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51076" y="2146348"/>
            <a:ext cx="69831" cy="466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72" name="Шестиугольник 42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 rot="1891179">
            <a:off x="5697024" y="2181718"/>
            <a:ext cx="112066" cy="87709"/>
          </a:xfrm>
          <a:prstGeom prst="hexagon">
            <a:avLst>
              <a:gd name="adj" fmla="val 32148"/>
              <a:gd name="vf" fmla="val 115470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txBody>
          <a:bodyPr lIns="72000" tIns="0" rIns="7200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373" name="Шестиугольник 217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 rot="1891179">
            <a:off x="5704613" y="2189505"/>
            <a:ext cx="96899" cy="72584"/>
          </a:xfrm>
          <a:prstGeom prst="hexagon">
            <a:avLst>
              <a:gd name="adj" fmla="val 32163"/>
              <a:gd name="vf" fmla="val 115470"/>
            </a:avLst>
          </a:prstGeom>
          <a:solidFill>
            <a:srgbClr val="C2E49C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endParaRPr lang="ru-RU" altLang="ru-RU" sz="1600">
              <a:solidFill>
                <a:srgbClr val="000000"/>
              </a:solidFill>
            </a:endParaRPr>
          </a:p>
        </p:txBody>
      </p:sp>
      <p:pic>
        <p:nvPicPr>
          <p:cNvPr id="375" name="Рисунок 374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18147" y="2202477"/>
            <a:ext cx="69831" cy="466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76" name="Шестиугольник 42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 rot="1891179">
            <a:off x="6576095" y="1750484"/>
            <a:ext cx="112066" cy="86794"/>
          </a:xfrm>
          <a:prstGeom prst="hexagon">
            <a:avLst>
              <a:gd name="adj" fmla="val 32148"/>
              <a:gd name="vf" fmla="val 115470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txBody>
          <a:bodyPr lIns="72000" tIns="0" rIns="7200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377" name="Шестиугольник 217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 rot="1891179">
            <a:off x="6583830" y="1757619"/>
            <a:ext cx="96899" cy="72584"/>
          </a:xfrm>
          <a:prstGeom prst="hexagon">
            <a:avLst>
              <a:gd name="adj" fmla="val 32163"/>
              <a:gd name="vf" fmla="val 115470"/>
            </a:avLst>
          </a:prstGeom>
          <a:solidFill>
            <a:srgbClr val="C2E49C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endParaRPr lang="ru-RU" altLang="ru-RU" sz="1600">
              <a:solidFill>
                <a:srgbClr val="000000"/>
              </a:solidFill>
            </a:endParaRPr>
          </a:p>
        </p:txBody>
      </p:sp>
      <p:pic>
        <p:nvPicPr>
          <p:cNvPr id="380" name="Рисунок 379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97364" y="1770592"/>
            <a:ext cx="69831" cy="466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81" name="Шестиугольник 42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 rot="1891179">
            <a:off x="8883536" y="2557221"/>
            <a:ext cx="112066" cy="87709"/>
          </a:xfrm>
          <a:prstGeom prst="hexagon">
            <a:avLst>
              <a:gd name="adj" fmla="val 32148"/>
              <a:gd name="vf" fmla="val 115470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txBody>
          <a:bodyPr lIns="72000" tIns="0" rIns="7200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  <a:latin typeface="+mn-lt"/>
              <a:ea typeface="+mn-ea"/>
            </a:endParaRPr>
          </a:p>
        </p:txBody>
      </p:sp>
      <p:sp>
        <p:nvSpPr>
          <p:cNvPr id="382" name="Шестиугольник 217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 rot="1891179">
            <a:off x="8891452" y="2564717"/>
            <a:ext cx="96899" cy="72584"/>
          </a:xfrm>
          <a:prstGeom prst="hexagon">
            <a:avLst>
              <a:gd name="adj" fmla="val 32163"/>
              <a:gd name="vf" fmla="val 115470"/>
            </a:avLst>
          </a:prstGeom>
          <a:solidFill>
            <a:srgbClr val="C2E49C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endParaRPr lang="ru-RU" altLang="ru-RU" sz="1600">
              <a:solidFill>
                <a:srgbClr val="000000"/>
              </a:solidFill>
            </a:endParaRPr>
          </a:p>
        </p:txBody>
      </p:sp>
      <p:pic>
        <p:nvPicPr>
          <p:cNvPr id="384" name="Рисунок 383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904987" y="2577689"/>
            <a:ext cx="69831" cy="466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15" name="Группа 14"/>
          <p:cNvGrpSpPr/>
          <p:nvPr/>
        </p:nvGrpSpPr>
        <p:grpSpPr>
          <a:xfrm>
            <a:off x="4073249" y="4500115"/>
            <a:ext cx="2141504" cy="610734"/>
            <a:chOff x="3431622" y="5756710"/>
            <a:chExt cx="1841661" cy="474653"/>
          </a:xfrm>
        </p:grpSpPr>
        <p:sp>
          <p:nvSpPr>
            <p:cNvPr id="447" name="Прямоугольник 446"/>
            <p:cNvSpPr/>
            <p:nvPr/>
          </p:nvSpPr>
          <p:spPr bwMode="auto">
            <a:xfrm>
              <a:off x="3431622" y="5757536"/>
              <a:ext cx="121652" cy="40473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449" name="TextBox 448"/>
            <p:cNvSpPr txBox="1"/>
            <p:nvPr/>
          </p:nvSpPr>
          <p:spPr bwMode="auto">
            <a:xfrm>
              <a:off x="3588942" y="5756710"/>
              <a:ext cx="1684341" cy="7176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r>
                <a:rPr lang="ru-RU" altLang="ru-RU" sz="600" dirty="0" smtClean="0">
                  <a:solidFill>
                    <a:srgbClr val="000000"/>
                  </a:solidFill>
                </a:rPr>
                <a:t>Строительство автодорог до 2017 по программе </a:t>
              </a:r>
              <a:r>
                <a:rPr lang="ru-RU" altLang="ru-RU" sz="600" dirty="0" err="1" smtClean="0">
                  <a:solidFill>
                    <a:srgbClr val="000000"/>
                  </a:solidFill>
                </a:rPr>
                <a:t>Нурлы</a:t>
              </a:r>
              <a:r>
                <a:rPr lang="ru-RU" altLang="ru-RU" sz="600" dirty="0" smtClean="0">
                  <a:solidFill>
                    <a:srgbClr val="000000"/>
                  </a:solidFill>
                </a:rPr>
                <a:t> </a:t>
              </a:r>
              <a:r>
                <a:rPr lang="ru-RU" altLang="ru-RU" sz="600" dirty="0" err="1" smtClean="0">
                  <a:solidFill>
                    <a:srgbClr val="000000"/>
                  </a:solidFill>
                </a:rPr>
                <a:t>Жол</a:t>
              </a:r>
              <a:endParaRPr lang="ru-RU" altLang="ru-RU" sz="600" dirty="0">
                <a:solidFill>
                  <a:srgbClr val="000000"/>
                </a:solidFill>
              </a:endParaRPr>
            </a:p>
          </p:txBody>
        </p:sp>
        <p:sp>
          <p:nvSpPr>
            <p:cNvPr id="451" name="Прямоугольник 450"/>
            <p:cNvSpPr/>
            <p:nvPr/>
          </p:nvSpPr>
          <p:spPr bwMode="auto">
            <a:xfrm>
              <a:off x="3431622" y="5867022"/>
              <a:ext cx="121652" cy="40473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solidFill>
                <a:schemeClr val="accent4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prstClr val="white"/>
                </a:solidFill>
              </a:endParaRPr>
            </a:p>
          </p:txBody>
        </p:sp>
        <p:sp>
          <p:nvSpPr>
            <p:cNvPr id="453" name="TextBox 452"/>
            <p:cNvSpPr txBox="1"/>
            <p:nvPr/>
          </p:nvSpPr>
          <p:spPr bwMode="auto">
            <a:xfrm>
              <a:off x="3592417" y="5849527"/>
              <a:ext cx="1591810" cy="71760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just"/>
              <a:r>
                <a:rPr lang="ru-RU" altLang="ru-RU" sz="600" dirty="0" smtClean="0">
                  <a:solidFill>
                    <a:srgbClr val="000000"/>
                  </a:solidFill>
                </a:rPr>
                <a:t>Западная Европа – Западный Китай</a:t>
              </a:r>
              <a:endParaRPr lang="ru-RU" altLang="ru-RU" sz="600" dirty="0">
                <a:solidFill>
                  <a:srgbClr val="000000"/>
                </a:solidFill>
              </a:endParaRPr>
            </a:p>
          </p:txBody>
        </p:sp>
        <p:cxnSp>
          <p:nvCxnSpPr>
            <p:cNvPr id="455" name="Прямая соединительная линия 454"/>
            <p:cNvCxnSpPr/>
            <p:nvPr/>
          </p:nvCxnSpPr>
          <p:spPr bwMode="auto">
            <a:xfrm>
              <a:off x="3431622" y="6005432"/>
              <a:ext cx="120073" cy="709"/>
            </a:xfrm>
            <a:prstGeom prst="line">
              <a:avLst/>
            </a:prstGeom>
            <a:ln>
              <a:solidFill>
                <a:srgbClr val="5423AD"/>
              </a:solidFill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sp>
          <p:nvSpPr>
            <p:cNvPr id="457" name="TextBox 456"/>
            <p:cNvSpPr txBox="1"/>
            <p:nvPr/>
          </p:nvSpPr>
          <p:spPr bwMode="auto">
            <a:xfrm>
              <a:off x="3523646" y="5909895"/>
              <a:ext cx="409707" cy="14352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algn="ctr"/>
              <a:r>
                <a:rPr lang="ru-RU" altLang="ru-RU" sz="600" dirty="0" smtClean="0">
                  <a:solidFill>
                    <a:srgbClr val="000000"/>
                  </a:solidFill>
                </a:rPr>
                <a:t>ж/д пути</a:t>
              </a:r>
              <a:endParaRPr lang="ru-RU" altLang="ru-RU" sz="600" dirty="0">
                <a:solidFill>
                  <a:srgbClr val="000000"/>
                </a:solidFill>
              </a:endParaRPr>
            </a:p>
          </p:txBody>
        </p:sp>
        <p:sp>
          <p:nvSpPr>
            <p:cNvPr id="315" name="TextBox 314"/>
            <p:cNvSpPr txBox="1"/>
            <p:nvPr/>
          </p:nvSpPr>
          <p:spPr bwMode="auto">
            <a:xfrm>
              <a:off x="3501469" y="6016084"/>
              <a:ext cx="1482310" cy="21527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r>
                <a:rPr lang="ru-RU" altLang="ru-RU" sz="600" dirty="0" smtClean="0">
                  <a:solidFill>
                    <a:srgbClr val="000000"/>
                  </a:solidFill>
                </a:rPr>
                <a:t>Национальная </a:t>
              </a:r>
            </a:p>
            <a:p>
              <a:r>
                <a:rPr lang="ru-RU" altLang="ru-RU" sz="600" dirty="0" smtClean="0">
                  <a:solidFill>
                    <a:srgbClr val="000000"/>
                  </a:solidFill>
                </a:rPr>
                <a:t>сеть кемпингов</a:t>
              </a:r>
              <a:endParaRPr lang="ru-RU" altLang="ru-RU" sz="600" dirty="0">
                <a:solidFill>
                  <a:srgbClr val="000000"/>
                </a:solidFill>
              </a:endParaRPr>
            </a:p>
          </p:txBody>
        </p:sp>
        <p:grpSp>
          <p:nvGrpSpPr>
            <p:cNvPr id="14" name="Группа 13"/>
            <p:cNvGrpSpPr/>
            <p:nvPr/>
          </p:nvGrpSpPr>
          <p:grpSpPr>
            <a:xfrm>
              <a:off x="3447978" y="6094204"/>
              <a:ext cx="98652" cy="67455"/>
              <a:chOff x="3454622" y="6163082"/>
              <a:chExt cx="98652" cy="67455"/>
            </a:xfrm>
          </p:grpSpPr>
          <p:sp>
            <p:nvSpPr>
              <p:cNvPr id="385" name="Шестиугольник 42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 rot="1891179">
                <a:off x="3454622" y="6163082"/>
                <a:ext cx="96375" cy="67455"/>
              </a:xfrm>
              <a:prstGeom prst="hexagon">
                <a:avLst>
                  <a:gd name="adj" fmla="val 32148"/>
                  <a:gd name="vf" fmla="val 115470"/>
                </a:avLst>
              </a:prstGeom>
              <a:solidFill>
                <a:schemeClr val="tx2">
                  <a:lumMod val="50000"/>
                </a:schemeClr>
              </a:solidFill>
              <a:ln>
                <a:noFill/>
              </a:ln>
            </p:spPr>
            <p:txBody>
              <a:bodyPr lIns="72000" tIns="0" rIns="72000" bIns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600">
                  <a:solidFill>
                    <a:prstClr val="black"/>
                  </a:solidFill>
                  <a:latin typeface="+mn-lt"/>
                  <a:ea typeface="+mn-ea"/>
                </a:endParaRPr>
              </a:p>
            </p:txBody>
          </p:sp>
          <p:grpSp>
            <p:nvGrpSpPr>
              <p:cNvPr id="13" name="Группа 12"/>
              <p:cNvGrpSpPr/>
              <p:nvPr/>
            </p:nvGrpSpPr>
            <p:grpSpPr>
              <a:xfrm>
                <a:off x="3469942" y="6168605"/>
                <a:ext cx="83332" cy="56411"/>
                <a:chOff x="3484947" y="5993791"/>
                <a:chExt cx="83332" cy="56411"/>
              </a:xfrm>
            </p:grpSpPr>
            <p:sp>
              <p:nvSpPr>
                <p:cNvPr id="386" name="Шестиугольник 217"/>
                <p:cNvSpPr>
                  <a:spLocks noChangeArrowheads="1"/>
                </p:cNvSpPr>
                <p:nvPr>
                  <p:custDataLst>
                    <p:tags r:id="rId34"/>
                  </p:custDataLst>
                </p:nvPr>
              </p:nvSpPr>
              <p:spPr bwMode="auto">
                <a:xfrm rot="1891179">
                  <a:off x="3484947" y="5993791"/>
                  <a:ext cx="83332" cy="56411"/>
                </a:xfrm>
                <a:prstGeom prst="hexagon">
                  <a:avLst>
                    <a:gd name="adj" fmla="val 32163"/>
                    <a:gd name="vf" fmla="val 115470"/>
                  </a:avLst>
                </a:prstGeom>
                <a:solidFill>
                  <a:srgbClr val="C2E49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6350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72000" tIns="0" rIns="72000" bIns="0" anchor="ctr"/>
                <a:lstStyle>
                  <a:lvl1pPr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anose="020F0502020204030204" pitchFamily="34" charset="0"/>
                      <a:ea typeface="MS PGothic" panose="020B0600070205080204" pitchFamily="34" charset="-128"/>
                    </a:defRPr>
                  </a:lvl9pPr>
                </a:lstStyle>
                <a:p>
                  <a:endParaRPr lang="ru-RU" altLang="ru-RU" sz="1600">
                    <a:solidFill>
                      <a:srgbClr val="000000"/>
                    </a:solidFill>
                  </a:endParaRPr>
                </a:p>
              </p:txBody>
            </p:sp>
            <p:pic>
              <p:nvPicPr>
                <p:cNvPr id="387" name="Рисунок 386"/>
                <p:cNvPicPr>
                  <a:picLocks noChangeAspect="1"/>
                </p:cNvPicPr>
                <p:nvPr/>
              </p:nvPicPr>
              <p:blipFill>
                <a:blip r:embed="rId4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3496586" y="6003873"/>
                  <a:ext cx="60054" cy="36247"/>
                </a:xfrm>
                <a:prstGeom prst="roundRect">
                  <a:avLst>
                    <a:gd name="adj" fmla="val 8594"/>
                  </a:avLst>
                </a:prstGeom>
                <a:solidFill>
                  <a:srgbClr val="FFFFFF">
                    <a:shade val="85000"/>
                  </a:srgbClr>
                </a:solidFill>
                <a:ln>
                  <a:noFill/>
                </a:ln>
                <a:effectLst>
                  <a:reflection blurRad="12700" stA="38000" endPos="28000" dist="5000" dir="5400000" sy="-100000" algn="bl" rotWithShape="0"/>
                </a:effectLst>
              </p:spPr>
            </p:pic>
          </p:grpSp>
        </p:grpSp>
      </p:grpSp>
      <p:sp>
        <p:nvSpPr>
          <p:cNvPr id="394" name="Прямоугольник 236"/>
          <p:cNvSpPr>
            <a:spLocks noChangeArrowheads="1"/>
          </p:cNvSpPr>
          <p:nvPr/>
        </p:nvSpPr>
        <p:spPr bwMode="auto">
          <a:xfrm>
            <a:off x="7787440" y="4345478"/>
            <a:ext cx="51328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altLang="ru-RU" sz="900" dirty="0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Алматы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395" name="Овал 394"/>
          <p:cNvSpPr/>
          <p:nvPr/>
        </p:nvSpPr>
        <p:spPr>
          <a:xfrm>
            <a:off x="8032943" y="3815290"/>
            <a:ext cx="83590" cy="74918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396" name="Полилиния 395"/>
          <p:cNvSpPr/>
          <p:nvPr/>
        </p:nvSpPr>
        <p:spPr bwMode="auto">
          <a:xfrm>
            <a:off x="6877717" y="2535085"/>
            <a:ext cx="220456" cy="187294"/>
          </a:xfrm>
          <a:custGeom>
            <a:avLst/>
            <a:gdLst>
              <a:gd name="connsiteX0" fmla="*/ 0 w 234950"/>
              <a:gd name="connsiteY0" fmla="*/ 0 h 254000"/>
              <a:gd name="connsiteX1" fmla="*/ 69850 w 234950"/>
              <a:gd name="connsiteY1" fmla="*/ 57150 h 254000"/>
              <a:gd name="connsiteX2" fmla="*/ 139700 w 234950"/>
              <a:gd name="connsiteY2" fmla="*/ 127000 h 254000"/>
              <a:gd name="connsiteX3" fmla="*/ 184150 w 234950"/>
              <a:gd name="connsiteY3" fmla="*/ 215900 h 254000"/>
              <a:gd name="connsiteX4" fmla="*/ 234950 w 234950"/>
              <a:gd name="connsiteY4" fmla="*/ 254000 h 25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4950" h="254000">
                <a:moveTo>
                  <a:pt x="0" y="0"/>
                </a:moveTo>
                <a:cubicBezTo>
                  <a:pt x="23283" y="17991"/>
                  <a:pt x="46567" y="35983"/>
                  <a:pt x="69850" y="57150"/>
                </a:cubicBezTo>
                <a:cubicBezTo>
                  <a:pt x="93133" y="78317"/>
                  <a:pt x="120650" y="100542"/>
                  <a:pt x="139700" y="127000"/>
                </a:cubicBezTo>
                <a:cubicBezTo>
                  <a:pt x="158750" y="153458"/>
                  <a:pt x="168275" y="194733"/>
                  <a:pt x="184150" y="215900"/>
                </a:cubicBezTo>
                <a:cubicBezTo>
                  <a:pt x="200025" y="237067"/>
                  <a:pt x="217487" y="245533"/>
                  <a:pt x="234950" y="254000"/>
                </a:cubicBezTo>
              </a:path>
            </a:pathLst>
          </a:custGeom>
          <a:ln w="76200">
            <a:solidFill>
              <a:srgbClr val="C4F4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240" name="Овал 239"/>
          <p:cNvSpPr/>
          <p:nvPr/>
        </p:nvSpPr>
        <p:spPr bwMode="auto">
          <a:xfrm>
            <a:off x="4041631" y="2352268"/>
            <a:ext cx="82317" cy="72016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243" name="Полилиния 242"/>
          <p:cNvSpPr/>
          <p:nvPr/>
        </p:nvSpPr>
        <p:spPr>
          <a:xfrm>
            <a:off x="6880087" y="2198754"/>
            <a:ext cx="700729" cy="296852"/>
          </a:xfrm>
          <a:custGeom>
            <a:avLst/>
            <a:gdLst>
              <a:gd name="connsiteX0" fmla="*/ 0 w 1066800"/>
              <a:gd name="connsiteY0" fmla="*/ 546100 h 546100"/>
              <a:gd name="connsiteX1" fmla="*/ 88900 w 1066800"/>
              <a:gd name="connsiteY1" fmla="*/ 368300 h 546100"/>
              <a:gd name="connsiteX2" fmla="*/ 247650 w 1066800"/>
              <a:gd name="connsiteY2" fmla="*/ 317500 h 546100"/>
              <a:gd name="connsiteX3" fmla="*/ 342900 w 1066800"/>
              <a:gd name="connsiteY3" fmla="*/ 361950 h 546100"/>
              <a:gd name="connsiteX4" fmla="*/ 546100 w 1066800"/>
              <a:gd name="connsiteY4" fmla="*/ 304800 h 546100"/>
              <a:gd name="connsiteX5" fmla="*/ 647700 w 1066800"/>
              <a:gd name="connsiteY5" fmla="*/ 279400 h 546100"/>
              <a:gd name="connsiteX6" fmla="*/ 838200 w 1066800"/>
              <a:gd name="connsiteY6" fmla="*/ 241300 h 546100"/>
              <a:gd name="connsiteX7" fmla="*/ 933450 w 1066800"/>
              <a:gd name="connsiteY7" fmla="*/ 114300 h 546100"/>
              <a:gd name="connsiteX8" fmla="*/ 1066800 w 1066800"/>
              <a:gd name="connsiteY8" fmla="*/ 0 h 54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66800" h="546100">
                <a:moveTo>
                  <a:pt x="0" y="546100"/>
                </a:moveTo>
                <a:cubicBezTo>
                  <a:pt x="23812" y="476250"/>
                  <a:pt x="47625" y="406400"/>
                  <a:pt x="88900" y="368300"/>
                </a:cubicBezTo>
                <a:cubicBezTo>
                  <a:pt x="130175" y="330200"/>
                  <a:pt x="205317" y="318558"/>
                  <a:pt x="247650" y="317500"/>
                </a:cubicBezTo>
                <a:cubicBezTo>
                  <a:pt x="289983" y="316442"/>
                  <a:pt x="293158" y="364067"/>
                  <a:pt x="342900" y="361950"/>
                </a:cubicBezTo>
                <a:cubicBezTo>
                  <a:pt x="392642" y="359833"/>
                  <a:pt x="495300" y="318558"/>
                  <a:pt x="546100" y="304800"/>
                </a:cubicBezTo>
                <a:cubicBezTo>
                  <a:pt x="596900" y="291042"/>
                  <a:pt x="599017" y="289983"/>
                  <a:pt x="647700" y="279400"/>
                </a:cubicBezTo>
                <a:cubicBezTo>
                  <a:pt x="696383" y="268817"/>
                  <a:pt x="790575" y="268817"/>
                  <a:pt x="838200" y="241300"/>
                </a:cubicBezTo>
                <a:cubicBezTo>
                  <a:pt x="885825" y="213783"/>
                  <a:pt x="895350" y="154517"/>
                  <a:pt x="933450" y="114300"/>
                </a:cubicBezTo>
                <a:cubicBezTo>
                  <a:pt x="971550" y="74083"/>
                  <a:pt x="1019175" y="37041"/>
                  <a:pt x="1066800" y="0"/>
                </a:cubicBezTo>
              </a:path>
            </a:pathLst>
          </a:custGeom>
          <a:ln w="762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244" name="Полилиния 243"/>
          <p:cNvSpPr/>
          <p:nvPr/>
        </p:nvSpPr>
        <p:spPr>
          <a:xfrm>
            <a:off x="6700008" y="2140429"/>
            <a:ext cx="136618" cy="370820"/>
          </a:xfrm>
          <a:custGeom>
            <a:avLst/>
            <a:gdLst>
              <a:gd name="connsiteX0" fmla="*/ 464820 w 464820"/>
              <a:gd name="connsiteY0" fmla="*/ 929640 h 929640"/>
              <a:gd name="connsiteX1" fmla="*/ 411480 w 464820"/>
              <a:gd name="connsiteY1" fmla="*/ 815340 h 929640"/>
              <a:gd name="connsiteX2" fmla="*/ 358140 w 464820"/>
              <a:gd name="connsiteY2" fmla="*/ 670560 h 929640"/>
              <a:gd name="connsiteX3" fmla="*/ 358140 w 464820"/>
              <a:gd name="connsiteY3" fmla="*/ 563880 h 929640"/>
              <a:gd name="connsiteX4" fmla="*/ 304800 w 464820"/>
              <a:gd name="connsiteY4" fmla="*/ 518160 h 929640"/>
              <a:gd name="connsiteX5" fmla="*/ 220980 w 464820"/>
              <a:gd name="connsiteY5" fmla="*/ 396240 h 929640"/>
              <a:gd name="connsiteX6" fmla="*/ 160020 w 464820"/>
              <a:gd name="connsiteY6" fmla="*/ 289560 h 929640"/>
              <a:gd name="connsiteX7" fmla="*/ 38100 w 464820"/>
              <a:gd name="connsiteY7" fmla="*/ 198120 h 929640"/>
              <a:gd name="connsiteX8" fmla="*/ 22860 w 464820"/>
              <a:gd name="connsiteY8" fmla="*/ 137160 h 929640"/>
              <a:gd name="connsiteX9" fmla="*/ 45720 w 464820"/>
              <a:gd name="connsiteY9" fmla="*/ 45720 h 929640"/>
              <a:gd name="connsiteX10" fmla="*/ 0 w 464820"/>
              <a:gd name="connsiteY10" fmla="*/ 0 h 929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64820" h="929640">
                <a:moveTo>
                  <a:pt x="464820" y="929640"/>
                </a:moveTo>
                <a:cubicBezTo>
                  <a:pt x="447040" y="894080"/>
                  <a:pt x="429260" y="858520"/>
                  <a:pt x="411480" y="815340"/>
                </a:cubicBezTo>
                <a:cubicBezTo>
                  <a:pt x="393700" y="772160"/>
                  <a:pt x="367030" y="712470"/>
                  <a:pt x="358140" y="670560"/>
                </a:cubicBezTo>
                <a:cubicBezTo>
                  <a:pt x="349250" y="628650"/>
                  <a:pt x="367030" y="589280"/>
                  <a:pt x="358140" y="563880"/>
                </a:cubicBezTo>
                <a:cubicBezTo>
                  <a:pt x="349250" y="538480"/>
                  <a:pt x="327660" y="546100"/>
                  <a:pt x="304800" y="518160"/>
                </a:cubicBezTo>
                <a:cubicBezTo>
                  <a:pt x="281940" y="490220"/>
                  <a:pt x="245110" y="434340"/>
                  <a:pt x="220980" y="396240"/>
                </a:cubicBezTo>
                <a:cubicBezTo>
                  <a:pt x="196850" y="358140"/>
                  <a:pt x="190500" y="322580"/>
                  <a:pt x="160020" y="289560"/>
                </a:cubicBezTo>
                <a:cubicBezTo>
                  <a:pt x="129540" y="256540"/>
                  <a:pt x="60960" y="223520"/>
                  <a:pt x="38100" y="198120"/>
                </a:cubicBezTo>
                <a:cubicBezTo>
                  <a:pt x="15240" y="172720"/>
                  <a:pt x="21590" y="162560"/>
                  <a:pt x="22860" y="137160"/>
                </a:cubicBezTo>
                <a:cubicBezTo>
                  <a:pt x="24130" y="111760"/>
                  <a:pt x="49530" y="68580"/>
                  <a:pt x="45720" y="45720"/>
                </a:cubicBezTo>
                <a:cubicBezTo>
                  <a:pt x="41910" y="22860"/>
                  <a:pt x="20955" y="11430"/>
                  <a:pt x="0" y="0"/>
                </a:cubicBezTo>
              </a:path>
            </a:pathLst>
          </a:custGeom>
          <a:ln w="762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245" name="Овал 244"/>
          <p:cNvSpPr/>
          <p:nvPr/>
        </p:nvSpPr>
        <p:spPr bwMode="auto">
          <a:xfrm>
            <a:off x="6497098" y="1972497"/>
            <a:ext cx="84508" cy="75831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246" name="TextBox 176"/>
          <p:cNvSpPr txBox="1">
            <a:spLocks noChangeArrowheads="1"/>
          </p:cNvSpPr>
          <p:nvPr/>
        </p:nvSpPr>
        <p:spPr bwMode="auto">
          <a:xfrm>
            <a:off x="7081066" y="2610769"/>
            <a:ext cx="65274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altLang="ru-RU" sz="900" dirty="0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Караганда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247" name="TextBox 9"/>
          <p:cNvSpPr txBox="1">
            <a:spLocks noChangeArrowheads="1"/>
          </p:cNvSpPr>
          <p:nvPr/>
        </p:nvSpPr>
        <p:spPr bwMode="auto">
          <a:xfrm>
            <a:off x="6865268" y="2343526"/>
            <a:ext cx="48442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ru-RU" altLang="ru-RU" sz="900" dirty="0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Астана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248" name="Прямоугольник 14"/>
          <p:cNvSpPr>
            <a:spLocks noChangeArrowheads="1"/>
          </p:cNvSpPr>
          <p:nvPr/>
        </p:nvSpPr>
        <p:spPr bwMode="auto">
          <a:xfrm>
            <a:off x="7485131" y="2077180"/>
            <a:ext cx="60465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altLang="ru-RU" sz="900" dirty="0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Павлодар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250" name="Полилиния 249"/>
          <p:cNvSpPr/>
          <p:nvPr/>
        </p:nvSpPr>
        <p:spPr bwMode="auto">
          <a:xfrm>
            <a:off x="6796652" y="4371691"/>
            <a:ext cx="686070" cy="248683"/>
          </a:xfrm>
          <a:custGeom>
            <a:avLst/>
            <a:gdLst>
              <a:gd name="connsiteX0" fmla="*/ 0 w 1047750"/>
              <a:gd name="connsiteY0" fmla="*/ 412750 h 412750"/>
              <a:gd name="connsiteX1" fmla="*/ 114300 w 1047750"/>
              <a:gd name="connsiteY1" fmla="*/ 323850 h 412750"/>
              <a:gd name="connsiteX2" fmla="*/ 247650 w 1047750"/>
              <a:gd name="connsiteY2" fmla="*/ 234950 h 412750"/>
              <a:gd name="connsiteX3" fmla="*/ 444500 w 1047750"/>
              <a:gd name="connsiteY3" fmla="*/ 228600 h 412750"/>
              <a:gd name="connsiteX4" fmla="*/ 596900 w 1047750"/>
              <a:gd name="connsiteY4" fmla="*/ 273050 h 412750"/>
              <a:gd name="connsiteX5" fmla="*/ 698500 w 1047750"/>
              <a:gd name="connsiteY5" fmla="*/ 196850 h 412750"/>
              <a:gd name="connsiteX6" fmla="*/ 844550 w 1047750"/>
              <a:gd name="connsiteY6" fmla="*/ 76200 h 412750"/>
              <a:gd name="connsiteX7" fmla="*/ 1047750 w 1047750"/>
              <a:gd name="connsiteY7" fmla="*/ 0 h 412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47750" h="412750">
                <a:moveTo>
                  <a:pt x="0" y="412750"/>
                </a:moveTo>
                <a:cubicBezTo>
                  <a:pt x="36512" y="383116"/>
                  <a:pt x="73025" y="353483"/>
                  <a:pt x="114300" y="323850"/>
                </a:cubicBezTo>
                <a:cubicBezTo>
                  <a:pt x="155575" y="294217"/>
                  <a:pt x="192617" y="250825"/>
                  <a:pt x="247650" y="234950"/>
                </a:cubicBezTo>
                <a:cubicBezTo>
                  <a:pt x="302683" y="219075"/>
                  <a:pt x="386292" y="222250"/>
                  <a:pt x="444500" y="228600"/>
                </a:cubicBezTo>
                <a:cubicBezTo>
                  <a:pt x="502708" y="234950"/>
                  <a:pt x="554567" y="278342"/>
                  <a:pt x="596900" y="273050"/>
                </a:cubicBezTo>
                <a:cubicBezTo>
                  <a:pt x="639233" y="267758"/>
                  <a:pt x="657225" y="229658"/>
                  <a:pt x="698500" y="196850"/>
                </a:cubicBezTo>
                <a:cubicBezTo>
                  <a:pt x="739775" y="164042"/>
                  <a:pt x="786342" y="109008"/>
                  <a:pt x="844550" y="76200"/>
                </a:cubicBezTo>
                <a:cubicBezTo>
                  <a:pt x="902758" y="43392"/>
                  <a:pt x="975254" y="21696"/>
                  <a:pt x="1047750" y="0"/>
                </a:cubicBezTo>
              </a:path>
            </a:pathLst>
          </a:custGeom>
          <a:ln w="762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7890" tIns="28945" rIns="57890" bIns="2894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251" name="Овал 250"/>
          <p:cNvSpPr/>
          <p:nvPr/>
        </p:nvSpPr>
        <p:spPr bwMode="auto">
          <a:xfrm>
            <a:off x="7079470" y="2718020"/>
            <a:ext cx="84508" cy="75831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grpSp>
        <p:nvGrpSpPr>
          <p:cNvPr id="252" name="Группа 251"/>
          <p:cNvGrpSpPr/>
          <p:nvPr/>
        </p:nvGrpSpPr>
        <p:grpSpPr>
          <a:xfrm>
            <a:off x="6855794" y="4349722"/>
            <a:ext cx="1035944" cy="309064"/>
            <a:chOff x="6894772" y="4319496"/>
            <a:chExt cx="1127706" cy="326122"/>
          </a:xfrm>
        </p:grpSpPr>
        <p:sp>
          <p:nvSpPr>
            <p:cNvPr id="292" name="Полилиния 291"/>
            <p:cNvSpPr/>
            <p:nvPr/>
          </p:nvSpPr>
          <p:spPr>
            <a:xfrm>
              <a:off x="7623358" y="4319496"/>
              <a:ext cx="399120" cy="45719"/>
            </a:xfrm>
            <a:custGeom>
              <a:avLst/>
              <a:gdLst>
                <a:gd name="connsiteX0" fmla="*/ 0 w 457200"/>
                <a:gd name="connsiteY0" fmla="*/ 12700 h 12700"/>
                <a:gd name="connsiteX1" fmla="*/ 171450 w 457200"/>
                <a:gd name="connsiteY1" fmla="*/ 0 h 12700"/>
                <a:gd name="connsiteX2" fmla="*/ 381000 w 457200"/>
                <a:gd name="connsiteY2" fmla="*/ 12700 h 12700"/>
                <a:gd name="connsiteX3" fmla="*/ 457200 w 457200"/>
                <a:gd name="connsiteY3" fmla="*/ 0 h 12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7200" h="12700">
                  <a:moveTo>
                    <a:pt x="0" y="12700"/>
                  </a:moveTo>
                  <a:cubicBezTo>
                    <a:pt x="53975" y="6350"/>
                    <a:pt x="107950" y="0"/>
                    <a:pt x="171450" y="0"/>
                  </a:cubicBezTo>
                  <a:cubicBezTo>
                    <a:pt x="234950" y="0"/>
                    <a:pt x="333375" y="12700"/>
                    <a:pt x="381000" y="12700"/>
                  </a:cubicBezTo>
                  <a:cubicBezTo>
                    <a:pt x="428625" y="12700"/>
                    <a:pt x="442912" y="6350"/>
                    <a:pt x="457200" y="0"/>
                  </a:cubicBezTo>
                </a:path>
              </a:pathLst>
            </a:custGeom>
            <a:ln w="762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100" dirty="0">
                <a:solidFill>
                  <a:srgbClr val="000000"/>
                </a:solidFill>
              </a:endParaRPr>
            </a:p>
          </p:txBody>
        </p:sp>
        <p:sp>
          <p:nvSpPr>
            <p:cNvPr id="293" name="Полилиния 292"/>
            <p:cNvSpPr/>
            <p:nvPr/>
          </p:nvSpPr>
          <p:spPr>
            <a:xfrm>
              <a:off x="6894772" y="4354829"/>
              <a:ext cx="739515" cy="290789"/>
            </a:xfrm>
            <a:custGeom>
              <a:avLst/>
              <a:gdLst>
                <a:gd name="connsiteX0" fmla="*/ 0 w 1047750"/>
                <a:gd name="connsiteY0" fmla="*/ 412750 h 412750"/>
                <a:gd name="connsiteX1" fmla="*/ 114300 w 1047750"/>
                <a:gd name="connsiteY1" fmla="*/ 323850 h 412750"/>
                <a:gd name="connsiteX2" fmla="*/ 247650 w 1047750"/>
                <a:gd name="connsiteY2" fmla="*/ 234950 h 412750"/>
                <a:gd name="connsiteX3" fmla="*/ 444500 w 1047750"/>
                <a:gd name="connsiteY3" fmla="*/ 228600 h 412750"/>
                <a:gd name="connsiteX4" fmla="*/ 596900 w 1047750"/>
                <a:gd name="connsiteY4" fmla="*/ 273050 h 412750"/>
                <a:gd name="connsiteX5" fmla="*/ 698500 w 1047750"/>
                <a:gd name="connsiteY5" fmla="*/ 196850 h 412750"/>
                <a:gd name="connsiteX6" fmla="*/ 844550 w 1047750"/>
                <a:gd name="connsiteY6" fmla="*/ 76200 h 412750"/>
                <a:gd name="connsiteX7" fmla="*/ 1047750 w 1047750"/>
                <a:gd name="connsiteY7" fmla="*/ 0 h 412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47750" h="412750">
                  <a:moveTo>
                    <a:pt x="0" y="412750"/>
                  </a:moveTo>
                  <a:cubicBezTo>
                    <a:pt x="36512" y="383116"/>
                    <a:pt x="73025" y="353483"/>
                    <a:pt x="114300" y="323850"/>
                  </a:cubicBezTo>
                  <a:cubicBezTo>
                    <a:pt x="155575" y="294217"/>
                    <a:pt x="192617" y="250825"/>
                    <a:pt x="247650" y="234950"/>
                  </a:cubicBezTo>
                  <a:cubicBezTo>
                    <a:pt x="302683" y="219075"/>
                    <a:pt x="386292" y="222250"/>
                    <a:pt x="444500" y="228600"/>
                  </a:cubicBezTo>
                  <a:cubicBezTo>
                    <a:pt x="502708" y="234950"/>
                    <a:pt x="554567" y="278342"/>
                    <a:pt x="596900" y="273050"/>
                  </a:cubicBezTo>
                  <a:cubicBezTo>
                    <a:pt x="639233" y="267758"/>
                    <a:pt x="657225" y="229658"/>
                    <a:pt x="698500" y="196850"/>
                  </a:cubicBezTo>
                  <a:cubicBezTo>
                    <a:pt x="739775" y="164042"/>
                    <a:pt x="786342" y="109008"/>
                    <a:pt x="844550" y="76200"/>
                  </a:cubicBezTo>
                  <a:cubicBezTo>
                    <a:pt x="902758" y="43392"/>
                    <a:pt x="975254" y="21696"/>
                    <a:pt x="1047750" y="0"/>
                  </a:cubicBezTo>
                </a:path>
              </a:pathLst>
            </a:custGeom>
            <a:ln w="76200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7890" tIns="28945" rIns="57890" bIns="28945" anchor="ctr"/>
            <a:lstStyle/>
            <a:p>
              <a:pPr algn="ctr">
                <a:defRPr/>
              </a:pPr>
              <a:endParaRPr lang="ru-RU" sz="11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53" name="Полилиния 252"/>
          <p:cNvSpPr/>
          <p:nvPr/>
        </p:nvSpPr>
        <p:spPr>
          <a:xfrm rot="2456530" flipV="1">
            <a:off x="5960836" y="4288247"/>
            <a:ext cx="822146" cy="48454"/>
          </a:xfrm>
          <a:custGeom>
            <a:avLst/>
            <a:gdLst>
              <a:gd name="connsiteX0" fmla="*/ 0 w 457200"/>
              <a:gd name="connsiteY0" fmla="*/ 12700 h 12700"/>
              <a:gd name="connsiteX1" fmla="*/ 171450 w 457200"/>
              <a:gd name="connsiteY1" fmla="*/ 0 h 12700"/>
              <a:gd name="connsiteX2" fmla="*/ 381000 w 457200"/>
              <a:gd name="connsiteY2" fmla="*/ 12700 h 12700"/>
              <a:gd name="connsiteX3" fmla="*/ 457200 w 457200"/>
              <a:gd name="connsiteY3" fmla="*/ 0 h 1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7200" h="12700">
                <a:moveTo>
                  <a:pt x="0" y="12700"/>
                </a:moveTo>
                <a:cubicBezTo>
                  <a:pt x="53975" y="6350"/>
                  <a:pt x="107950" y="0"/>
                  <a:pt x="171450" y="0"/>
                </a:cubicBezTo>
                <a:cubicBezTo>
                  <a:pt x="234950" y="0"/>
                  <a:pt x="333375" y="12700"/>
                  <a:pt x="381000" y="12700"/>
                </a:cubicBezTo>
                <a:cubicBezTo>
                  <a:pt x="428625" y="12700"/>
                  <a:pt x="442912" y="6350"/>
                  <a:pt x="457200" y="0"/>
                </a:cubicBezTo>
              </a:path>
            </a:pathLst>
          </a:custGeom>
          <a:ln w="762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254" name="Полилиния 253"/>
          <p:cNvSpPr/>
          <p:nvPr/>
        </p:nvSpPr>
        <p:spPr>
          <a:xfrm>
            <a:off x="7056840" y="2753638"/>
            <a:ext cx="825837" cy="1465365"/>
          </a:xfrm>
          <a:custGeom>
            <a:avLst/>
            <a:gdLst>
              <a:gd name="connsiteX0" fmla="*/ 0 w 1155700"/>
              <a:gd name="connsiteY0" fmla="*/ 0 h 2260600"/>
              <a:gd name="connsiteX1" fmla="*/ 82550 w 1155700"/>
              <a:gd name="connsiteY1" fmla="*/ 120650 h 2260600"/>
              <a:gd name="connsiteX2" fmla="*/ 139700 w 1155700"/>
              <a:gd name="connsiteY2" fmla="*/ 336550 h 2260600"/>
              <a:gd name="connsiteX3" fmla="*/ 190500 w 1155700"/>
              <a:gd name="connsiteY3" fmla="*/ 412750 h 2260600"/>
              <a:gd name="connsiteX4" fmla="*/ 228600 w 1155700"/>
              <a:gd name="connsiteY4" fmla="*/ 615950 h 2260600"/>
              <a:gd name="connsiteX5" fmla="*/ 260350 w 1155700"/>
              <a:gd name="connsiteY5" fmla="*/ 692150 h 2260600"/>
              <a:gd name="connsiteX6" fmla="*/ 342900 w 1155700"/>
              <a:gd name="connsiteY6" fmla="*/ 844550 h 2260600"/>
              <a:gd name="connsiteX7" fmla="*/ 508000 w 1155700"/>
              <a:gd name="connsiteY7" fmla="*/ 990600 h 2260600"/>
              <a:gd name="connsiteX8" fmla="*/ 539750 w 1155700"/>
              <a:gd name="connsiteY8" fmla="*/ 1168400 h 2260600"/>
              <a:gd name="connsiteX9" fmla="*/ 463550 w 1155700"/>
              <a:gd name="connsiteY9" fmla="*/ 1225550 h 2260600"/>
              <a:gd name="connsiteX10" fmla="*/ 355600 w 1155700"/>
              <a:gd name="connsiteY10" fmla="*/ 1352550 h 2260600"/>
              <a:gd name="connsiteX11" fmla="*/ 285750 w 1155700"/>
              <a:gd name="connsiteY11" fmla="*/ 1466850 h 2260600"/>
              <a:gd name="connsiteX12" fmla="*/ 285750 w 1155700"/>
              <a:gd name="connsiteY12" fmla="*/ 1543050 h 2260600"/>
              <a:gd name="connsiteX13" fmla="*/ 203200 w 1155700"/>
              <a:gd name="connsiteY13" fmla="*/ 1619250 h 2260600"/>
              <a:gd name="connsiteX14" fmla="*/ 304800 w 1155700"/>
              <a:gd name="connsiteY14" fmla="*/ 1816100 h 2260600"/>
              <a:gd name="connsiteX15" fmla="*/ 488950 w 1155700"/>
              <a:gd name="connsiteY15" fmla="*/ 2000250 h 2260600"/>
              <a:gd name="connsiteX16" fmla="*/ 635000 w 1155700"/>
              <a:gd name="connsiteY16" fmla="*/ 2082800 h 2260600"/>
              <a:gd name="connsiteX17" fmla="*/ 774700 w 1155700"/>
              <a:gd name="connsiteY17" fmla="*/ 2120900 h 2260600"/>
              <a:gd name="connsiteX18" fmla="*/ 965200 w 1155700"/>
              <a:gd name="connsiteY18" fmla="*/ 2247900 h 2260600"/>
              <a:gd name="connsiteX19" fmla="*/ 1060450 w 1155700"/>
              <a:gd name="connsiteY19" fmla="*/ 2197100 h 2260600"/>
              <a:gd name="connsiteX20" fmla="*/ 1155700 w 1155700"/>
              <a:gd name="connsiteY20" fmla="*/ 2228850 h 226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155700" h="2260600">
                <a:moveTo>
                  <a:pt x="0" y="0"/>
                </a:moveTo>
                <a:cubicBezTo>
                  <a:pt x="29633" y="32279"/>
                  <a:pt x="59267" y="64558"/>
                  <a:pt x="82550" y="120650"/>
                </a:cubicBezTo>
                <a:cubicBezTo>
                  <a:pt x="105833" y="176742"/>
                  <a:pt x="121708" y="287867"/>
                  <a:pt x="139700" y="336550"/>
                </a:cubicBezTo>
                <a:cubicBezTo>
                  <a:pt x="157692" y="385233"/>
                  <a:pt x="175683" y="366183"/>
                  <a:pt x="190500" y="412750"/>
                </a:cubicBezTo>
                <a:cubicBezTo>
                  <a:pt x="205317" y="459317"/>
                  <a:pt x="216958" y="569383"/>
                  <a:pt x="228600" y="615950"/>
                </a:cubicBezTo>
                <a:cubicBezTo>
                  <a:pt x="240242" y="662517"/>
                  <a:pt x="241300" y="654050"/>
                  <a:pt x="260350" y="692150"/>
                </a:cubicBezTo>
                <a:cubicBezTo>
                  <a:pt x="279400" y="730250"/>
                  <a:pt x="301625" y="794808"/>
                  <a:pt x="342900" y="844550"/>
                </a:cubicBezTo>
                <a:cubicBezTo>
                  <a:pt x="384175" y="894292"/>
                  <a:pt x="475192" y="936625"/>
                  <a:pt x="508000" y="990600"/>
                </a:cubicBezTo>
                <a:cubicBezTo>
                  <a:pt x="540808" y="1044575"/>
                  <a:pt x="547158" y="1129242"/>
                  <a:pt x="539750" y="1168400"/>
                </a:cubicBezTo>
                <a:cubicBezTo>
                  <a:pt x="532342" y="1207558"/>
                  <a:pt x="494242" y="1194858"/>
                  <a:pt x="463550" y="1225550"/>
                </a:cubicBezTo>
                <a:cubicBezTo>
                  <a:pt x="432858" y="1256242"/>
                  <a:pt x="385233" y="1312334"/>
                  <a:pt x="355600" y="1352550"/>
                </a:cubicBezTo>
                <a:cubicBezTo>
                  <a:pt x="325967" y="1392766"/>
                  <a:pt x="297392" y="1435100"/>
                  <a:pt x="285750" y="1466850"/>
                </a:cubicBezTo>
                <a:cubicBezTo>
                  <a:pt x="274108" y="1498600"/>
                  <a:pt x="299508" y="1517650"/>
                  <a:pt x="285750" y="1543050"/>
                </a:cubicBezTo>
                <a:cubicBezTo>
                  <a:pt x="271992" y="1568450"/>
                  <a:pt x="200025" y="1573742"/>
                  <a:pt x="203200" y="1619250"/>
                </a:cubicBezTo>
                <a:cubicBezTo>
                  <a:pt x="206375" y="1664758"/>
                  <a:pt x="257175" y="1752600"/>
                  <a:pt x="304800" y="1816100"/>
                </a:cubicBezTo>
                <a:cubicBezTo>
                  <a:pt x="352425" y="1879600"/>
                  <a:pt x="433917" y="1955800"/>
                  <a:pt x="488950" y="2000250"/>
                </a:cubicBezTo>
                <a:cubicBezTo>
                  <a:pt x="543983" y="2044700"/>
                  <a:pt x="587375" y="2062692"/>
                  <a:pt x="635000" y="2082800"/>
                </a:cubicBezTo>
                <a:cubicBezTo>
                  <a:pt x="682625" y="2102908"/>
                  <a:pt x="719667" y="2093383"/>
                  <a:pt x="774700" y="2120900"/>
                </a:cubicBezTo>
                <a:cubicBezTo>
                  <a:pt x="829733" y="2148417"/>
                  <a:pt x="917575" y="2235200"/>
                  <a:pt x="965200" y="2247900"/>
                </a:cubicBezTo>
                <a:cubicBezTo>
                  <a:pt x="1012825" y="2260600"/>
                  <a:pt x="1028700" y="2200275"/>
                  <a:pt x="1060450" y="2197100"/>
                </a:cubicBezTo>
                <a:cubicBezTo>
                  <a:pt x="1092200" y="2193925"/>
                  <a:pt x="1123950" y="2211387"/>
                  <a:pt x="1155700" y="2228850"/>
                </a:cubicBezTo>
              </a:path>
            </a:pathLst>
          </a:custGeom>
          <a:ln w="762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 sz="1100" dirty="0"/>
          </a:p>
        </p:txBody>
      </p:sp>
      <p:sp>
        <p:nvSpPr>
          <p:cNvPr id="255" name="Полилиния 254"/>
          <p:cNvSpPr/>
          <p:nvPr/>
        </p:nvSpPr>
        <p:spPr bwMode="auto">
          <a:xfrm>
            <a:off x="7852651" y="4182032"/>
            <a:ext cx="47822" cy="189659"/>
          </a:xfrm>
          <a:custGeom>
            <a:avLst/>
            <a:gdLst>
              <a:gd name="connsiteX0" fmla="*/ 0 w 28575"/>
              <a:gd name="connsiteY0" fmla="*/ 0 h 254000"/>
              <a:gd name="connsiteX1" fmla="*/ 25400 w 28575"/>
              <a:gd name="connsiteY1" fmla="*/ 107950 h 254000"/>
              <a:gd name="connsiteX2" fmla="*/ 19050 w 28575"/>
              <a:gd name="connsiteY2" fmla="*/ 254000 h 25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575" h="254000">
                <a:moveTo>
                  <a:pt x="0" y="0"/>
                </a:moveTo>
                <a:cubicBezTo>
                  <a:pt x="11112" y="32808"/>
                  <a:pt x="22225" y="65617"/>
                  <a:pt x="25400" y="107950"/>
                </a:cubicBezTo>
                <a:cubicBezTo>
                  <a:pt x="28575" y="150283"/>
                  <a:pt x="23812" y="202141"/>
                  <a:pt x="19050" y="254000"/>
                </a:cubicBezTo>
              </a:path>
            </a:pathLst>
          </a:custGeom>
          <a:ln w="762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256" name="Полилиния 255"/>
          <p:cNvSpPr/>
          <p:nvPr/>
        </p:nvSpPr>
        <p:spPr bwMode="auto">
          <a:xfrm>
            <a:off x="6845317" y="2515291"/>
            <a:ext cx="229326" cy="251037"/>
          </a:xfrm>
          <a:custGeom>
            <a:avLst/>
            <a:gdLst>
              <a:gd name="connsiteX0" fmla="*/ 0 w 234950"/>
              <a:gd name="connsiteY0" fmla="*/ 0 h 254000"/>
              <a:gd name="connsiteX1" fmla="*/ 69850 w 234950"/>
              <a:gd name="connsiteY1" fmla="*/ 57150 h 254000"/>
              <a:gd name="connsiteX2" fmla="*/ 139700 w 234950"/>
              <a:gd name="connsiteY2" fmla="*/ 127000 h 254000"/>
              <a:gd name="connsiteX3" fmla="*/ 184150 w 234950"/>
              <a:gd name="connsiteY3" fmla="*/ 215900 h 254000"/>
              <a:gd name="connsiteX4" fmla="*/ 234950 w 234950"/>
              <a:gd name="connsiteY4" fmla="*/ 254000 h 25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4950" h="254000">
                <a:moveTo>
                  <a:pt x="0" y="0"/>
                </a:moveTo>
                <a:cubicBezTo>
                  <a:pt x="23283" y="17991"/>
                  <a:pt x="46567" y="35983"/>
                  <a:pt x="69850" y="57150"/>
                </a:cubicBezTo>
                <a:cubicBezTo>
                  <a:pt x="93133" y="78317"/>
                  <a:pt x="120650" y="100542"/>
                  <a:pt x="139700" y="127000"/>
                </a:cubicBezTo>
                <a:cubicBezTo>
                  <a:pt x="158750" y="153458"/>
                  <a:pt x="168275" y="194733"/>
                  <a:pt x="184150" y="215900"/>
                </a:cubicBezTo>
                <a:cubicBezTo>
                  <a:pt x="200025" y="237067"/>
                  <a:pt x="217487" y="245533"/>
                  <a:pt x="234950" y="254000"/>
                </a:cubicBezTo>
              </a:path>
            </a:pathLst>
          </a:custGeom>
          <a:ln w="762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257" name="Полилиния 256"/>
          <p:cNvSpPr/>
          <p:nvPr/>
        </p:nvSpPr>
        <p:spPr bwMode="auto">
          <a:xfrm>
            <a:off x="6686179" y="4650369"/>
            <a:ext cx="191537" cy="43003"/>
          </a:xfrm>
          <a:custGeom>
            <a:avLst/>
            <a:gdLst>
              <a:gd name="connsiteX0" fmla="*/ 19050 w 330200"/>
              <a:gd name="connsiteY0" fmla="*/ 438150 h 438150"/>
              <a:gd name="connsiteX1" fmla="*/ 6350 w 330200"/>
              <a:gd name="connsiteY1" fmla="*/ 279400 h 438150"/>
              <a:gd name="connsiteX2" fmla="*/ 57150 w 330200"/>
              <a:gd name="connsiteY2" fmla="*/ 215900 h 438150"/>
              <a:gd name="connsiteX3" fmla="*/ 57150 w 330200"/>
              <a:gd name="connsiteY3" fmla="*/ 95250 h 438150"/>
              <a:gd name="connsiteX4" fmla="*/ 190500 w 330200"/>
              <a:gd name="connsiteY4" fmla="*/ 25400 h 438150"/>
              <a:gd name="connsiteX5" fmla="*/ 285750 w 330200"/>
              <a:gd name="connsiteY5" fmla="*/ 12700 h 438150"/>
              <a:gd name="connsiteX6" fmla="*/ 330200 w 330200"/>
              <a:gd name="connsiteY6" fmla="*/ 0 h 43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0200" h="438150">
                <a:moveTo>
                  <a:pt x="19050" y="438150"/>
                </a:moveTo>
                <a:cubicBezTo>
                  <a:pt x="9525" y="377296"/>
                  <a:pt x="0" y="316442"/>
                  <a:pt x="6350" y="279400"/>
                </a:cubicBezTo>
                <a:cubicBezTo>
                  <a:pt x="12700" y="242358"/>
                  <a:pt x="48683" y="246592"/>
                  <a:pt x="57150" y="215900"/>
                </a:cubicBezTo>
                <a:cubicBezTo>
                  <a:pt x="65617" y="185208"/>
                  <a:pt x="34925" y="127000"/>
                  <a:pt x="57150" y="95250"/>
                </a:cubicBezTo>
                <a:cubicBezTo>
                  <a:pt x="79375" y="63500"/>
                  <a:pt x="152400" y="39158"/>
                  <a:pt x="190500" y="25400"/>
                </a:cubicBezTo>
                <a:cubicBezTo>
                  <a:pt x="228600" y="11642"/>
                  <a:pt x="262467" y="16933"/>
                  <a:pt x="285750" y="12700"/>
                </a:cubicBezTo>
                <a:cubicBezTo>
                  <a:pt x="309033" y="8467"/>
                  <a:pt x="319616" y="4233"/>
                  <a:pt x="330200" y="0"/>
                </a:cubicBezTo>
              </a:path>
            </a:pathLst>
          </a:custGeom>
          <a:ln w="762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258" name="Полилиния 257"/>
          <p:cNvSpPr/>
          <p:nvPr/>
        </p:nvSpPr>
        <p:spPr bwMode="auto">
          <a:xfrm rot="17658188">
            <a:off x="6040244" y="3908923"/>
            <a:ext cx="191330" cy="38940"/>
          </a:xfrm>
          <a:custGeom>
            <a:avLst/>
            <a:gdLst>
              <a:gd name="connsiteX0" fmla="*/ 0 w 327803"/>
              <a:gd name="connsiteY0" fmla="*/ 0 h 113581"/>
              <a:gd name="connsiteX1" fmla="*/ 112143 w 327803"/>
              <a:gd name="connsiteY1" fmla="*/ 103517 h 113581"/>
              <a:gd name="connsiteX2" fmla="*/ 327803 w 327803"/>
              <a:gd name="connsiteY2" fmla="*/ 60385 h 113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7803" h="113581">
                <a:moveTo>
                  <a:pt x="0" y="0"/>
                </a:moveTo>
                <a:cubicBezTo>
                  <a:pt x="28754" y="46726"/>
                  <a:pt x="57509" y="93453"/>
                  <a:pt x="112143" y="103517"/>
                </a:cubicBezTo>
                <a:cubicBezTo>
                  <a:pt x="166777" y="113581"/>
                  <a:pt x="247290" y="86983"/>
                  <a:pt x="327803" y="60385"/>
                </a:cubicBezTo>
              </a:path>
            </a:pathLst>
          </a:custGeom>
          <a:ln w="762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259" name="Овал 258"/>
          <p:cNvSpPr/>
          <p:nvPr/>
        </p:nvSpPr>
        <p:spPr bwMode="auto">
          <a:xfrm>
            <a:off x="6023695" y="3980732"/>
            <a:ext cx="83590" cy="74917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260" name="Полилиния 259"/>
          <p:cNvSpPr/>
          <p:nvPr/>
        </p:nvSpPr>
        <p:spPr bwMode="auto">
          <a:xfrm>
            <a:off x="7577102" y="2234308"/>
            <a:ext cx="77887" cy="171865"/>
          </a:xfrm>
          <a:custGeom>
            <a:avLst/>
            <a:gdLst>
              <a:gd name="connsiteX0" fmla="*/ 0 w 660400"/>
              <a:gd name="connsiteY0" fmla="*/ 0 h 488950"/>
              <a:gd name="connsiteX1" fmla="*/ 69850 w 660400"/>
              <a:gd name="connsiteY1" fmla="*/ 95250 h 488950"/>
              <a:gd name="connsiteX2" fmla="*/ 120650 w 660400"/>
              <a:gd name="connsiteY2" fmla="*/ 171450 h 488950"/>
              <a:gd name="connsiteX3" fmla="*/ 139700 w 660400"/>
              <a:gd name="connsiteY3" fmla="*/ 254000 h 488950"/>
              <a:gd name="connsiteX4" fmla="*/ 254000 w 660400"/>
              <a:gd name="connsiteY4" fmla="*/ 254000 h 488950"/>
              <a:gd name="connsiteX5" fmla="*/ 412750 w 660400"/>
              <a:gd name="connsiteY5" fmla="*/ 298450 h 488950"/>
              <a:gd name="connsiteX6" fmla="*/ 482600 w 660400"/>
              <a:gd name="connsiteY6" fmla="*/ 393700 h 488950"/>
              <a:gd name="connsiteX7" fmla="*/ 558800 w 660400"/>
              <a:gd name="connsiteY7" fmla="*/ 406400 h 488950"/>
              <a:gd name="connsiteX8" fmla="*/ 596900 w 660400"/>
              <a:gd name="connsiteY8" fmla="*/ 463550 h 488950"/>
              <a:gd name="connsiteX9" fmla="*/ 660400 w 660400"/>
              <a:gd name="connsiteY9" fmla="*/ 488950 h 488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0400" h="488950">
                <a:moveTo>
                  <a:pt x="0" y="0"/>
                </a:moveTo>
                <a:cubicBezTo>
                  <a:pt x="24871" y="33337"/>
                  <a:pt x="49742" y="66675"/>
                  <a:pt x="69850" y="95250"/>
                </a:cubicBezTo>
                <a:cubicBezTo>
                  <a:pt x="89958" y="123825"/>
                  <a:pt x="109008" y="144992"/>
                  <a:pt x="120650" y="171450"/>
                </a:cubicBezTo>
                <a:cubicBezTo>
                  <a:pt x="132292" y="197908"/>
                  <a:pt x="117475" y="240242"/>
                  <a:pt x="139700" y="254000"/>
                </a:cubicBezTo>
                <a:cubicBezTo>
                  <a:pt x="161925" y="267758"/>
                  <a:pt x="208492" y="246592"/>
                  <a:pt x="254000" y="254000"/>
                </a:cubicBezTo>
                <a:cubicBezTo>
                  <a:pt x="299508" y="261408"/>
                  <a:pt x="374650" y="275167"/>
                  <a:pt x="412750" y="298450"/>
                </a:cubicBezTo>
                <a:cubicBezTo>
                  <a:pt x="450850" y="321733"/>
                  <a:pt x="458258" y="375708"/>
                  <a:pt x="482600" y="393700"/>
                </a:cubicBezTo>
                <a:cubicBezTo>
                  <a:pt x="506942" y="411692"/>
                  <a:pt x="539750" y="394758"/>
                  <a:pt x="558800" y="406400"/>
                </a:cubicBezTo>
                <a:cubicBezTo>
                  <a:pt x="577850" y="418042"/>
                  <a:pt x="579967" y="449792"/>
                  <a:pt x="596900" y="463550"/>
                </a:cubicBezTo>
                <a:cubicBezTo>
                  <a:pt x="613833" y="477308"/>
                  <a:pt x="637116" y="483129"/>
                  <a:pt x="660400" y="488950"/>
                </a:cubicBezTo>
              </a:path>
            </a:pathLst>
          </a:cu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261" name="Овал 260"/>
          <p:cNvSpPr/>
          <p:nvPr/>
        </p:nvSpPr>
        <p:spPr bwMode="auto">
          <a:xfrm>
            <a:off x="6811021" y="2480701"/>
            <a:ext cx="84508" cy="75831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262" name="Полилиния 261"/>
          <p:cNvSpPr/>
          <p:nvPr/>
        </p:nvSpPr>
        <p:spPr bwMode="auto">
          <a:xfrm rot="19783247" flipV="1">
            <a:off x="7913696" y="4258292"/>
            <a:ext cx="316165" cy="107711"/>
          </a:xfrm>
          <a:custGeom>
            <a:avLst/>
            <a:gdLst>
              <a:gd name="connsiteX0" fmla="*/ 0 w 749300"/>
              <a:gd name="connsiteY0" fmla="*/ 482600 h 482600"/>
              <a:gd name="connsiteX1" fmla="*/ 165100 w 749300"/>
              <a:gd name="connsiteY1" fmla="*/ 374650 h 482600"/>
              <a:gd name="connsiteX2" fmla="*/ 317500 w 749300"/>
              <a:gd name="connsiteY2" fmla="*/ 342900 h 482600"/>
              <a:gd name="connsiteX3" fmla="*/ 406400 w 749300"/>
              <a:gd name="connsiteY3" fmla="*/ 406400 h 482600"/>
              <a:gd name="connsiteX4" fmla="*/ 450850 w 749300"/>
              <a:gd name="connsiteY4" fmla="*/ 336550 h 482600"/>
              <a:gd name="connsiteX5" fmla="*/ 552450 w 749300"/>
              <a:gd name="connsiteY5" fmla="*/ 311150 h 482600"/>
              <a:gd name="connsiteX6" fmla="*/ 539750 w 749300"/>
              <a:gd name="connsiteY6" fmla="*/ 222250 h 482600"/>
              <a:gd name="connsiteX7" fmla="*/ 590550 w 749300"/>
              <a:gd name="connsiteY7" fmla="*/ 76200 h 482600"/>
              <a:gd name="connsiteX8" fmla="*/ 749300 w 749300"/>
              <a:gd name="connsiteY8" fmla="*/ 0 h 48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49300" h="482600">
                <a:moveTo>
                  <a:pt x="0" y="482600"/>
                </a:moveTo>
                <a:cubicBezTo>
                  <a:pt x="56091" y="440266"/>
                  <a:pt x="112183" y="397933"/>
                  <a:pt x="165100" y="374650"/>
                </a:cubicBezTo>
                <a:cubicBezTo>
                  <a:pt x="218017" y="351367"/>
                  <a:pt x="277283" y="337608"/>
                  <a:pt x="317500" y="342900"/>
                </a:cubicBezTo>
                <a:cubicBezTo>
                  <a:pt x="357717" y="348192"/>
                  <a:pt x="384175" y="407458"/>
                  <a:pt x="406400" y="406400"/>
                </a:cubicBezTo>
                <a:cubicBezTo>
                  <a:pt x="428625" y="405342"/>
                  <a:pt x="426508" y="352425"/>
                  <a:pt x="450850" y="336550"/>
                </a:cubicBezTo>
                <a:cubicBezTo>
                  <a:pt x="475192" y="320675"/>
                  <a:pt x="537633" y="330200"/>
                  <a:pt x="552450" y="311150"/>
                </a:cubicBezTo>
                <a:cubicBezTo>
                  <a:pt x="567267" y="292100"/>
                  <a:pt x="533400" y="261408"/>
                  <a:pt x="539750" y="222250"/>
                </a:cubicBezTo>
                <a:cubicBezTo>
                  <a:pt x="546100" y="183092"/>
                  <a:pt x="555625" y="113242"/>
                  <a:pt x="590550" y="76200"/>
                </a:cubicBezTo>
                <a:cubicBezTo>
                  <a:pt x="625475" y="39158"/>
                  <a:pt x="687387" y="19579"/>
                  <a:pt x="749300" y="0"/>
                </a:cubicBezTo>
              </a:path>
            </a:pathLst>
          </a:custGeom>
          <a:ln w="762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264" name="Полилиния 263"/>
          <p:cNvSpPr/>
          <p:nvPr/>
        </p:nvSpPr>
        <p:spPr bwMode="auto">
          <a:xfrm>
            <a:off x="3684444" y="4053749"/>
            <a:ext cx="124448" cy="303371"/>
          </a:xfrm>
          <a:custGeom>
            <a:avLst/>
            <a:gdLst>
              <a:gd name="connsiteX0" fmla="*/ 0 w 167640"/>
              <a:gd name="connsiteY0" fmla="*/ 0 h 678180"/>
              <a:gd name="connsiteX1" fmla="*/ 91440 w 167640"/>
              <a:gd name="connsiteY1" fmla="*/ 106680 h 678180"/>
              <a:gd name="connsiteX2" fmla="*/ 167640 w 167640"/>
              <a:gd name="connsiteY2" fmla="*/ 121920 h 678180"/>
              <a:gd name="connsiteX3" fmla="*/ 91440 w 167640"/>
              <a:gd name="connsiteY3" fmla="*/ 289560 h 678180"/>
              <a:gd name="connsiteX4" fmla="*/ 129540 w 167640"/>
              <a:gd name="connsiteY4" fmla="*/ 373380 h 678180"/>
              <a:gd name="connsiteX5" fmla="*/ 45720 w 167640"/>
              <a:gd name="connsiteY5" fmla="*/ 487680 h 678180"/>
              <a:gd name="connsiteX6" fmla="*/ 7620 w 167640"/>
              <a:gd name="connsiteY6" fmla="*/ 678180 h 678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7640" h="678180">
                <a:moveTo>
                  <a:pt x="0" y="0"/>
                </a:moveTo>
                <a:cubicBezTo>
                  <a:pt x="31750" y="43180"/>
                  <a:pt x="63500" y="86360"/>
                  <a:pt x="91440" y="106680"/>
                </a:cubicBezTo>
                <a:cubicBezTo>
                  <a:pt x="119380" y="127000"/>
                  <a:pt x="167640" y="91440"/>
                  <a:pt x="167640" y="121920"/>
                </a:cubicBezTo>
                <a:cubicBezTo>
                  <a:pt x="167640" y="152400"/>
                  <a:pt x="97790" y="247650"/>
                  <a:pt x="91440" y="289560"/>
                </a:cubicBezTo>
                <a:cubicBezTo>
                  <a:pt x="85090" y="331470"/>
                  <a:pt x="137160" y="340360"/>
                  <a:pt x="129540" y="373380"/>
                </a:cubicBezTo>
                <a:cubicBezTo>
                  <a:pt x="121920" y="406400"/>
                  <a:pt x="66040" y="436880"/>
                  <a:pt x="45720" y="487680"/>
                </a:cubicBezTo>
                <a:cubicBezTo>
                  <a:pt x="25400" y="538480"/>
                  <a:pt x="16510" y="608330"/>
                  <a:pt x="7620" y="678180"/>
                </a:cubicBezTo>
              </a:path>
            </a:pathLst>
          </a:custGeom>
          <a:ln w="762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265" name="Полилиния 264"/>
          <p:cNvSpPr/>
          <p:nvPr/>
        </p:nvSpPr>
        <p:spPr bwMode="auto">
          <a:xfrm>
            <a:off x="3552039" y="3947189"/>
            <a:ext cx="155673" cy="98211"/>
          </a:xfrm>
          <a:custGeom>
            <a:avLst/>
            <a:gdLst>
              <a:gd name="connsiteX0" fmla="*/ 242888 w 242888"/>
              <a:gd name="connsiteY0" fmla="*/ 0 h 208757"/>
              <a:gd name="connsiteX1" fmla="*/ 209550 w 242888"/>
              <a:gd name="connsiteY1" fmla="*/ 176213 h 208757"/>
              <a:gd name="connsiteX2" fmla="*/ 190500 w 242888"/>
              <a:gd name="connsiteY2" fmla="*/ 195263 h 208757"/>
              <a:gd name="connsiteX3" fmla="*/ 109538 w 242888"/>
              <a:gd name="connsiteY3" fmla="*/ 157163 h 208757"/>
              <a:gd name="connsiteX4" fmla="*/ 0 w 242888"/>
              <a:gd name="connsiteY4" fmla="*/ 109538 h 208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888" h="208757">
                <a:moveTo>
                  <a:pt x="242888" y="0"/>
                </a:moveTo>
                <a:cubicBezTo>
                  <a:pt x="230584" y="71834"/>
                  <a:pt x="218281" y="143669"/>
                  <a:pt x="209550" y="176213"/>
                </a:cubicBezTo>
                <a:cubicBezTo>
                  <a:pt x="200819" y="208757"/>
                  <a:pt x="207169" y="198438"/>
                  <a:pt x="190500" y="195263"/>
                </a:cubicBezTo>
                <a:cubicBezTo>
                  <a:pt x="173831" y="192088"/>
                  <a:pt x="141288" y="171451"/>
                  <a:pt x="109538" y="157163"/>
                </a:cubicBezTo>
                <a:cubicBezTo>
                  <a:pt x="77788" y="142876"/>
                  <a:pt x="38894" y="126207"/>
                  <a:pt x="0" y="109538"/>
                </a:cubicBezTo>
              </a:path>
            </a:pathLst>
          </a:custGeom>
          <a:ln w="762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266" name="Овал 265"/>
          <p:cNvSpPr/>
          <p:nvPr/>
        </p:nvSpPr>
        <p:spPr bwMode="auto">
          <a:xfrm>
            <a:off x="3547859" y="3971134"/>
            <a:ext cx="81421" cy="72016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267" name="Полилиния 266"/>
          <p:cNvSpPr/>
          <p:nvPr/>
        </p:nvSpPr>
        <p:spPr bwMode="auto">
          <a:xfrm>
            <a:off x="3701889" y="3952399"/>
            <a:ext cx="161306" cy="41167"/>
          </a:xfrm>
          <a:custGeom>
            <a:avLst/>
            <a:gdLst>
              <a:gd name="connsiteX0" fmla="*/ 0 w 314325"/>
              <a:gd name="connsiteY0" fmla="*/ 53181 h 119856"/>
              <a:gd name="connsiteX1" fmla="*/ 23812 w 314325"/>
              <a:gd name="connsiteY1" fmla="*/ 794 h 119856"/>
              <a:gd name="connsiteX2" fmla="*/ 123825 w 314325"/>
              <a:gd name="connsiteY2" fmla="*/ 48419 h 119856"/>
              <a:gd name="connsiteX3" fmla="*/ 200025 w 314325"/>
              <a:gd name="connsiteY3" fmla="*/ 86519 h 119856"/>
              <a:gd name="connsiteX4" fmla="*/ 247650 w 314325"/>
              <a:gd name="connsiteY4" fmla="*/ 119856 h 119856"/>
              <a:gd name="connsiteX5" fmla="*/ 314325 w 314325"/>
              <a:gd name="connsiteY5" fmla="*/ 86519 h 119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14325" h="119856">
                <a:moveTo>
                  <a:pt x="0" y="53181"/>
                </a:moveTo>
                <a:cubicBezTo>
                  <a:pt x="1587" y="27384"/>
                  <a:pt x="3175" y="1588"/>
                  <a:pt x="23812" y="794"/>
                </a:cubicBezTo>
                <a:cubicBezTo>
                  <a:pt x="44449" y="0"/>
                  <a:pt x="94456" y="34132"/>
                  <a:pt x="123825" y="48419"/>
                </a:cubicBezTo>
                <a:cubicBezTo>
                  <a:pt x="153194" y="62706"/>
                  <a:pt x="179387" y="74613"/>
                  <a:pt x="200025" y="86519"/>
                </a:cubicBezTo>
                <a:cubicBezTo>
                  <a:pt x="220663" y="98425"/>
                  <a:pt x="228600" y="119856"/>
                  <a:pt x="247650" y="119856"/>
                </a:cubicBezTo>
                <a:cubicBezTo>
                  <a:pt x="266700" y="119856"/>
                  <a:pt x="290512" y="103187"/>
                  <a:pt x="314325" y="86519"/>
                </a:cubicBezTo>
              </a:path>
            </a:pathLst>
          </a:custGeom>
          <a:ln w="762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7890" tIns="28945" rIns="57890" bIns="2894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268" name="Полилиния 267"/>
          <p:cNvSpPr/>
          <p:nvPr/>
        </p:nvSpPr>
        <p:spPr>
          <a:xfrm rot="21401488">
            <a:off x="6202341" y="4240075"/>
            <a:ext cx="414792" cy="431966"/>
          </a:xfrm>
          <a:custGeom>
            <a:avLst/>
            <a:gdLst>
              <a:gd name="connsiteX0" fmla="*/ 445016 w 445016"/>
              <a:gd name="connsiteY0" fmla="*/ 414337 h 414337"/>
              <a:gd name="connsiteX1" fmla="*/ 397391 w 445016"/>
              <a:gd name="connsiteY1" fmla="*/ 390525 h 414337"/>
              <a:gd name="connsiteX2" fmla="*/ 373579 w 445016"/>
              <a:gd name="connsiteY2" fmla="*/ 333375 h 414337"/>
              <a:gd name="connsiteX3" fmla="*/ 268804 w 445016"/>
              <a:gd name="connsiteY3" fmla="*/ 247650 h 414337"/>
              <a:gd name="connsiteX4" fmla="*/ 187841 w 445016"/>
              <a:gd name="connsiteY4" fmla="*/ 171450 h 414337"/>
              <a:gd name="connsiteX5" fmla="*/ 87829 w 445016"/>
              <a:gd name="connsiteY5" fmla="*/ 109537 h 414337"/>
              <a:gd name="connsiteX6" fmla="*/ 2104 w 445016"/>
              <a:gd name="connsiteY6" fmla="*/ 0 h 414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5016" h="414337">
                <a:moveTo>
                  <a:pt x="445016" y="414337"/>
                </a:moveTo>
                <a:cubicBezTo>
                  <a:pt x="427156" y="409178"/>
                  <a:pt x="409297" y="404019"/>
                  <a:pt x="397391" y="390525"/>
                </a:cubicBezTo>
                <a:cubicBezTo>
                  <a:pt x="385485" y="377031"/>
                  <a:pt x="395010" y="357187"/>
                  <a:pt x="373579" y="333375"/>
                </a:cubicBezTo>
                <a:cubicBezTo>
                  <a:pt x="352148" y="309563"/>
                  <a:pt x="299760" y="274638"/>
                  <a:pt x="268804" y="247650"/>
                </a:cubicBezTo>
                <a:cubicBezTo>
                  <a:pt x="237848" y="220662"/>
                  <a:pt x="218003" y="194469"/>
                  <a:pt x="187841" y="171450"/>
                </a:cubicBezTo>
                <a:cubicBezTo>
                  <a:pt x="157679" y="148431"/>
                  <a:pt x="118785" y="138112"/>
                  <a:pt x="87829" y="109537"/>
                </a:cubicBezTo>
                <a:cubicBezTo>
                  <a:pt x="56873" y="80962"/>
                  <a:pt x="-12977" y="26194"/>
                  <a:pt x="2104" y="0"/>
                </a:cubicBezTo>
              </a:path>
            </a:pathLst>
          </a:custGeom>
          <a:noFill/>
          <a:ln w="7620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269" name="Овал 268"/>
          <p:cNvSpPr/>
          <p:nvPr/>
        </p:nvSpPr>
        <p:spPr bwMode="auto">
          <a:xfrm>
            <a:off x="6605488" y="4607408"/>
            <a:ext cx="109952" cy="102481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270" name="Шестиугольник 42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 rot="1891179">
            <a:off x="6371872" y="4494277"/>
            <a:ext cx="112066" cy="87709"/>
          </a:xfrm>
          <a:prstGeom prst="hexagon">
            <a:avLst>
              <a:gd name="adj" fmla="val 32148"/>
              <a:gd name="vf" fmla="val 115470"/>
            </a:avLst>
          </a:prstGeom>
          <a:solidFill>
            <a:schemeClr val="tx2">
              <a:lumMod val="50000"/>
            </a:schemeClr>
          </a:solidFill>
          <a:ln>
            <a:noFill/>
          </a:ln>
        </p:spPr>
        <p:txBody>
          <a:bodyPr lIns="72000" tIns="0" rIns="7200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  <a:latin typeface="+mn-lt"/>
              <a:ea typeface="+mn-ea"/>
            </a:endParaRPr>
          </a:p>
        </p:txBody>
      </p:sp>
      <p:pic>
        <p:nvPicPr>
          <p:cNvPr id="271" name="Рисунок 270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5427" y="4526242"/>
            <a:ext cx="69835" cy="4664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72" name="Прямоугольник 22"/>
          <p:cNvSpPr>
            <a:spLocks noChangeArrowheads="1"/>
          </p:cNvSpPr>
          <p:nvPr/>
        </p:nvSpPr>
        <p:spPr bwMode="auto">
          <a:xfrm>
            <a:off x="5667863" y="4108470"/>
            <a:ext cx="61427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altLang="ru-RU" sz="900" dirty="0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Туркестан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273" name="Прямоугольник 23"/>
          <p:cNvSpPr>
            <a:spLocks noChangeArrowheads="1"/>
          </p:cNvSpPr>
          <p:nvPr/>
        </p:nvSpPr>
        <p:spPr bwMode="auto">
          <a:xfrm>
            <a:off x="6128201" y="3679570"/>
            <a:ext cx="63511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altLang="ru-RU" sz="900" dirty="0" err="1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Байконыр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274" name="Овал 273"/>
          <p:cNvSpPr/>
          <p:nvPr/>
        </p:nvSpPr>
        <p:spPr bwMode="auto">
          <a:xfrm>
            <a:off x="6134419" y="3774297"/>
            <a:ext cx="83590" cy="74917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275" name="Полилиния 274"/>
          <p:cNvSpPr/>
          <p:nvPr/>
        </p:nvSpPr>
        <p:spPr bwMode="auto">
          <a:xfrm>
            <a:off x="4034896" y="3801755"/>
            <a:ext cx="238607" cy="80977"/>
          </a:xfrm>
          <a:custGeom>
            <a:avLst/>
            <a:gdLst>
              <a:gd name="connsiteX0" fmla="*/ 266700 w 266700"/>
              <a:gd name="connsiteY0" fmla="*/ 0 h 123825"/>
              <a:gd name="connsiteX1" fmla="*/ 123825 w 266700"/>
              <a:gd name="connsiteY1" fmla="*/ 71437 h 123825"/>
              <a:gd name="connsiteX2" fmla="*/ 0 w 266700"/>
              <a:gd name="connsiteY2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6700" h="123825">
                <a:moveTo>
                  <a:pt x="266700" y="0"/>
                </a:moveTo>
                <a:cubicBezTo>
                  <a:pt x="217487" y="25400"/>
                  <a:pt x="168275" y="50800"/>
                  <a:pt x="123825" y="71437"/>
                </a:cubicBezTo>
                <a:cubicBezTo>
                  <a:pt x="79375" y="92075"/>
                  <a:pt x="39687" y="107950"/>
                  <a:pt x="0" y="123825"/>
                </a:cubicBezTo>
              </a:path>
            </a:pathLst>
          </a:custGeom>
          <a:ln w="762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7890" tIns="28945" rIns="57890" bIns="28945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276" name="Полилиния 275"/>
          <p:cNvSpPr/>
          <p:nvPr/>
        </p:nvSpPr>
        <p:spPr bwMode="auto">
          <a:xfrm>
            <a:off x="3856372" y="3882730"/>
            <a:ext cx="182825" cy="98001"/>
          </a:xfrm>
          <a:custGeom>
            <a:avLst/>
            <a:gdLst>
              <a:gd name="connsiteX0" fmla="*/ 171450 w 171450"/>
              <a:gd name="connsiteY0" fmla="*/ 0 h 109537"/>
              <a:gd name="connsiteX1" fmla="*/ 85725 w 171450"/>
              <a:gd name="connsiteY1" fmla="*/ 38100 h 109537"/>
              <a:gd name="connsiteX2" fmla="*/ 71437 w 171450"/>
              <a:gd name="connsiteY2" fmla="*/ 80962 h 109537"/>
              <a:gd name="connsiteX3" fmla="*/ 0 w 171450"/>
              <a:gd name="connsiteY3" fmla="*/ 109537 h 109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1450" h="109537">
                <a:moveTo>
                  <a:pt x="171450" y="0"/>
                </a:moveTo>
                <a:cubicBezTo>
                  <a:pt x="136922" y="12303"/>
                  <a:pt x="102394" y="24606"/>
                  <a:pt x="85725" y="38100"/>
                </a:cubicBezTo>
                <a:cubicBezTo>
                  <a:pt x="69056" y="51594"/>
                  <a:pt x="85724" y="69056"/>
                  <a:pt x="71437" y="80962"/>
                </a:cubicBezTo>
                <a:cubicBezTo>
                  <a:pt x="57150" y="92868"/>
                  <a:pt x="28575" y="101202"/>
                  <a:pt x="0" y="109537"/>
                </a:cubicBezTo>
              </a:path>
            </a:pathLst>
          </a:custGeom>
          <a:ln w="762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277" name="Овал 276"/>
          <p:cNvSpPr/>
          <p:nvPr/>
        </p:nvSpPr>
        <p:spPr bwMode="auto">
          <a:xfrm>
            <a:off x="4223926" y="3752507"/>
            <a:ext cx="83589" cy="75831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278" name="Прямоугольник 24"/>
          <p:cNvSpPr>
            <a:spLocks noChangeArrowheads="1"/>
          </p:cNvSpPr>
          <p:nvPr/>
        </p:nvSpPr>
        <p:spPr bwMode="auto">
          <a:xfrm>
            <a:off x="4217035" y="3687401"/>
            <a:ext cx="48282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altLang="ru-RU" sz="900" dirty="0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Устюрт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279" name="Прямоугольник 24"/>
          <p:cNvSpPr>
            <a:spLocks noChangeArrowheads="1"/>
          </p:cNvSpPr>
          <p:nvPr/>
        </p:nvSpPr>
        <p:spPr bwMode="auto">
          <a:xfrm>
            <a:off x="3345130" y="3695211"/>
            <a:ext cx="46519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altLang="ru-RU" sz="900" dirty="0" err="1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Шетпе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280" name="Овал 279"/>
          <p:cNvSpPr/>
          <p:nvPr/>
        </p:nvSpPr>
        <p:spPr bwMode="auto">
          <a:xfrm>
            <a:off x="3645683" y="4321110"/>
            <a:ext cx="81421" cy="72016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281" name="Прямоугольник 24"/>
          <p:cNvSpPr>
            <a:spLocks noChangeArrowheads="1"/>
          </p:cNvSpPr>
          <p:nvPr/>
        </p:nvSpPr>
        <p:spPr bwMode="auto">
          <a:xfrm>
            <a:off x="3571913" y="4330773"/>
            <a:ext cx="54694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altLang="ru-RU" sz="900" dirty="0" err="1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Карагие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282" name="Полилиния 281"/>
          <p:cNvSpPr/>
          <p:nvPr/>
        </p:nvSpPr>
        <p:spPr>
          <a:xfrm>
            <a:off x="8514251" y="2515897"/>
            <a:ext cx="373180" cy="124286"/>
          </a:xfrm>
          <a:custGeom>
            <a:avLst/>
            <a:gdLst>
              <a:gd name="connsiteX0" fmla="*/ 0 w 438150"/>
              <a:gd name="connsiteY0" fmla="*/ 23813 h 138029"/>
              <a:gd name="connsiteX1" fmla="*/ 66675 w 438150"/>
              <a:gd name="connsiteY1" fmla="*/ 0 h 138029"/>
              <a:gd name="connsiteX2" fmla="*/ 123825 w 438150"/>
              <a:gd name="connsiteY2" fmla="*/ 23813 h 138029"/>
              <a:gd name="connsiteX3" fmla="*/ 195263 w 438150"/>
              <a:gd name="connsiteY3" fmla="*/ 66675 h 138029"/>
              <a:gd name="connsiteX4" fmla="*/ 266700 w 438150"/>
              <a:gd name="connsiteY4" fmla="*/ 9525 h 138029"/>
              <a:gd name="connsiteX5" fmla="*/ 309563 w 438150"/>
              <a:gd name="connsiteY5" fmla="*/ 19050 h 138029"/>
              <a:gd name="connsiteX6" fmla="*/ 352425 w 438150"/>
              <a:gd name="connsiteY6" fmla="*/ 23813 h 138029"/>
              <a:gd name="connsiteX7" fmla="*/ 366713 w 438150"/>
              <a:gd name="connsiteY7" fmla="*/ 57150 h 138029"/>
              <a:gd name="connsiteX8" fmla="*/ 371475 w 438150"/>
              <a:gd name="connsiteY8" fmla="*/ 133350 h 138029"/>
              <a:gd name="connsiteX9" fmla="*/ 438150 w 438150"/>
              <a:gd name="connsiteY9" fmla="*/ 128588 h 138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150" h="138029">
                <a:moveTo>
                  <a:pt x="0" y="23813"/>
                </a:moveTo>
                <a:cubicBezTo>
                  <a:pt x="23019" y="11906"/>
                  <a:pt x="46038" y="0"/>
                  <a:pt x="66675" y="0"/>
                </a:cubicBezTo>
                <a:cubicBezTo>
                  <a:pt x="87312" y="0"/>
                  <a:pt x="102394" y="12701"/>
                  <a:pt x="123825" y="23813"/>
                </a:cubicBezTo>
                <a:cubicBezTo>
                  <a:pt x="145256" y="34925"/>
                  <a:pt x="171450" y="69056"/>
                  <a:pt x="195263" y="66675"/>
                </a:cubicBezTo>
                <a:cubicBezTo>
                  <a:pt x="219076" y="64294"/>
                  <a:pt x="247650" y="17462"/>
                  <a:pt x="266700" y="9525"/>
                </a:cubicBezTo>
                <a:cubicBezTo>
                  <a:pt x="285750" y="1588"/>
                  <a:pt x="295276" y="16669"/>
                  <a:pt x="309563" y="19050"/>
                </a:cubicBezTo>
                <a:cubicBezTo>
                  <a:pt x="323850" y="21431"/>
                  <a:pt x="342900" y="17463"/>
                  <a:pt x="352425" y="23813"/>
                </a:cubicBezTo>
                <a:cubicBezTo>
                  <a:pt x="361950" y="30163"/>
                  <a:pt x="363538" y="38894"/>
                  <a:pt x="366713" y="57150"/>
                </a:cubicBezTo>
                <a:cubicBezTo>
                  <a:pt x="369888" y="75406"/>
                  <a:pt x="359569" y="121444"/>
                  <a:pt x="371475" y="133350"/>
                </a:cubicBezTo>
                <a:cubicBezTo>
                  <a:pt x="383381" y="145256"/>
                  <a:pt x="423069" y="130969"/>
                  <a:pt x="438150" y="128588"/>
                </a:cubicBezTo>
              </a:path>
            </a:pathLst>
          </a:custGeom>
          <a:solidFill>
            <a:schemeClr val="accent2"/>
          </a:solidFill>
          <a:ln w="7620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283" name="Овал 282"/>
          <p:cNvSpPr/>
          <p:nvPr/>
        </p:nvSpPr>
        <p:spPr bwMode="auto">
          <a:xfrm>
            <a:off x="8461914" y="2512454"/>
            <a:ext cx="83589" cy="75831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284" name="Овал 283"/>
          <p:cNvSpPr/>
          <p:nvPr/>
        </p:nvSpPr>
        <p:spPr bwMode="auto">
          <a:xfrm>
            <a:off x="8862285" y="2589724"/>
            <a:ext cx="83589" cy="75831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285" name="Прямоугольник 20"/>
          <p:cNvSpPr>
            <a:spLocks noChangeArrowheads="1"/>
          </p:cNvSpPr>
          <p:nvPr/>
        </p:nvSpPr>
        <p:spPr bwMode="auto">
          <a:xfrm>
            <a:off x="8540549" y="2603828"/>
            <a:ext cx="83708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altLang="ru-RU" sz="900" dirty="0" err="1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Катон</a:t>
            </a:r>
            <a:r>
              <a:rPr lang="ru-RU" altLang="ru-RU" sz="900" dirty="0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-Карагай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286" name="Прямоугольник 15"/>
          <p:cNvSpPr>
            <a:spLocks noChangeArrowheads="1"/>
          </p:cNvSpPr>
          <p:nvPr/>
        </p:nvSpPr>
        <p:spPr bwMode="auto">
          <a:xfrm>
            <a:off x="7525078" y="2349755"/>
            <a:ext cx="60946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altLang="ru-RU" sz="900" dirty="0" err="1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Баянауыл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287" name="TextBox 10"/>
          <p:cNvSpPr txBox="1">
            <a:spLocks noChangeArrowheads="1"/>
          </p:cNvSpPr>
          <p:nvPr/>
        </p:nvSpPr>
        <p:spPr bwMode="auto">
          <a:xfrm>
            <a:off x="6700484" y="1999578"/>
            <a:ext cx="56297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ru-RU" altLang="ru-RU" sz="900" dirty="0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Боровое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sp>
        <p:nvSpPr>
          <p:cNvPr id="290" name="Овал 289"/>
          <p:cNvSpPr/>
          <p:nvPr/>
        </p:nvSpPr>
        <p:spPr bwMode="auto">
          <a:xfrm>
            <a:off x="8105510" y="2489612"/>
            <a:ext cx="83589" cy="75831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291" name="Овал 290"/>
          <p:cNvSpPr/>
          <p:nvPr/>
        </p:nvSpPr>
        <p:spPr bwMode="auto">
          <a:xfrm>
            <a:off x="6681719" y="2097478"/>
            <a:ext cx="84508" cy="75831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235" name="Полилиния 234"/>
          <p:cNvSpPr/>
          <p:nvPr/>
        </p:nvSpPr>
        <p:spPr>
          <a:xfrm>
            <a:off x="6882344" y="4324989"/>
            <a:ext cx="227483" cy="37140"/>
          </a:xfrm>
          <a:custGeom>
            <a:avLst/>
            <a:gdLst>
              <a:gd name="connsiteX0" fmla="*/ 0 w 273050"/>
              <a:gd name="connsiteY0" fmla="*/ 42210 h 42210"/>
              <a:gd name="connsiteX1" fmla="*/ 50800 w 273050"/>
              <a:gd name="connsiteY1" fmla="*/ 29510 h 42210"/>
              <a:gd name="connsiteX2" fmla="*/ 76200 w 273050"/>
              <a:gd name="connsiteY2" fmla="*/ 29510 h 42210"/>
              <a:gd name="connsiteX3" fmla="*/ 158750 w 273050"/>
              <a:gd name="connsiteY3" fmla="*/ 42210 h 42210"/>
              <a:gd name="connsiteX4" fmla="*/ 203200 w 273050"/>
              <a:gd name="connsiteY4" fmla="*/ 29510 h 42210"/>
              <a:gd name="connsiteX5" fmla="*/ 241300 w 273050"/>
              <a:gd name="connsiteY5" fmla="*/ 10460 h 42210"/>
              <a:gd name="connsiteX6" fmla="*/ 273050 w 273050"/>
              <a:gd name="connsiteY6" fmla="*/ 4110 h 42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3050" h="42210">
                <a:moveTo>
                  <a:pt x="0" y="42210"/>
                </a:moveTo>
                <a:cubicBezTo>
                  <a:pt x="19050" y="36918"/>
                  <a:pt x="38100" y="31627"/>
                  <a:pt x="50800" y="29510"/>
                </a:cubicBezTo>
                <a:cubicBezTo>
                  <a:pt x="63500" y="27393"/>
                  <a:pt x="58208" y="27393"/>
                  <a:pt x="76200" y="29510"/>
                </a:cubicBezTo>
                <a:cubicBezTo>
                  <a:pt x="94192" y="31627"/>
                  <a:pt x="137583" y="42210"/>
                  <a:pt x="158750" y="42210"/>
                </a:cubicBezTo>
                <a:cubicBezTo>
                  <a:pt x="179917" y="42210"/>
                  <a:pt x="189442" y="34802"/>
                  <a:pt x="203200" y="29510"/>
                </a:cubicBezTo>
                <a:cubicBezTo>
                  <a:pt x="216958" y="24218"/>
                  <a:pt x="229658" y="14693"/>
                  <a:pt x="241300" y="10460"/>
                </a:cubicBezTo>
                <a:cubicBezTo>
                  <a:pt x="252942" y="6227"/>
                  <a:pt x="257175" y="-6473"/>
                  <a:pt x="273050" y="4110"/>
                </a:cubicBezTo>
              </a:path>
            </a:pathLst>
          </a:custGeom>
          <a:noFill/>
          <a:ln w="762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236" name="Шестиугольник 217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 rot="1891179">
            <a:off x="7103056" y="4285259"/>
            <a:ext cx="96899" cy="72584"/>
          </a:xfrm>
          <a:prstGeom prst="hexagon">
            <a:avLst>
              <a:gd name="adj" fmla="val 32163"/>
              <a:gd name="vf" fmla="val 115470"/>
            </a:avLst>
          </a:prstGeom>
          <a:solidFill>
            <a:srgbClr val="C2E49C"/>
          </a:solidFill>
          <a:ln>
            <a:noFill/>
          </a:ln>
          <a:extLs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endParaRPr lang="ru-RU" altLang="ru-RU" sz="1600">
              <a:solidFill>
                <a:srgbClr val="000000"/>
              </a:solidFill>
            </a:endParaRPr>
          </a:p>
        </p:txBody>
      </p:sp>
      <p:pic>
        <p:nvPicPr>
          <p:cNvPr id="237" name="Рисунок 236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16591" y="4298231"/>
            <a:ext cx="69831" cy="466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38" name="Овал 237"/>
          <p:cNvSpPr/>
          <p:nvPr/>
        </p:nvSpPr>
        <p:spPr bwMode="auto">
          <a:xfrm>
            <a:off x="6831456" y="4325096"/>
            <a:ext cx="84508" cy="74918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498" name="Полилиния 497"/>
          <p:cNvSpPr/>
          <p:nvPr/>
        </p:nvSpPr>
        <p:spPr>
          <a:xfrm>
            <a:off x="7915131" y="4155527"/>
            <a:ext cx="48344" cy="156874"/>
          </a:xfrm>
          <a:custGeom>
            <a:avLst/>
            <a:gdLst>
              <a:gd name="connsiteX0" fmla="*/ 0 w 41575"/>
              <a:gd name="connsiteY0" fmla="*/ 121920 h 121920"/>
              <a:gd name="connsiteX1" fmla="*/ 38100 w 41575"/>
              <a:gd name="connsiteY1" fmla="*/ 68580 h 121920"/>
              <a:gd name="connsiteX2" fmla="*/ 38100 w 41575"/>
              <a:gd name="connsiteY2" fmla="*/ 30480 h 121920"/>
              <a:gd name="connsiteX3" fmla="*/ 22860 w 41575"/>
              <a:gd name="connsiteY3" fmla="*/ 0 h 121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575" h="121920">
                <a:moveTo>
                  <a:pt x="0" y="121920"/>
                </a:moveTo>
                <a:cubicBezTo>
                  <a:pt x="15875" y="102870"/>
                  <a:pt x="31750" y="83820"/>
                  <a:pt x="38100" y="68580"/>
                </a:cubicBezTo>
                <a:cubicBezTo>
                  <a:pt x="44450" y="53340"/>
                  <a:pt x="40640" y="41910"/>
                  <a:pt x="38100" y="30480"/>
                </a:cubicBezTo>
                <a:cubicBezTo>
                  <a:pt x="35560" y="19050"/>
                  <a:pt x="-17780" y="11430"/>
                  <a:pt x="22860" y="0"/>
                </a:cubicBezTo>
              </a:path>
            </a:pathLst>
          </a:custGeom>
          <a:solidFill>
            <a:srgbClr val="FF0000"/>
          </a:solidFill>
          <a:ln w="7620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9" name="Овал 498"/>
          <p:cNvSpPr/>
          <p:nvPr/>
        </p:nvSpPr>
        <p:spPr>
          <a:xfrm>
            <a:off x="7885875" y="4091544"/>
            <a:ext cx="75664" cy="58826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sp>
        <p:nvSpPr>
          <p:cNvPr id="556" name="Овал 555"/>
          <p:cNvSpPr/>
          <p:nvPr/>
        </p:nvSpPr>
        <p:spPr bwMode="auto">
          <a:xfrm>
            <a:off x="7841601" y="4282201"/>
            <a:ext cx="84508" cy="74918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prstClr val="black"/>
              </a:solidFill>
            </a:endParaRPr>
          </a:p>
        </p:txBody>
      </p:sp>
      <p:pic>
        <p:nvPicPr>
          <p:cNvPr id="220" name="Picture 8" descr="http://www.clker.com/cliparts/g/R/z/I/u/o/map-pin-md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4594" y="3944406"/>
            <a:ext cx="83064" cy="117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1" name="Picture 8" descr="http://www.clker.com/cliparts/g/R/z/I/u/o/map-pin-md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7359" y="3944406"/>
            <a:ext cx="83064" cy="117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2" name="Picture 8" descr="http://www.clker.com/cliparts/g/R/z/I/u/o/map-pin-md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6605" y="4262529"/>
            <a:ext cx="83064" cy="117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3" name="Picture 8" descr="http://www.clker.com/cliparts/g/R/z/I/u/o/map-pin-md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6037" y="4561647"/>
            <a:ext cx="83064" cy="117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4" name="Picture 8" descr="http://www.clker.com/cliparts/g/R/z/I/u/o/map-pin-md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6956" y="2763366"/>
            <a:ext cx="83064" cy="117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" name="Picture 8" descr="http://www.clker.com/cliparts/g/R/z/I/u/o/map-pin-md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4402" y="2313994"/>
            <a:ext cx="83064" cy="117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6" name="Picture 8" descr="http://www.clker.com/cliparts/g/R/z/I/u/o/map-pin-md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9019" y="2047089"/>
            <a:ext cx="83064" cy="117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7" name="Picture 8" descr="http://www.clker.com/cliparts/g/R/z/I/u/o/map-pin-md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9800" y="1918319"/>
            <a:ext cx="83064" cy="117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8" name="Picture 8" descr="http://www.clker.com/cliparts/g/R/z/I/u/o/map-pin-md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8969" y="3691303"/>
            <a:ext cx="83064" cy="117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9" name="Picture 8" descr="http://www.clker.com/cliparts/g/R/z/I/u/o/map-pin-md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5757" y="4043512"/>
            <a:ext cx="83064" cy="117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0" name="Picture 8" descr="http://www.clker.com/cliparts/g/R/z/I/u/o/map-pin-md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4481" y="4203483"/>
            <a:ext cx="83064" cy="117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1" name="Picture 8" descr="http://www.clker.com/cliparts/g/R/z/I/u/o/map-pin-md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8528" y="4903992"/>
            <a:ext cx="83064" cy="117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067947" y="4866768"/>
            <a:ext cx="50526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dirty="0" err="1" smtClean="0"/>
              <a:t>Нацпарки</a:t>
            </a:r>
            <a:endParaRPr lang="ru-RU" sz="500" dirty="0"/>
          </a:p>
        </p:txBody>
      </p:sp>
      <p:pic>
        <p:nvPicPr>
          <p:cNvPr id="233" name="Picture 2" descr="http://m7.i.pbase.com/g5/94/648594/2/67616877.ivEXgVyk.jpg"/>
          <p:cNvPicPr>
            <a:picLocks noChangeAspect="1" noChangeArrowheads="1"/>
          </p:cNvPicPr>
          <p:nvPr/>
        </p:nvPicPr>
        <p:blipFill rotWithShape="1"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62"/>
          <a:stretch/>
        </p:blipFill>
        <p:spPr bwMode="auto">
          <a:xfrm>
            <a:off x="207274" y="3747718"/>
            <a:ext cx="1465485" cy="86932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chemeClr val="accent3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4" name="Прямоугольник 233"/>
          <p:cNvSpPr/>
          <p:nvPr/>
        </p:nvSpPr>
        <p:spPr>
          <a:xfrm>
            <a:off x="9113235" y="6079185"/>
            <a:ext cx="128224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spc="-30" dirty="0" smtClean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Курганы </a:t>
            </a:r>
            <a:r>
              <a:rPr lang="ru-RU" sz="1600" spc="-30" dirty="0" err="1" smtClean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Бесшатыр</a:t>
            </a:r>
            <a:endParaRPr lang="en-US" sz="1600" spc="-30" dirty="0">
              <a:solidFill>
                <a:schemeClr val="bg2">
                  <a:lumMod val="50000"/>
                </a:schemeClr>
              </a:solidFill>
              <a:latin typeface="Trebuchet MS"/>
              <a:ea typeface="MS PGothic" panose="020B0600070205080204" pitchFamily="34" charset="-128"/>
              <a:cs typeface="Trebuchet MS"/>
            </a:endParaRPr>
          </a:p>
        </p:txBody>
      </p:sp>
      <p:sp>
        <p:nvSpPr>
          <p:cNvPr id="239" name="Прямоугольник 238"/>
          <p:cNvSpPr/>
          <p:nvPr/>
        </p:nvSpPr>
        <p:spPr>
          <a:xfrm>
            <a:off x="1828150" y="3752352"/>
            <a:ext cx="122631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spc="-30" dirty="0" err="1" smtClean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Чарынский</a:t>
            </a:r>
            <a:r>
              <a:rPr lang="ru-RU" sz="1600" spc="-30" dirty="0" smtClean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 ГНПП</a:t>
            </a:r>
            <a:endParaRPr lang="en-US" sz="1600" spc="-30" dirty="0">
              <a:solidFill>
                <a:schemeClr val="bg2">
                  <a:lumMod val="50000"/>
                </a:schemeClr>
              </a:solidFill>
              <a:latin typeface="Trebuchet MS"/>
              <a:ea typeface="MS PGothic" panose="020B0600070205080204" pitchFamily="34" charset="-128"/>
              <a:cs typeface="Trebuchet MS"/>
            </a:endParaRPr>
          </a:p>
        </p:txBody>
      </p:sp>
      <p:pic>
        <p:nvPicPr>
          <p:cNvPr id="1030" name="Picture 6" descr="https://arkankergen.files.wordpress.com/2012/08/nature-park-alexey-azarov-radio-azattyq.jpg"/>
          <p:cNvPicPr>
            <a:picLocks noChangeAspect="1" noChangeArrowheads="1"/>
          </p:cNvPicPr>
          <p:nvPr/>
        </p:nvPicPr>
        <p:blipFill rotWithShape="1"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04"/>
          <a:stretch/>
        </p:blipFill>
        <p:spPr bwMode="auto">
          <a:xfrm>
            <a:off x="233167" y="2599912"/>
            <a:ext cx="1517366" cy="903793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chemeClr val="accent3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utoShape 8" descr="http://kazakhstan.travel/media/file/city/almatinskaya-oblastj/priroda_almatinskaya-oblastj/besshatyr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63" name="Picture 4" descr="http://kazakhstan.travel/media/file/city/almatinskaya-oblastj/priroda_almatinskaya-oblastj/besshatyr.JPG"/>
          <p:cNvPicPr>
            <a:picLocks noChangeAspect="1" noChangeArrowheads="1"/>
          </p:cNvPicPr>
          <p:nvPr/>
        </p:nvPicPr>
        <p:blipFill rotWithShape="1"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312"/>
          <a:stretch/>
        </p:blipFill>
        <p:spPr bwMode="auto">
          <a:xfrm>
            <a:off x="10532359" y="5919943"/>
            <a:ext cx="1489848" cy="83110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chemeClr val="accent3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1" name="Прямоугольник 23"/>
          <p:cNvSpPr>
            <a:spLocks noChangeArrowheads="1"/>
          </p:cNvSpPr>
          <p:nvPr/>
        </p:nvSpPr>
        <p:spPr bwMode="auto">
          <a:xfrm>
            <a:off x="5999541" y="3878330"/>
            <a:ext cx="684804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/>
            <a:r>
              <a:rPr lang="ru-RU" altLang="ru-RU" sz="900" dirty="0" err="1" smtClean="0">
                <a:solidFill>
                  <a:srgbClr val="404040"/>
                </a:solidFill>
                <a:latin typeface="Franklin Gothic Medium Cond" panose="020B0606030402020204" pitchFamily="34" charset="0"/>
                <a:cs typeface="Arial" panose="020B0604020202020204" pitchFamily="34" charset="0"/>
              </a:rPr>
              <a:t>Кызылорда</a:t>
            </a:r>
            <a:endParaRPr lang="ru-RU" altLang="ru-RU" sz="900" dirty="0">
              <a:solidFill>
                <a:srgbClr val="404040"/>
              </a:solidFill>
              <a:latin typeface="Franklin Gothic Medium Cond" panose="020B0606030402020204" pitchFamily="34" charset="0"/>
              <a:cs typeface="Arial" panose="020B0604020202020204" pitchFamily="34" charset="0"/>
            </a:endParaRPr>
          </a:p>
        </p:txBody>
      </p:sp>
      <p:pic>
        <p:nvPicPr>
          <p:cNvPr id="242" name="Изображение 10"/>
          <p:cNvPicPr>
            <a:picLocks noChangeAspect="1"/>
          </p:cNvPicPr>
          <p:nvPr/>
        </p:nvPicPr>
        <p:blipFill>
          <a:blip r:embed="rId52" cstate="print"/>
          <a:stretch>
            <a:fillRect/>
          </a:stretch>
        </p:blipFill>
        <p:spPr>
          <a:xfrm>
            <a:off x="8130181" y="-184647"/>
            <a:ext cx="1206500" cy="1511300"/>
          </a:xfrm>
          <a:prstGeom prst="rect">
            <a:avLst/>
          </a:prstGeom>
        </p:spPr>
      </p:pic>
      <p:pic>
        <p:nvPicPr>
          <p:cNvPr id="249" name="Picture 2" descr="BIE"/>
          <p:cNvPicPr>
            <a:picLocks noChangeAspect="1" noChangeArrowheads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http://eshop.kazpost.kz/pictures/big/895897.jpg"/>
          <p:cNvPicPr>
            <a:picLocks noChangeAspect="1" noChangeArrowheads="1"/>
          </p:cNvPicPr>
          <p:nvPr/>
        </p:nvPicPr>
        <p:blipFill rotWithShape="1"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35" t="24357" r="12153" b="24320"/>
          <a:stretch/>
        </p:blipFill>
        <p:spPr bwMode="auto">
          <a:xfrm>
            <a:off x="236141" y="1161983"/>
            <a:ext cx="2364707" cy="113026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C4F42C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6" name="Прямоугольник 215"/>
          <p:cNvSpPr/>
          <p:nvPr/>
        </p:nvSpPr>
        <p:spPr>
          <a:xfrm>
            <a:off x="2823440" y="1285701"/>
            <a:ext cx="148407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spc="-30" dirty="0" err="1" smtClean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Наурзумский</a:t>
            </a:r>
            <a:r>
              <a:rPr lang="ru-RU" sz="1600" spc="-30" dirty="0" smtClean="0">
                <a:solidFill>
                  <a:schemeClr val="bg2">
                    <a:lumMod val="50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 ГПЗ</a:t>
            </a:r>
            <a:endParaRPr lang="en-US" sz="1600" spc="-30" dirty="0">
              <a:solidFill>
                <a:schemeClr val="bg2">
                  <a:lumMod val="50000"/>
                </a:schemeClr>
              </a:solidFill>
              <a:latin typeface="Trebuchet MS"/>
              <a:ea typeface="MS PGothic" panose="020B0600070205080204" pitchFamily="34" charset="-128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605262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26"/>
          <p:cNvSpPr/>
          <p:nvPr/>
        </p:nvSpPr>
        <p:spPr>
          <a:xfrm>
            <a:off x="2709895" y="5150652"/>
            <a:ext cx="1815869" cy="1137812"/>
          </a:xfrm>
          <a:custGeom>
            <a:avLst/>
            <a:gdLst/>
            <a:ahLst/>
            <a:cxnLst/>
            <a:rect l="l" t="t" r="r" b="b"/>
            <a:pathLst>
              <a:path w="2289810" h="1308100">
                <a:moveTo>
                  <a:pt x="223723" y="0"/>
                </a:moveTo>
                <a:lnTo>
                  <a:pt x="172323" y="7996"/>
                </a:lnTo>
                <a:lnTo>
                  <a:pt x="129469" y="24467"/>
                </a:lnTo>
                <a:lnTo>
                  <a:pt x="94383" y="48241"/>
                </a:lnTo>
                <a:lnTo>
                  <a:pt x="66288" y="78148"/>
                </a:lnTo>
                <a:lnTo>
                  <a:pt x="44408" y="113017"/>
                </a:lnTo>
                <a:lnTo>
                  <a:pt x="27965" y="151676"/>
                </a:lnTo>
                <a:lnTo>
                  <a:pt x="16183" y="192954"/>
                </a:lnTo>
                <a:lnTo>
                  <a:pt x="8286" y="235680"/>
                </a:lnTo>
                <a:lnTo>
                  <a:pt x="3495" y="278684"/>
                </a:lnTo>
                <a:lnTo>
                  <a:pt x="1035" y="320794"/>
                </a:lnTo>
                <a:lnTo>
                  <a:pt x="129" y="360840"/>
                </a:lnTo>
                <a:lnTo>
                  <a:pt x="0" y="397649"/>
                </a:lnTo>
                <a:lnTo>
                  <a:pt x="0" y="1307782"/>
                </a:lnTo>
                <a:lnTo>
                  <a:pt x="2065909" y="1307782"/>
                </a:lnTo>
                <a:lnTo>
                  <a:pt x="2117314" y="1298305"/>
                </a:lnTo>
                <a:lnTo>
                  <a:pt x="2160173" y="1280866"/>
                </a:lnTo>
                <a:lnTo>
                  <a:pt x="2195263" y="1256564"/>
                </a:lnTo>
                <a:lnTo>
                  <a:pt x="2223361" y="1226495"/>
                </a:lnTo>
                <a:lnTo>
                  <a:pt x="2245244" y="1191758"/>
                </a:lnTo>
                <a:lnTo>
                  <a:pt x="2261689" y="1153450"/>
                </a:lnTo>
                <a:lnTo>
                  <a:pt x="2273472" y="1112668"/>
                </a:lnTo>
                <a:lnTo>
                  <a:pt x="2281370" y="1070510"/>
                </a:lnTo>
                <a:lnTo>
                  <a:pt x="2286161" y="1028074"/>
                </a:lnTo>
                <a:lnTo>
                  <a:pt x="2288621" y="986456"/>
                </a:lnTo>
                <a:lnTo>
                  <a:pt x="2289528" y="946756"/>
                </a:lnTo>
                <a:lnTo>
                  <a:pt x="2289657" y="910069"/>
                </a:lnTo>
                <a:lnTo>
                  <a:pt x="2289657" y="0"/>
                </a:lnTo>
                <a:lnTo>
                  <a:pt x="223723" y="0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27"/>
          <p:cNvSpPr/>
          <p:nvPr/>
        </p:nvSpPr>
        <p:spPr>
          <a:xfrm>
            <a:off x="2787078" y="6336085"/>
            <a:ext cx="1636719" cy="44507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28"/>
          <p:cNvSpPr txBox="1"/>
          <p:nvPr/>
        </p:nvSpPr>
        <p:spPr>
          <a:xfrm>
            <a:off x="2828499" y="6282029"/>
            <a:ext cx="1574286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970" algn="ctr">
              <a:lnSpc>
                <a:spcPct val="100000"/>
              </a:lnSpc>
            </a:pPr>
            <a:r>
              <a:rPr lang="ru-RU" sz="1600" spc="35" dirty="0" smtClean="0">
                <a:solidFill>
                  <a:srgbClr val="FFFFFF"/>
                </a:solidFill>
                <a:latin typeface="Arial"/>
                <a:cs typeface="Arial"/>
              </a:rPr>
              <a:t>места размещения</a:t>
            </a:r>
            <a:endParaRPr sz="1600" dirty="0">
              <a:latin typeface="Trebuchet MS"/>
              <a:cs typeface="Trebuchet MS"/>
            </a:endParaRPr>
          </a:p>
        </p:txBody>
      </p:sp>
      <p:sp>
        <p:nvSpPr>
          <p:cNvPr id="15" name="object 34"/>
          <p:cNvSpPr/>
          <p:nvPr/>
        </p:nvSpPr>
        <p:spPr>
          <a:xfrm>
            <a:off x="5260438" y="5127374"/>
            <a:ext cx="1815869" cy="1137812"/>
          </a:xfrm>
          <a:custGeom>
            <a:avLst/>
            <a:gdLst/>
            <a:ahLst/>
            <a:cxnLst/>
            <a:rect l="l" t="t" r="r" b="b"/>
            <a:pathLst>
              <a:path w="2289809" h="1308100">
                <a:moveTo>
                  <a:pt x="223723" y="0"/>
                </a:moveTo>
                <a:lnTo>
                  <a:pt x="172323" y="7996"/>
                </a:lnTo>
                <a:lnTo>
                  <a:pt x="129469" y="24467"/>
                </a:lnTo>
                <a:lnTo>
                  <a:pt x="94383" y="48241"/>
                </a:lnTo>
                <a:lnTo>
                  <a:pt x="66288" y="78148"/>
                </a:lnTo>
                <a:lnTo>
                  <a:pt x="44408" y="113017"/>
                </a:lnTo>
                <a:lnTo>
                  <a:pt x="27965" y="151676"/>
                </a:lnTo>
                <a:lnTo>
                  <a:pt x="16183" y="192954"/>
                </a:lnTo>
                <a:lnTo>
                  <a:pt x="8286" y="235680"/>
                </a:lnTo>
                <a:lnTo>
                  <a:pt x="3495" y="278684"/>
                </a:lnTo>
                <a:lnTo>
                  <a:pt x="1035" y="320794"/>
                </a:lnTo>
                <a:lnTo>
                  <a:pt x="129" y="360840"/>
                </a:lnTo>
                <a:lnTo>
                  <a:pt x="0" y="397649"/>
                </a:lnTo>
                <a:lnTo>
                  <a:pt x="0" y="1307782"/>
                </a:lnTo>
                <a:lnTo>
                  <a:pt x="2065908" y="1307782"/>
                </a:lnTo>
                <a:lnTo>
                  <a:pt x="2117314" y="1298305"/>
                </a:lnTo>
                <a:lnTo>
                  <a:pt x="2160173" y="1280866"/>
                </a:lnTo>
                <a:lnTo>
                  <a:pt x="2195263" y="1256564"/>
                </a:lnTo>
                <a:lnTo>
                  <a:pt x="2223361" y="1226495"/>
                </a:lnTo>
                <a:lnTo>
                  <a:pt x="2245244" y="1191758"/>
                </a:lnTo>
                <a:lnTo>
                  <a:pt x="2261689" y="1153450"/>
                </a:lnTo>
                <a:lnTo>
                  <a:pt x="2273472" y="1112668"/>
                </a:lnTo>
                <a:lnTo>
                  <a:pt x="2281370" y="1070510"/>
                </a:lnTo>
                <a:lnTo>
                  <a:pt x="2286161" y="1028074"/>
                </a:lnTo>
                <a:lnTo>
                  <a:pt x="2288621" y="986456"/>
                </a:lnTo>
                <a:lnTo>
                  <a:pt x="2289528" y="946756"/>
                </a:lnTo>
                <a:lnTo>
                  <a:pt x="2289657" y="910069"/>
                </a:lnTo>
                <a:lnTo>
                  <a:pt x="2289657" y="0"/>
                </a:lnTo>
                <a:lnTo>
                  <a:pt x="223723" y="0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35"/>
          <p:cNvSpPr/>
          <p:nvPr/>
        </p:nvSpPr>
        <p:spPr>
          <a:xfrm>
            <a:off x="5358019" y="6327204"/>
            <a:ext cx="1620705" cy="43067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36"/>
          <p:cNvSpPr txBox="1"/>
          <p:nvPr/>
        </p:nvSpPr>
        <p:spPr>
          <a:xfrm>
            <a:off x="5459291" y="6451550"/>
            <a:ext cx="140059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970" algn="ctr">
              <a:lnSpc>
                <a:spcPct val="100000"/>
              </a:lnSpc>
            </a:pPr>
            <a:r>
              <a:rPr lang="ru-RU" sz="1600" spc="35" dirty="0" smtClean="0">
                <a:solidFill>
                  <a:srgbClr val="FFFFFF"/>
                </a:solidFill>
                <a:latin typeface="Arial"/>
                <a:cs typeface="Arial"/>
              </a:rPr>
              <a:t>транспорт</a:t>
            </a:r>
            <a:endParaRPr sz="1600" spc="35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3" name="object 42"/>
          <p:cNvSpPr/>
          <p:nvPr/>
        </p:nvSpPr>
        <p:spPr>
          <a:xfrm>
            <a:off x="10150111" y="4175083"/>
            <a:ext cx="1829419" cy="1137812"/>
          </a:xfrm>
          <a:custGeom>
            <a:avLst/>
            <a:gdLst/>
            <a:ahLst/>
            <a:cxnLst/>
            <a:rect l="l" t="t" r="r" b="b"/>
            <a:pathLst>
              <a:path w="2289810" h="1308100">
                <a:moveTo>
                  <a:pt x="223723" y="0"/>
                </a:moveTo>
                <a:lnTo>
                  <a:pt x="172323" y="7996"/>
                </a:lnTo>
                <a:lnTo>
                  <a:pt x="129469" y="24467"/>
                </a:lnTo>
                <a:lnTo>
                  <a:pt x="94383" y="48241"/>
                </a:lnTo>
                <a:lnTo>
                  <a:pt x="66288" y="78148"/>
                </a:lnTo>
                <a:lnTo>
                  <a:pt x="44408" y="113017"/>
                </a:lnTo>
                <a:lnTo>
                  <a:pt x="27965" y="151676"/>
                </a:lnTo>
                <a:lnTo>
                  <a:pt x="16183" y="192954"/>
                </a:lnTo>
                <a:lnTo>
                  <a:pt x="8286" y="235680"/>
                </a:lnTo>
                <a:lnTo>
                  <a:pt x="3495" y="278684"/>
                </a:lnTo>
                <a:lnTo>
                  <a:pt x="1035" y="320794"/>
                </a:lnTo>
                <a:lnTo>
                  <a:pt x="129" y="360840"/>
                </a:lnTo>
                <a:lnTo>
                  <a:pt x="0" y="397649"/>
                </a:lnTo>
                <a:lnTo>
                  <a:pt x="0" y="1307782"/>
                </a:lnTo>
                <a:lnTo>
                  <a:pt x="2065908" y="1307782"/>
                </a:lnTo>
                <a:lnTo>
                  <a:pt x="2117314" y="1298305"/>
                </a:lnTo>
                <a:lnTo>
                  <a:pt x="2160173" y="1280866"/>
                </a:lnTo>
                <a:lnTo>
                  <a:pt x="2195263" y="1256564"/>
                </a:lnTo>
                <a:lnTo>
                  <a:pt x="2223361" y="1226495"/>
                </a:lnTo>
                <a:lnTo>
                  <a:pt x="2245244" y="1191758"/>
                </a:lnTo>
                <a:lnTo>
                  <a:pt x="2261689" y="1153450"/>
                </a:lnTo>
                <a:lnTo>
                  <a:pt x="2273472" y="1112668"/>
                </a:lnTo>
                <a:lnTo>
                  <a:pt x="2281370" y="1070510"/>
                </a:lnTo>
                <a:lnTo>
                  <a:pt x="2286161" y="1028074"/>
                </a:lnTo>
                <a:lnTo>
                  <a:pt x="2288621" y="986456"/>
                </a:lnTo>
                <a:lnTo>
                  <a:pt x="2289528" y="946756"/>
                </a:lnTo>
                <a:lnTo>
                  <a:pt x="2289657" y="910069"/>
                </a:lnTo>
                <a:lnTo>
                  <a:pt x="2289657" y="0"/>
                </a:lnTo>
                <a:lnTo>
                  <a:pt x="223723" y="0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43"/>
          <p:cNvSpPr/>
          <p:nvPr/>
        </p:nvSpPr>
        <p:spPr>
          <a:xfrm>
            <a:off x="10244268" y="5382086"/>
            <a:ext cx="1636719" cy="42843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5" name="object 44"/>
          <p:cNvSpPr txBox="1"/>
          <p:nvPr/>
        </p:nvSpPr>
        <p:spPr>
          <a:xfrm>
            <a:off x="10459002" y="5359479"/>
            <a:ext cx="120725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ru-RU" sz="1600" spc="60" dirty="0" smtClean="0">
                <a:solidFill>
                  <a:srgbClr val="FFFFFF"/>
                </a:solidFill>
                <a:latin typeface="Arial"/>
                <a:cs typeface="Arial"/>
              </a:rPr>
              <a:t>объекты питания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31" name="object 50"/>
          <p:cNvSpPr/>
          <p:nvPr/>
        </p:nvSpPr>
        <p:spPr>
          <a:xfrm>
            <a:off x="450974" y="4173440"/>
            <a:ext cx="1554762" cy="110070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51"/>
          <p:cNvSpPr/>
          <p:nvPr/>
        </p:nvSpPr>
        <p:spPr>
          <a:xfrm>
            <a:off x="336399" y="4173439"/>
            <a:ext cx="1829419" cy="1100960"/>
          </a:xfrm>
          <a:custGeom>
            <a:avLst/>
            <a:gdLst/>
            <a:ahLst/>
            <a:cxnLst/>
            <a:rect l="l" t="t" r="r" b="b"/>
            <a:pathLst>
              <a:path w="2289809" h="1308100">
                <a:moveTo>
                  <a:pt x="223723" y="0"/>
                </a:moveTo>
                <a:lnTo>
                  <a:pt x="172323" y="7996"/>
                </a:lnTo>
                <a:lnTo>
                  <a:pt x="129469" y="24467"/>
                </a:lnTo>
                <a:lnTo>
                  <a:pt x="94383" y="48241"/>
                </a:lnTo>
                <a:lnTo>
                  <a:pt x="66288" y="78148"/>
                </a:lnTo>
                <a:lnTo>
                  <a:pt x="44408" y="113017"/>
                </a:lnTo>
                <a:lnTo>
                  <a:pt x="27965" y="151676"/>
                </a:lnTo>
                <a:lnTo>
                  <a:pt x="16183" y="192954"/>
                </a:lnTo>
                <a:lnTo>
                  <a:pt x="8286" y="235680"/>
                </a:lnTo>
                <a:lnTo>
                  <a:pt x="3495" y="278684"/>
                </a:lnTo>
                <a:lnTo>
                  <a:pt x="1035" y="320794"/>
                </a:lnTo>
                <a:lnTo>
                  <a:pt x="129" y="360840"/>
                </a:lnTo>
                <a:lnTo>
                  <a:pt x="0" y="397649"/>
                </a:lnTo>
                <a:lnTo>
                  <a:pt x="0" y="1307782"/>
                </a:lnTo>
                <a:lnTo>
                  <a:pt x="2065908" y="1307782"/>
                </a:lnTo>
                <a:lnTo>
                  <a:pt x="2117314" y="1298305"/>
                </a:lnTo>
                <a:lnTo>
                  <a:pt x="2160173" y="1280866"/>
                </a:lnTo>
                <a:lnTo>
                  <a:pt x="2195263" y="1256564"/>
                </a:lnTo>
                <a:lnTo>
                  <a:pt x="2223361" y="1226495"/>
                </a:lnTo>
                <a:lnTo>
                  <a:pt x="2245244" y="1191758"/>
                </a:lnTo>
                <a:lnTo>
                  <a:pt x="2261689" y="1153450"/>
                </a:lnTo>
                <a:lnTo>
                  <a:pt x="2273472" y="1112668"/>
                </a:lnTo>
                <a:lnTo>
                  <a:pt x="2281370" y="1070510"/>
                </a:lnTo>
                <a:lnTo>
                  <a:pt x="2286161" y="1028074"/>
                </a:lnTo>
                <a:lnTo>
                  <a:pt x="2288621" y="986456"/>
                </a:lnTo>
                <a:lnTo>
                  <a:pt x="2289528" y="946756"/>
                </a:lnTo>
                <a:lnTo>
                  <a:pt x="2289657" y="910069"/>
                </a:lnTo>
                <a:lnTo>
                  <a:pt x="2289657" y="0"/>
                </a:lnTo>
                <a:lnTo>
                  <a:pt x="223723" y="0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52"/>
          <p:cNvSpPr/>
          <p:nvPr/>
        </p:nvSpPr>
        <p:spPr>
          <a:xfrm>
            <a:off x="430557" y="5322994"/>
            <a:ext cx="1632554" cy="43066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53"/>
          <p:cNvSpPr txBox="1"/>
          <p:nvPr/>
        </p:nvSpPr>
        <p:spPr>
          <a:xfrm>
            <a:off x="783744" y="5431012"/>
            <a:ext cx="889224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970" algn="ctr"/>
            <a:r>
              <a:rPr lang="ru-RU" sz="1600" spc="35" dirty="0" smtClean="0">
                <a:solidFill>
                  <a:srgbClr val="FFFFFF"/>
                </a:solidFill>
                <a:latin typeface="Arial"/>
                <a:cs typeface="Arial"/>
              </a:rPr>
              <a:t>туры</a:t>
            </a:r>
            <a:endParaRPr sz="1600" spc="35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pic>
        <p:nvPicPr>
          <p:cNvPr id="20" name="Picture 4" descr="http://cyprus-paradigmastar.com/images/BestVPN_Hotel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76" t="3574" r="4877" b="5812"/>
          <a:stretch/>
        </p:blipFill>
        <p:spPr bwMode="auto">
          <a:xfrm>
            <a:off x="2953598" y="5273273"/>
            <a:ext cx="1328460" cy="924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krasna.com.ua/reg/ckfinder/userfiles/images/icon-restaurant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0610" y="4207382"/>
            <a:ext cx="908420" cy="1065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object 42"/>
          <p:cNvSpPr/>
          <p:nvPr/>
        </p:nvSpPr>
        <p:spPr>
          <a:xfrm>
            <a:off x="7816518" y="5146693"/>
            <a:ext cx="1829419" cy="1118727"/>
          </a:xfrm>
          <a:custGeom>
            <a:avLst/>
            <a:gdLst/>
            <a:ahLst/>
            <a:cxnLst/>
            <a:rect l="l" t="t" r="r" b="b"/>
            <a:pathLst>
              <a:path w="2289810" h="1308100">
                <a:moveTo>
                  <a:pt x="223723" y="0"/>
                </a:moveTo>
                <a:lnTo>
                  <a:pt x="172323" y="7996"/>
                </a:lnTo>
                <a:lnTo>
                  <a:pt x="129469" y="24467"/>
                </a:lnTo>
                <a:lnTo>
                  <a:pt x="94383" y="48241"/>
                </a:lnTo>
                <a:lnTo>
                  <a:pt x="66288" y="78148"/>
                </a:lnTo>
                <a:lnTo>
                  <a:pt x="44408" y="113017"/>
                </a:lnTo>
                <a:lnTo>
                  <a:pt x="27965" y="151676"/>
                </a:lnTo>
                <a:lnTo>
                  <a:pt x="16183" y="192954"/>
                </a:lnTo>
                <a:lnTo>
                  <a:pt x="8286" y="235680"/>
                </a:lnTo>
                <a:lnTo>
                  <a:pt x="3495" y="278684"/>
                </a:lnTo>
                <a:lnTo>
                  <a:pt x="1035" y="320794"/>
                </a:lnTo>
                <a:lnTo>
                  <a:pt x="129" y="360840"/>
                </a:lnTo>
                <a:lnTo>
                  <a:pt x="0" y="397649"/>
                </a:lnTo>
                <a:lnTo>
                  <a:pt x="0" y="1307782"/>
                </a:lnTo>
                <a:lnTo>
                  <a:pt x="2065908" y="1307782"/>
                </a:lnTo>
                <a:lnTo>
                  <a:pt x="2117314" y="1298305"/>
                </a:lnTo>
                <a:lnTo>
                  <a:pt x="2160173" y="1280866"/>
                </a:lnTo>
                <a:lnTo>
                  <a:pt x="2195263" y="1256564"/>
                </a:lnTo>
                <a:lnTo>
                  <a:pt x="2223361" y="1226495"/>
                </a:lnTo>
                <a:lnTo>
                  <a:pt x="2245244" y="1191758"/>
                </a:lnTo>
                <a:lnTo>
                  <a:pt x="2261689" y="1153450"/>
                </a:lnTo>
                <a:lnTo>
                  <a:pt x="2273472" y="1112668"/>
                </a:lnTo>
                <a:lnTo>
                  <a:pt x="2281370" y="1070510"/>
                </a:lnTo>
                <a:lnTo>
                  <a:pt x="2286161" y="1028074"/>
                </a:lnTo>
                <a:lnTo>
                  <a:pt x="2288621" y="986456"/>
                </a:lnTo>
                <a:lnTo>
                  <a:pt x="2289528" y="946756"/>
                </a:lnTo>
                <a:lnTo>
                  <a:pt x="2289657" y="910069"/>
                </a:lnTo>
                <a:lnTo>
                  <a:pt x="2289657" y="0"/>
                </a:lnTo>
                <a:lnTo>
                  <a:pt x="223723" y="0"/>
                </a:lnTo>
                <a:close/>
              </a:path>
            </a:pathLst>
          </a:custGeom>
          <a:ln w="1269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43"/>
          <p:cNvSpPr/>
          <p:nvPr/>
        </p:nvSpPr>
        <p:spPr>
          <a:xfrm>
            <a:off x="7910675" y="6323883"/>
            <a:ext cx="1636719" cy="42843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44"/>
          <p:cNvSpPr txBox="1"/>
          <p:nvPr/>
        </p:nvSpPr>
        <p:spPr>
          <a:xfrm>
            <a:off x="8127603" y="6450875"/>
            <a:ext cx="120725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ru-RU" sz="1600" spc="60" dirty="0" smtClean="0">
                <a:solidFill>
                  <a:srgbClr val="FFFFFF"/>
                </a:solidFill>
                <a:latin typeface="Arial"/>
                <a:cs typeface="Arial"/>
              </a:rPr>
              <a:t>гиды</a:t>
            </a:r>
            <a:endParaRPr sz="1600" dirty="0">
              <a:latin typeface="Arial"/>
              <a:cs typeface="Arial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1141" y="5218419"/>
            <a:ext cx="1415785" cy="98634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0970" y="4987519"/>
            <a:ext cx="1115337" cy="130867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0282" y="5042733"/>
            <a:ext cx="1211796" cy="1421855"/>
          </a:xfrm>
          <a:prstGeom prst="rect">
            <a:avLst/>
          </a:prstGeom>
        </p:spPr>
      </p:pic>
      <p:pic>
        <p:nvPicPr>
          <p:cNvPr id="30" name="Picture 5" descr="C:\Users\amarat\Desktop\сыфысыыыыыы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363925"/>
            <a:ext cx="3671888" cy="5397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12"/>
          <p:cNvSpPr txBox="1">
            <a:spLocks noChangeArrowheads="1"/>
          </p:cNvSpPr>
          <p:nvPr/>
        </p:nvSpPr>
        <p:spPr bwMode="auto">
          <a:xfrm>
            <a:off x="209254" y="449134"/>
            <a:ext cx="276229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r>
              <a:rPr lang="en-US" dirty="0">
                <a:solidFill>
                  <a:schemeClr val="bg1"/>
                </a:solidFill>
                <a:latin typeface="Neo Sans Pro Light" pitchFamily="34" charset="-52"/>
              </a:rPr>
              <a:t>Recommended by EXPO</a:t>
            </a:r>
            <a:endParaRPr lang="ru-RU" dirty="0">
              <a:solidFill>
                <a:schemeClr val="bg1"/>
              </a:solidFill>
              <a:latin typeface="Neo Sans Pro Light" pitchFamily="34" charset="-52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13"/>
          <a:srcRect l="27603" t="9814" r="25626" b="8704"/>
          <a:stretch/>
        </p:blipFill>
        <p:spPr>
          <a:xfrm>
            <a:off x="1994624" y="1658905"/>
            <a:ext cx="2392986" cy="2345019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554" t="69815" r="11041" b="185"/>
          <a:stretch/>
        </p:blipFill>
        <p:spPr>
          <a:xfrm>
            <a:off x="4858159" y="1824392"/>
            <a:ext cx="5291952" cy="205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251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" name="Рисунок 96"/>
          <p:cNvPicPr>
            <a:picLocks noChangeAspect="1"/>
          </p:cNvPicPr>
          <p:nvPr/>
        </p:nvPicPr>
        <p:blipFill rotWithShape="1">
          <a:blip r:embed="rId3" cstate="print"/>
          <a:srcRect l="16813" t="9103" r="15936" b="8153"/>
          <a:stretch/>
        </p:blipFill>
        <p:spPr>
          <a:xfrm>
            <a:off x="68414" y="1538515"/>
            <a:ext cx="2747357" cy="1901372"/>
          </a:xfrm>
          <a:prstGeom prst="rect">
            <a:avLst/>
          </a:prstGeom>
        </p:spPr>
      </p:pic>
      <p:pic>
        <p:nvPicPr>
          <p:cNvPr id="12" name="Picture 6" descr="C:\Users\funky_hero\Desktop\new_presa\parts\q-29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9020" y="23849"/>
            <a:ext cx="7661164" cy="1700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452348" y="674204"/>
            <a:ext cx="544424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latin typeface="Neo Sans Pro Light" pitchFamily="34" charset="-52"/>
              </a:rPr>
              <a:t>Recommended by EXPO</a:t>
            </a:r>
            <a:r>
              <a:rPr lang="ru-RU" sz="2000" dirty="0" smtClean="0">
                <a:solidFill>
                  <a:schemeClr val="bg1"/>
                </a:solidFill>
                <a:latin typeface="Neo Sans Pro Light" pitchFamily="34" charset="-52"/>
              </a:rPr>
              <a:t>: </a:t>
            </a:r>
            <a:r>
              <a:rPr lang="ru-RU" sz="2000" dirty="0" err="1" smtClean="0">
                <a:solidFill>
                  <a:schemeClr val="bg1"/>
                </a:solidFill>
                <a:latin typeface="Neo Sans Pro Light" pitchFamily="34" charset="-52"/>
              </a:rPr>
              <a:t>турмаршруты</a:t>
            </a:r>
            <a:endParaRPr lang="ru-RU" sz="2000" dirty="0">
              <a:solidFill>
                <a:schemeClr val="bg1"/>
              </a:solidFill>
              <a:latin typeface="Neo Sans Pro Light" pitchFamily="34" charset="-52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406804" y="2161655"/>
            <a:ext cx="9405173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 Посещение г.Астана и ЭКСПО-2017</a:t>
            </a:r>
            <a:endParaRPr lang="en-US" dirty="0" smtClean="0">
              <a:solidFill>
                <a:schemeClr val="accent6">
                  <a:lumMod val="50000"/>
                </a:schemeClr>
              </a:solidFill>
              <a:latin typeface="Neo Sans Pro Light" pitchFamily="34" charset="-52"/>
            </a:endParaRP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 Инвентаризация </a:t>
            </a:r>
            <a:r>
              <a:rPr lang="ru-RU" dirty="0" err="1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туробъектов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, входящих в </a:t>
            </a:r>
            <a:r>
              <a:rPr lang="ru-RU" dirty="0" err="1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турмаршруты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 и устранение недостатков совместно с </a:t>
            </a:r>
            <a:r>
              <a:rPr lang="ru-RU" dirty="0" err="1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Акиматом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 </a:t>
            </a:r>
          </a:p>
          <a:p>
            <a:pPr lvl="0"/>
            <a:endParaRPr lang="ru-RU" dirty="0">
              <a:solidFill>
                <a:schemeClr val="accent6">
                  <a:lumMod val="50000"/>
                </a:schemeClr>
              </a:solidFill>
              <a:latin typeface="Neo Sans Pro Light" pitchFamily="34" charset="-52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bg2">
                    <a:lumMod val="50000"/>
                  </a:schemeClr>
                </a:solidFill>
                <a:latin typeface="Neo Sans Pro Light" pitchFamily="34" charset="-52"/>
              </a:rPr>
              <a:t> наличие подъездных дорог, указателей к </a:t>
            </a:r>
            <a:r>
              <a:rPr lang="ru-RU" dirty="0" err="1" smtClean="0">
                <a:solidFill>
                  <a:schemeClr val="bg2">
                    <a:lumMod val="50000"/>
                  </a:schemeClr>
                </a:solidFill>
                <a:latin typeface="Neo Sans Pro Light" pitchFamily="34" charset="-52"/>
              </a:rPr>
              <a:t>туробъектам</a:t>
            </a:r>
            <a:r>
              <a:rPr lang="ru-RU" dirty="0" smtClean="0">
                <a:solidFill>
                  <a:schemeClr val="bg2">
                    <a:lumMod val="50000"/>
                  </a:schemeClr>
                </a:solidFill>
                <a:latin typeface="Neo Sans Pro Light" pitchFamily="34" charset="-52"/>
              </a:rPr>
              <a:t>;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bg2">
                    <a:lumMod val="50000"/>
                  </a:schemeClr>
                </a:solidFill>
                <a:latin typeface="Neo Sans Pro Light" pitchFamily="34" charset="-52"/>
              </a:rPr>
              <a:t> обеспечение музеев 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Neo Sans Pro Light" pitchFamily="34" charset="-52"/>
              </a:rPr>
              <a:t>аудиогидами;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Neo Sans Pro Light" pitchFamily="34" charset="-52"/>
              </a:rPr>
              <a:t> оснащение туристских автобусов аудиогидами и экранами;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Neo Sans Pro Light" pitchFamily="34" charset="-52"/>
              </a:rPr>
              <a:t> наличие гидов-переводчиков на иностранном языке;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Neo Sans Pro Light" pitchFamily="34" charset="-52"/>
              </a:rPr>
              <a:t> обеспечение </a:t>
            </a:r>
            <a:r>
              <a:rPr lang="ru-RU" dirty="0" smtClean="0">
                <a:solidFill>
                  <a:schemeClr val="bg2">
                    <a:lumMod val="50000"/>
                  </a:schemeClr>
                </a:solidFill>
                <a:latin typeface="Neo Sans Pro Light" pitchFamily="34" charset="-52"/>
              </a:rPr>
              <a:t>иностранных туристских 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Neo Sans Pro Light" pitchFamily="34" charset="-52"/>
              </a:rPr>
              <a:t>групп персональными приемниками синхронного перевода;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Neo Sans Pro Light" pitchFamily="34" charset="-52"/>
              </a:rPr>
              <a:t> наличие доступности для маломобильных групп</a:t>
            </a:r>
            <a:r>
              <a:rPr lang="ru-RU" dirty="0" smtClean="0">
                <a:solidFill>
                  <a:schemeClr val="bg2">
                    <a:lumMod val="50000"/>
                  </a:schemeClr>
                </a:solidFill>
                <a:latin typeface="Neo Sans Pro Light" pitchFamily="34" charset="-52"/>
              </a:rPr>
              <a:t>;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bg2">
                    <a:lumMod val="50000"/>
                  </a:schemeClr>
                </a:solidFill>
                <a:latin typeface="Neo Sans Pro Light" pitchFamily="34" charset="-52"/>
              </a:rPr>
              <a:t> наличие 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Neo Sans Pro Light" pitchFamily="34" charset="-52"/>
              </a:rPr>
              <a:t>в туристском маршруте элементов этно- экотуризма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Neo Sans Pro Light" pitchFamily="34" charset="-52"/>
              </a:rPr>
              <a:t> наличие пунктов зарядки телефонов и других бизнес </a:t>
            </a:r>
            <a:r>
              <a:rPr lang="ru-RU" dirty="0" smtClean="0">
                <a:solidFill>
                  <a:schemeClr val="bg2">
                    <a:lumMod val="50000"/>
                  </a:schemeClr>
                </a:solidFill>
                <a:latin typeface="Neo Sans Pro Light" pitchFamily="34" charset="-52"/>
              </a:rPr>
              <a:t>удобств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Neo Sans Pro Light" pitchFamily="34" charset="-52"/>
              </a:rPr>
              <a:t> </a:t>
            </a:r>
            <a:r>
              <a:rPr lang="ru-RU" dirty="0" smtClean="0">
                <a:solidFill>
                  <a:schemeClr val="bg2">
                    <a:lumMod val="50000"/>
                  </a:schemeClr>
                </a:solidFill>
                <a:latin typeface="Neo Sans Pro Light" pitchFamily="34" charset="-52"/>
              </a:rPr>
              <a:t>наличие сайта туроператора на нескольких языках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Neo Sans Pro Light" pitchFamily="34" charset="-52"/>
              </a:rPr>
              <a:t> </a:t>
            </a:r>
            <a:r>
              <a:rPr lang="ru-RU" dirty="0" smtClean="0">
                <a:solidFill>
                  <a:schemeClr val="bg2">
                    <a:lumMod val="50000"/>
                  </a:schemeClr>
                </a:solidFill>
                <a:latin typeface="Neo Sans Pro Light" pitchFamily="34" charset="-52"/>
              </a:rPr>
              <a:t>др.</a:t>
            </a:r>
          </a:p>
        </p:txBody>
      </p:sp>
      <p:pic>
        <p:nvPicPr>
          <p:cNvPr id="8" name="Изображение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130181" y="-184647"/>
            <a:ext cx="1206500" cy="1511300"/>
          </a:xfrm>
          <a:prstGeom prst="rect">
            <a:avLst/>
          </a:prstGeom>
        </p:spPr>
      </p:pic>
      <p:pic>
        <p:nvPicPr>
          <p:cNvPr id="14" name="Picture 2" descr="BI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0512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6" descr="C:\Users\funky_hero\Desktop\new_presa\parts\q-29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9020" y="23849"/>
            <a:ext cx="7661164" cy="1700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452348" y="674204"/>
            <a:ext cx="544424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latin typeface="Neo Sans Pro Light" pitchFamily="34" charset="-52"/>
              </a:rPr>
              <a:t>Recommended by EXPO</a:t>
            </a:r>
            <a:r>
              <a:rPr lang="ru-RU" sz="2000" dirty="0" smtClean="0">
                <a:solidFill>
                  <a:schemeClr val="bg1"/>
                </a:solidFill>
                <a:latin typeface="Neo Sans Pro Light" pitchFamily="34" charset="-52"/>
              </a:rPr>
              <a:t>: гостиницы</a:t>
            </a:r>
            <a:endParaRPr lang="ru-RU" sz="2000" dirty="0">
              <a:solidFill>
                <a:schemeClr val="bg1"/>
              </a:solidFill>
              <a:latin typeface="Neo Sans Pro Light" pitchFamily="34" charset="-52"/>
            </a:endParaRPr>
          </a:p>
        </p:txBody>
      </p:sp>
      <p:pic>
        <p:nvPicPr>
          <p:cNvPr id="97" name="Рисунок 96"/>
          <p:cNvPicPr>
            <a:picLocks noChangeAspect="1"/>
          </p:cNvPicPr>
          <p:nvPr/>
        </p:nvPicPr>
        <p:blipFill rotWithShape="1">
          <a:blip r:embed="rId4" cstate="print"/>
          <a:srcRect l="16813" t="9103" r="15936" b="8153"/>
          <a:stretch/>
        </p:blipFill>
        <p:spPr>
          <a:xfrm>
            <a:off x="68414" y="1538515"/>
            <a:ext cx="2747357" cy="1901372"/>
          </a:xfrm>
          <a:prstGeom prst="rect">
            <a:avLst/>
          </a:prstGeom>
        </p:spPr>
      </p:pic>
      <p:sp>
        <p:nvSpPr>
          <p:cNvPr id="98" name="Прямоугольник 97"/>
          <p:cNvSpPr/>
          <p:nvPr/>
        </p:nvSpPr>
        <p:spPr>
          <a:xfrm>
            <a:off x="2339152" y="1562760"/>
            <a:ext cx="9331846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Договор франчайзинга/подтверждение соответствия (сертификации) гостиничных </a:t>
            </a:r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услуг</a:t>
            </a:r>
          </a:p>
          <a:p>
            <a:pPr lvl="0"/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_______________________________________________________________________________</a:t>
            </a:r>
          </a:p>
          <a:p>
            <a:pPr lvl="0"/>
            <a:endParaRPr lang="ru-RU" sz="1600" dirty="0">
              <a:solidFill>
                <a:schemeClr val="accent6">
                  <a:lumMod val="50000"/>
                </a:schemeClr>
              </a:solidFill>
              <a:latin typeface="Neo Sans Pro Light" pitchFamily="34" charset="-52"/>
            </a:endParaRP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наличие службы безопасности;</a:t>
            </a: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круглосуточное видеонаблюдение;</a:t>
            </a: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наличие медицинского пункта/персонала;</a:t>
            </a: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наличие парковочных зон;</a:t>
            </a: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возможность подъезда автобусов;</a:t>
            </a: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наличие бизнес удобств;</a:t>
            </a: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продажа билетов на Выставку;</a:t>
            </a: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трансфер: гостиница-Выставка-гостиница;</a:t>
            </a: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Проведение постоянных тренингов по повышению квалификации персонала/заключение договора с волонтерскими программами;</a:t>
            </a: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Знание иностранных языков персоналом</a:t>
            </a: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веб-сайт на казахском, русском, английском языках; </a:t>
            </a: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возможность онлайн-бронирования и оплаты;</a:t>
            </a: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информация в отеле на казахском, русском, английском языках;</a:t>
            </a: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наличие информации о Выставке, туристским и другим объектам города (карта города, рекомендуемые туры и т.д.);</a:t>
            </a:r>
          </a:p>
          <a:p>
            <a:pPr marL="171450" lvl="0" indent="-1714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доступ для работников Общества в гостиницу в период подготовки и проведения выставки</a:t>
            </a:r>
          </a:p>
        </p:txBody>
      </p:sp>
      <p:pic>
        <p:nvPicPr>
          <p:cNvPr id="8" name="Изображение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130181" y="-184647"/>
            <a:ext cx="1206500" cy="1511300"/>
          </a:xfrm>
          <a:prstGeom prst="rect">
            <a:avLst/>
          </a:prstGeom>
        </p:spPr>
      </p:pic>
      <p:pic>
        <p:nvPicPr>
          <p:cNvPr id="10" name="Picture 2" descr="BI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0780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10"/>
          <p:cNvSpPr txBox="1"/>
          <p:nvPr/>
        </p:nvSpPr>
        <p:spPr>
          <a:xfrm>
            <a:off x="700201" y="643210"/>
            <a:ext cx="3916044" cy="3382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87"/>
            <a:r>
              <a:rPr sz="2198" b="1" spc="70" dirty="0">
                <a:solidFill>
                  <a:srgbClr val="FFFFFF"/>
                </a:solidFill>
                <a:latin typeface="Tahoma"/>
                <a:cs typeface="Tahoma"/>
              </a:rPr>
              <a:t>EXPO</a:t>
            </a:r>
            <a:r>
              <a:rPr sz="2198" b="1" spc="-14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2198" b="1" spc="180" dirty="0" smtClean="0">
                <a:solidFill>
                  <a:srgbClr val="FFFFFF"/>
                </a:solidFill>
                <a:latin typeface="Tahoma"/>
                <a:cs typeface="Tahoma"/>
              </a:rPr>
              <a:t>2017</a:t>
            </a:r>
            <a:r>
              <a:rPr lang="en-US" sz="2198" b="1" spc="180" dirty="0" smtClean="0">
                <a:solidFill>
                  <a:srgbClr val="FFFFFF"/>
                </a:solidFill>
                <a:latin typeface="Tahoma"/>
                <a:cs typeface="Tahoma"/>
              </a:rPr>
              <a:t> ASTANA</a:t>
            </a:r>
            <a:endParaRPr sz="2198" b="1" dirty="0">
              <a:latin typeface="Tahoma"/>
              <a:cs typeface="Tahoma"/>
            </a:endParaRPr>
          </a:p>
        </p:txBody>
      </p:sp>
      <p:grpSp>
        <p:nvGrpSpPr>
          <p:cNvPr id="108" name="Группа 107"/>
          <p:cNvGrpSpPr/>
          <p:nvPr/>
        </p:nvGrpSpPr>
        <p:grpSpPr>
          <a:xfrm>
            <a:off x="446601" y="1939073"/>
            <a:ext cx="10968597" cy="4384341"/>
            <a:chOff x="455053" y="1912696"/>
            <a:chExt cx="10968597" cy="4384341"/>
          </a:xfrm>
        </p:grpSpPr>
        <p:sp>
          <p:nvSpPr>
            <p:cNvPr id="109" name="object 2"/>
            <p:cNvSpPr/>
            <p:nvPr/>
          </p:nvSpPr>
          <p:spPr>
            <a:xfrm>
              <a:off x="2559443" y="2236355"/>
              <a:ext cx="3941648" cy="476783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0" name="object 3"/>
            <p:cNvSpPr/>
            <p:nvPr/>
          </p:nvSpPr>
          <p:spPr>
            <a:xfrm>
              <a:off x="7661681" y="2222017"/>
              <a:ext cx="3567556" cy="431533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1" name="object 27"/>
            <p:cNvSpPr/>
            <p:nvPr/>
          </p:nvSpPr>
          <p:spPr>
            <a:xfrm>
              <a:off x="1024153" y="2481795"/>
              <a:ext cx="705751" cy="1204607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2" name="object 28"/>
            <p:cNvSpPr/>
            <p:nvPr/>
          </p:nvSpPr>
          <p:spPr>
            <a:xfrm>
              <a:off x="1024153" y="2481795"/>
              <a:ext cx="1204658" cy="705612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3" name="object 29"/>
            <p:cNvSpPr/>
            <p:nvPr/>
          </p:nvSpPr>
          <p:spPr>
            <a:xfrm>
              <a:off x="1024153" y="1982787"/>
              <a:ext cx="705586" cy="1204620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4" name="object 30"/>
            <p:cNvSpPr/>
            <p:nvPr/>
          </p:nvSpPr>
          <p:spPr>
            <a:xfrm>
              <a:off x="525195" y="2481795"/>
              <a:ext cx="1204544" cy="705586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5" name="object 31"/>
            <p:cNvSpPr/>
            <p:nvPr/>
          </p:nvSpPr>
          <p:spPr>
            <a:xfrm>
              <a:off x="1024153" y="2481795"/>
              <a:ext cx="1204658" cy="705586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6" name="object 32"/>
            <p:cNvSpPr/>
            <p:nvPr/>
          </p:nvSpPr>
          <p:spPr>
            <a:xfrm>
              <a:off x="1024293" y="1982787"/>
              <a:ext cx="705611" cy="1204595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7" name="object 33"/>
            <p:cNvSpPr/>
            <p:nvPr/>
          </p:nvSpPr>
          <p:spPr>
            <a:xfrm>
              <a:off x="525195" y="2481795"/>
              <a:ext cx="1204709" cy="705612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8" name="object 34"/>
            <p:cNvSpPr/>
            <p:nvPr/>
          </p:nvSpPr>
          <p:spPr>
            <a:xfrm>
              <a:off x="1024153" y="2481795"/>
              <a:ext cx="705586" cy="1204620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19" name="object 35"/>
            <p:cNvSpPr/>
            <p:nvPr/>
          </p:nvSpPr>
          <p:spPr>
            <a:xfrm>
              <a:off x="1024131" y="2481694"/>
              <a:ext cx="1274860" cy="705818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0" name="object 36"/>
            <p:cNvSpPr/>
            <p:nvPr/>
          </p:nvSpPr>
          <p:spPr>
            <a:xfrm>
              <a:off x="1024131" y="2182698"/>
              <a:ext cx="1004770" cy="1004776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1" name="object 37"/>
            <p:cNvSpPr/>
            <p:nvPr/>
          </p:nvSpPr>
          <p:spPr>
            <a:xfrm>
              <a:off x="455053" y="2481707"/>
              <a:ext cx="1274806" cy="705810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2" name="object 38"/>
            <p:cNvSpPr/>
            <p:nvPr/>
          </p:nvSpPr>
          <p:spPr>
            <a:xfrm>
              <a:off x="725068" y="2481707"/>
              <a:ext cx="1004820" cy="1004874"/>
            </a:xfrm>
            <a:prstGeom prst="rect">
              <a:avLst/>
            </a:prstGeom>
            <a:blipFill>
              <a:blip r:embed="rId1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3" name="object 39"/>
            <p:cNvSpPr/>
            <p:nvPr/>
          </p:nvSpPr>
          <p:spPr>
            <a:xfrm>
              <a:off x="1024121" y="1912696"/>
              <a:ext cx="705742" cy="1274845"/>
            </a:xfrm>
            <a:prstGeom prst="rect">
              <a:avLst/>
            </a:prstGeom>
            <a:blipFill>
              <a:blip r:embed="rId1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4" name="object 40"/>
            <p:cNvSpPr/>
            <p:nvPr/>
          </p:nvSpPr>
          <p:spPr>
            <a:xfrm>
              <a:off x="725093" y="2182596"/>
              <a:ext cx="1004750" cy="1004844"/>
            </a:xfrm>
            <a:prstGeom prst="rect">
              <a:avLst/>
            </a:prstGeom>
            <a:blipFill>
              <a:blip r:embed="rId1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6" name="object 42"/>
            <p:cNvSpPr/>
            <p:nvPr/>
          </p:nvSpPr>
          <p:spPr>
            <a:xfrm>
              <a:off x="1024166" y="2481795"/>
              <a:ext cx="1004735" cy="1004760"/>
            </a:xfrm>
            <a:prstGeom prst="rect">
              <a:avLst/>
            </a:prstGeom>
            <a:blipFill>
              <a:blip r:embed="rId1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7" name="object 43"/>
            <p:cNvSpPr/>
            <p:nvPr/>
          </p:nvSpPr>
          <p:spPr>
            <a:xfrm>
              <a:off x="6508087" y="4505731"/>
              <a:ext cx="522009" cy="523017"/>
            </a:xfrm>
            <a:prstGeom prst="rect">
              <a:avLst/>
            </a:prstGeom>
            <a:blipFill>
              <a:blip r:embed="rId2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8" name="object 44"/>
            <p:cNvSpPr/>
            <p:nvPr/>
          </p:nvSpPr>
          <p:spPr>
            <a:xfrm>
              <a:off x="6615010" y="4767757"/>
              <a:ext cx="308610" cy="154305"/>
            </a:xfrm>
            <a:custGeom>
              <a:avLst/>
              <a:gdLst/>
              <a:ahLst/>
              <a:cxnLst/>
              <a:rect l="l" t="t" r="r" b="b"/>
              <a:pathLst>
                <a:path w="308609" h="154304">
                  <a:moveTo>
                    <a:pt x="308152" y="0"/>
                  </a:moveTo>
                  <a:lnTo>
                    <a:pt x="0" y="0"/>
                  </a:lnTo>
                  <a:lnTo>
                    <a:pt x="7853" y="48692"/>
                  </a:lnTo>
                  <a:lnTo>
                    <a:pt x="29724" y="90983"/>
                  </a:lnTo>
                  <a:lnTo>
                    <a:pt x="63074" y="124335"/>
                  </a:lnTo>
                  <a:lnTo>
                    <a:pt x="105366" y="146208"/>
                  </a:lnTo>
                  <a:lnTo>
                    <a:pt x="154063" y="154063"/>
                  </a:lnTo>
                  <a:lnTo>
                    <a:pt x="202773" y="146208"/>
                  </a:lnTo>
                  <a:lnTo>
                    <a:pt x="245072" y="124335"/>
                  </a:lnTo>
                  <a:lnTo>
                    <a:pt x="278426" y="90983"/>
                  </a:lnTo>
                  <a:lnTo>
                    <a:pt x="300298" y="48692"/>
                  </a:lnTo>
                  <a:lnTo>
                    <a:pt x="308152" y="0"/>
                  </a:lnTo>
                  <a:close/>
                </a:path>
              </a:pathLst>
            </a:custGeom>
            <a:solidFill>
              <a:srgbClr val="03040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9" name="object 45"/>
            <p:cNvSpPr/>
            <p:nvPr/>
          </p:nvSpPr>
          <p:spPr>
            <a:xfrm>
              <a:off x="6672618" y="4636096"/>
              <a:ext cx="62865" cy="62865"/>
            </a:xfrm>
            <a:custGeom>
              <a:avLst/>
              <a:gdLst/>
              <a:ahLst/>
              <a:cxnLst/>
              <a:rect l="l" t="t" r="r" b="b"/>
              <a:pathLst>
                <a:path w="62865" h="62864">
                  <a:moveTo>
                    <a:pt x="31242" y="0"/>
                  </a:moveTo>
                  <a:lnTo>
                    <a:pt x="19068" y="2455"/>
                  </a:lnTo>
                  <a:lnTo>
                    <a:pt x="9139" y="9155"/>
                  </a:lnTo>
                  <a:lnTo>
                    <a:pt x="2450" y="19100"/>
                  </a:lnTo>
                  <a:lnTo>
                    <a:pt x="0" y="31292"/>
                  </a:lnTo>
                  <a:lnTo>
                    <a:pt x="2450" y="43439"/>
                  </a:lnTo>
                  <a:lnTo>
                    <a:pt x="9139" y="53371"/>
                  </a:lnTo>
                  <a:lnTo>
                    <a:pt x="19068" y="60074"/>
                  </a:lnTo>
                  <a:lnTo>
                    <a:pt x="31242" y="62534"/>
                  </a:lnTo>
                  <a:lnTo>
                    <a:pt x="43396" y="60074"/>
                  </a:lnTo>
                  <a:lnTo>
                    <a:pt x="53332" y="53371"/>
                  </a:lnTo>
                  <a:lnTo>
                    <a:pt x="60036" y="43439"/>
                  </a:lnTo>
                  <a:lnTo>
                    <a:pt x="62496" y="31292"/>
                  </a:lnTo>
                  <a:lnTo>
                    <a:pt x="60036" y="19100"/>
                  </a:lnTo>
                  <a:lnTo>
                    <a:pt x="53332" y="9155"/>
                  </a:lnTo>
                  <a:lnTo>
                    <a:pt x="43396" y="2455"/>
                  </a:lnTo>
                  <a:lnTo>
                    <a:pt x="31242" y="0"/>
                  </a:lnTo>
                  <a:close/>
                </a:path>
              </a:pathLst>
            </a:custGeom>
            <a:solidFill>
              <a:srgbClr val="03040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0" name="object 46"/>
            <p:cNvSpPr/>
            <p:nvPr/>
          </p:nvSpPr>
          <p:spPr>
            <a:xfrm>
              <a:off x="6803059" y="4636096"/>
              <a:ext cx="62865" cy="62865"/>
            </a:xfrm>
            <a:custGeom>
              <a:avLst/>
              <a:gdLst/>
              <a:ahLst/>
              <a:cxnLst/>
              <a:rect l="l" t="t" r="r" b="b"/>
              <a:pathLst>
                <a:path w="62865" h="62864">
                  <a:moveTo>
                    <a:pt x="31267" y="0"/>
                  </a:moveTo>
                  <a:lnTo>
                    <a:pt x="19100" y="2455"/>
                  </a:lnTo>
                  <a:lnTo>
                    <a:pt x="9161" y="9155"/>
                  </a:lnTo>
                  <a:lnTo>
                    <a:pt x="2458" y="19100"/>
                  </a:lnTo>
                  <a:lnTo>
                    <a:pt x="0" y="31292"/>
                  </a:lnTo>
                  <a:lnTo>
                    <a:pt x="2458" y="43439"/>
                  </a:lnTo>
                  <a:lnTo>
                    <a:pt x="9161" y="53371"/>
                  </a:lnTo>
                  <a:lnTo>
                    <a:pt x="19100" y="60074"/>
                  </a:lnTo>
                  <a:lnTo>
                    <a:pt x="31267" y="62534"/>
                  </a:lnTo>
                  <a:lnTo>
                    <a:pt x="43426" y="60074"/>
                  </a:lnTo>
                  <a:lnTo>
                    <a:pt x="53362" y="53371"/>
                  </a:lnTo>
                  <a:lnTo>
                    <a:pt x="60063" y="43439"/>
                  </a:lnTo>
                  <a:lnTo>
                    <a:pt x="62522" y="31292"/>
                  </a:lnTo>
                  <a:lnTo>
                    <a:pt x="60063" y="19100"/>
                  </a:lnTo>
                  <a:lnTo>
                    <a:pt x="53362" y="9155"/>
                  </a:lnTo>
                  <a:lnTo>
                    <a:pt x="43426" y="2455"/>
                  </a:lnTo>
                  <a:lnTo>
                    <a:pt x="31267" y="0"/>
                  </a:lnTo>
                  <a:close/>
                </a:path>
              </a:pathLst>
            </a:custGeom>
            <a:solidFill>
              <a:srgbClr val="030404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1" name="object 47"/>
            <p:cNvSpPr txBox="1"/>
            <p:nvPr/>
          </p:nvSpPr>
          <p:spPr>
            <a:xfrm>
              <a:off x="7343864" y="4496130"/>
              <a:ext cx="1127760" cy="53911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3350" b="1" spc="195" dirty="0">
                  <a:solidFill>
                    <a:srgbClr val="808285"/>
                  </a:solidFill>
                  <a:latin typeface="Arial"/>
                  <a:cs typeface="Arial"/>
                </a:rPr>
                <a:t>3</a:t>
              </a:r>
              <a:r>
                <a:rPr sz="3350" b="1" spc="-260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3350" b="1" spc="114" dirty="0">
                  <a:solidFill>
                    <a:srgbClr val="808285"/>
                  </a:solidFill>
                  <a:latin typeface="Arial"/>
                  <a:cs typeface="Arial"/>
                </a:rPr>
                <a:t>000</a:t>
              </a:r>
              <a:endParaRPr sz="3350" dirty="0">
                <a:latin typeface="Arial"/>
                <a:cs typeface="Arial"/>
              </a:endParaRPr>
            </a:p>
          </p:txBody>
        </p:sp>
        <p:sp>
          <p:nvSpPr>
            <p:cNvPr id="132" name="object 48"/>
            <p:cNvSpPr txBox="1"/>
            <p:nvPr/>
          </p:nvSpPr>
          <p:spPr>
            <a:xfrm>
              <a:off x="8553450" y="4542315"/>
              <a:ext cx="2870200" cy="46799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>
                <a:lnSpc>
                  <a:spcPct val="79200"/>
                </a:lnSpc>
              </a:pPr>
              <a:r>
                <a:rPr sz="1850" spc="-10" dirty="0">
                  <a:solidFill>
                    <a:srgbClr val="808285"/>
                  </a:solidFill>
                  <a:latin typeface="Arial"/>
                  <a:cs typeface="Arial"/>
                </a:rPr>
                <a:t>к</a:t>
              </a:r>
              <a:r>
                <a:rPr sz="1850" spc="-95" dirty="0">
                  <a:solidFill>
                    <a:srgbClr val="808285"/>
                  </a:solidFill>
                  <a:latin typeface="Arial"/>
                  <a:cs typeface="Arial"/>
                </a:rPr>
                <a:t>у</a:t>
              </a:r>
              <a:r>
                <a:rPr sz="1850" spc="-180" dirty="0">
                  <a:solidFill>
                    <a:srgbClr val="808285"/>
                  </a:solidFill>
                  <a:latin typeface="Arial"/>
                  <a:cs typeface="Arial"/>
                </a:rPr>
                <a:t>л</a:t>
              </a:r>
              <a:r>
                <a:rPr sz="1850" spc="-195" dirty="0">
                  <a:solidFill>
                    <a:srgbClr val="808285"/>
                  </a:solidFill>
                  <a:latin typeface="Arial"/>
                  <a:cs typeface="Arial"/>
                </a:rPr>
                <a:t>ь</a:t>
              </a:r>
              <a:r>
                <a:rPr sz="1850" spc="-75" dirty="0">
                  <a:solidFill>
                    <a:srgbClr val="808285"/>
                  </a:solidFill>
                  <a:latin typeface="Arial"/>
                  <a:cs typeface="Arial"/>
                </a:rPr>
                <a:t>турно-раз</a:t>
              </a:r>
              <a:r>
                <a:rPr sz="1850" spc="-105" dirty="0">
                  <a:solidFill>
                    <a:srgbClr val="808285"/>
                  </a:solidFill>
                  <a:latin typeface="Arial"/>
                  <a:cs typeface="Arial"/>
                </a:rPr>
                <a:t>в</a:t>
              </a:r>
              <a:r>
                <a:rPr sz="1850" spc="-240" dirty="0">
                  <a:solidFill>
                    <a:srgbClr val="808285"/>
                  </a:solidFill>
                  <a:latin typeface="Arial"/>
                  <a:cs typeface="Arial"/>
                </a:rPr>
                <a:t>л</a:t>
              </a:r>
              <a:r>
                <a:rPr sz="1850" spc="-90" dirty="0">
                  <a:solidFill>
                    <a:srgbClr val="808285"/>
                  </a:solidFill>
                  <a:latin typeface="Arial"/>
                  <a:cs typeface="Arial"/>
                </a:rPr>
                <a:t>ек</a:t>
              </a:r>
              <a:r>
                <a:rPr sz="1850" spc="-114" dirty="0">
                  <a:solidFill>
                    <a:srgbClr val="808285"/>
                  </a:solidFill>
                  <a:latin typeface="Arial"/>
                  <a:cs typeface="Arial"/>
                </a:rPr>
                <a:t>а</a:t>
              </a:r>
              <a:r>
                <a:rPr sz="1850" spc="-25" dirty="0">
                  <a:solidFill>
                    <a:srgbClr val="808285"/>
                  </a:solidFill>
                  <a:latin typeface="Arial"/>
                  <a:cs typeface="Arial"/>
                </a:rPr>
                <a:t>т</a:t>
              </a:r>
              <a:r>
                <a:rPr sz="1850" spc="-95" dirty="0">
                  <a:solidFill>
                    <a:srgbClr val="808285"/>
                  </a:solidFill>
                  <a:latin typeface="Arial"/>
                  <a:cs typeface="Arial"/>
                </a:rPr>
                <a:t>ельных,</a:t>
              </a:r>
              <a:r>
                <a:rPr sz="1850" spc="-7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850" spc="-175" dirty="0">
                  <a:solidFill>
                    <a:srgbClr val="808285"/>
                  </a:solidFill>
                  <a:latin typeface="Arial"/>
                  <a:cs typeface="Arial"/>
                </a:rPr>
                <a:t>ма</a:t>
              </a:r>
              <a:r>
                <a:rPr sz="1850" spc="-180" dirty="0">
                  <a:solidFill>
                    <a:srgbClr val="808285"/>
                  </a:solidFill>
                  <a:latin typeface="Arial"/>
                  <a:cs typeface="Arial"/>
                </a:rPr>
                <a:t>с</a:t>
              </a:r>
              <a:r>
                <a:rPr sz="1850" spc="-85" dirty="0">
                  <a:solidFill>
                    <a:srgbClr val="808285"/>
                  </a:solidFill>
                  <a:latin typeface="Arial"/>
                  <a:cs typeface="Arial"/>
                </a:rPr>
                <a:t>совы</a:t>
              </a:r>
              <a:r>
                <a:rPr sz="1850" spc="-35" dirty="0">
                  <a:solidFill>
                    <a:srgbClr val="808285"/>
                  </a:solidFill>
                  <a:latin typeface="Arial"/>
                  <a:cs typeface="Arial"/>
                </a:rPr>
                <a:t>х</a:t>
              </a:r>
              <a:r>
                <a:rPr sz="1850" spc="-170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850" spc="-85" dirty="0">
                  <a:solidFill>
                    <a:srgbClr val="808285"/>
                  </a:solidFill>
                  <a:latin typeface="Arial"/>
                  <a:cs typeface="Arial"/>
                </a:rPr>
                <a:t>мероприятий</a:t>
              </a:r>
              <a:endParaRPr sz="1850" dirty="0">
                <a:latin typeface="Arial"/>
                <a:cs typeface="Arial"/>
              </a:endParaRPr>
            </a:p>
          </p:txBody>
        </p:sp>
        <p:sp>
          <p:nvSpPr>
            <p:cNvPr id="133" name="object 49"/>
            <p:cNvSpPr/>
            <p:nvPr/>
          </p:nvSpPr>
          <p:spPr>
            <a:xfrm>
              <a:off x="6563399" y="5513565"/>
              <a:ext cx="374318" cy="676605"/>
            </a:xfrm>
            <a:prstGeom prst="rect">
              <a:avLst/>
            </a:prstGeom>
            <a:blipFill>
              <a:blip r:embed="rId2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4" name="object 50"/>
            <p:cNvSpPr/>
            <p:nvPr/>
          </p:nvSpPr>
          <p:spPr>
            <a:xfrm>
              <a:off x="6654812" y="5613971"/>
              <a:ext cx="190423" cy="190423"/>
            </a:xfrm>
            <a:prstGeom prst="rect">
              <a:avLst/>
            </a:prstGeom>
            <a:blipFill>
              <a:blip r:embed="rId2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5" name="object 51"/>
            <p:cNvSpPr txBox="1"/>
            <p:nvPr/>
          </p:nvSpPr>
          <p:spPr>
            <a:xfrm>
              <a:off x="7325258" y="5514218"/>
              <a:ext cx="3930015" cy="68389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ts val="3120"/>
                </a:lnSpc>
              </a:pPr>
              <a:r>
                <a:rPr sz="2700" b="1" spc="105" dirty="0">
                  <a:solidFill>
                    <a:srgbClr val="808285"/>
                  </a:solidFill>
                  <a:latin typeface="Arial"/>
                  <a:cs typeface="Arial"/>
                </a:rPr>
                <a:t>10</a:t>
              </a:r>
              <a:r>
                <a:rPr sz="2700" b="1" spc="170" dirty="0">
                  <a:solidFill>
                    <a:srgbClr val="808285"/>
                  </a:solidFill>
                  <a:latin typeface="Arial"/>
                  <a:cs typeface="Arial"/>
                </a:rPr>
                <a:t>0</a:t>
              </a:r>
              <a:r>
                <a:rPr sz="2700" b="1" spc="-210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2700" b="1" spc="-165" dirty="0">
                  <a:solidFill>
                    <a:srgbClr val="808285"/>
                  </a:solidFill>
                  <a:latin typeface="Arial"/>
                  <a:cs typeface="Arial"/>
                </a:rPr>
                <a:t>стра</a:t>
              </a:r>
              <a:r>
                <a:rPr sz="2700" b="1" spc="-105" dirty="0">
                  <a:solidFill>
                    <a:srgbClr val="808285"/>
                  </a:solidFill>
                  <a:latin typeface="Arial"/>
                  <a:cs typeface="Arial"/>
                </a:rPr>
                <a:t>н</a:t>
              </a:r>
              <a:r>
                <a:rPr sz="2700" b="1" spc="-210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2700" b="1" spc="-75" dirty="0">
                  <a:solidFill>
                    <a:srgbClr val="808285"/>
                  </a:solidFill>
                  <a:latin typeface="Arial"/>
                  <a:cs typeface="Arial"/>
                </a:rPr>
                <a:t>и</a:t>
              </a:r>
              <a:r>
                <a:rPr sz="2700" b="1" spc="-210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2700" b="1" spc="-120" dirty="0">
                  <a:solidFill>
                    <a:srgbClr val="808285"/>
                  </a:solidFill>
                  <a:latin typeface="Arial"/>
                  <a:cs typeface="Arial"/>
                </a:rPr>
                <a:t>организаций</a:t>
              </a:r>
              <a:endParaRPr sz="2700" dirty="0">
                <a:latin typeface="Arial"/>
                <a:cs typeface="Arial"/>
              </a:endParaRPr>
            </a:p>
            <a:p>
              <a:pPr marL="12700">
                <a:lnSpc>
                  <a:spcPts val="2100"/>
                </a:lnSpc>
              </a:pPr>
              <a:r>
                <a:rPr sz="1850" spc="-60" dirty="0">
                  <a:solidFill>
                    <a:srgbClr val="808285"/>
                  </a:solidFill>
                  <a:latin typeface="Arial"/>
                  <a:cs typeface="Arial"/>
                </a:rPr>
                <a:t>к</a:t>
              </a:r>
              <a:r>
                <a:rPr sz="1850" spc="-165" dirty="0">
                  <a:solidFill>
                    <a:srgbClr val="808285"/>
                  </a:solidFill>
                  <a:latin typeface="Arial"/>
                  <a:cs typeface="Arial"/>
                </a:rPr>
                <a:t>о</a:t>
              </a:r>
              <a:r>
                <a:rPr sz="1850" spc="-90" dirty="0">
                  <a:solidFill>
                    <a:srgbClr val="808285"/>
                  </a:solidFill>
                  <a:latin typeface="Arial"/>
                  <a:cs typeface="Arial"/>
                </a:rPr>
                <a:t>личеств</a:t>
              </a:r>
              <a:r>
                <a:rPr sz="1850" spc="-50" dirty="0">
                  <a:solidFill>
                    <a:srgbClr val="808285"/>
                  </a:solidFill>
                  <a:latin typeface="Arial"/>
                  <a:cs typeface="Arial"/>
                </a:rPr>
                <a:t>о</a:t>
              </a:r>
              <a:r>
                <a:rPr sz="1850" spc="-170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850" spc="-75" dirty="0">
                  <a:solidFill>
                    <a:srgbClr val="808285"/>
                  </a:solidFill>
                  <a:latin typeface="Arial"/>
                  <a:cs typeface="Arial"/>
                </a:rPr>
                <a:t>п</a:t>
              </a:r>
              <a:r>
                <a:rPr sz="1850" spc="-140" dirty="0">
                  <a:solidFill>
                    <a:srgbClr val="808285"/>
                  </a:solidFill>
                  <a:latin typeface="Arial"/>
                  <a:cs typeface="Arial"/>
                </a:rPr>
                <a:t>о</a:t>
              </a:r>
              <a:r>
                <a:rPr sz="1850" spc="-25" dirty="0">
                  <a:solidFill>
                    <a:srgbClr val="808285"/>
                  </a:solidFill>
                  <a:latin typeface="Arial"/>
                  <a:cs typeface="Arial"/>
                </a:rPr>
                <a:t>т</a:t>
              </a:r>
              <a:r>
                <a:rPr sz="1850" spc="-85" dirty="0">
                  <a:solidFill>
                    <a:srgbClr val="808285"/>
                  </a:solidFill>
                  <a:latin typeface="Arial"/>
                  <a:cs typeface="Arial"/>
                </a:rPr>
                <a:t>енциальны</a:t>
              </a:r>
              <a:r>
                <a:rPr sz="1850" spc="-35" dirty="0">
                  <a:solidFill>
                    <a:srgbClr val="808285"/>
                  </a:solidFill>
                  <a:latin typeface="Arial"/>
                  <a:cs typeface="Arial"/>
                </a:rPr>
                <a:t>х</a:t>
              </a:r>
              <a:r>
                <a:rPr sz="1850" spc="-170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850" spc="-65" dirty="0">
                  <a:solidFill>
                    <a:srgbClr val="808285"/>
                  </a:solidFill>
                  <a:latin typeface="Arial"/>
                  <a:cs typeface="Arial"/>
                </a:rPr>
                <a:t>участни</a:t>
              </a:r>
              <a:r>
                <a:rPr sz="1850" spc="-135" dirty="0">
                  <a:solidFill>
                    <a:srgbClr val="808285"/>
                  </a:solidFill>
                  <a:latin typeface="Arial"/>
                  <a:cs typeface="Arial"/>
                </a:rPr>
                <a:t>к</a:t>
              </a:r>
              <a:r>
                <a:rPr sz="1850" spc="-90" dirty="0">
                  <a:solidFill>
                    <a:srgbClr val="808285"/>
                  </a:solidFill>
                  <a:latin typeface="Arial"/>
                  <a:cs typeface="Arial"/>
                </a:rPr>
                <a:t>ов</a:t>
              </a:r>
              <a:endParaRPr sz="1850" dirty="0">
                <a:latin typeface="Arial"/>
                <a:cs typeface="Arial"/>
              </a:endParaRPr>
            </a:p>
          </p:txBody>
        </p:sp>
        <p:sp>
          <p:nvSpPr>
            <p:cNvPr id="136" name="object 52"/>
            <p:cNvSpPr/>
            <p:nvPr/>
          </p:nvSpPr>
          <p:spPr>
            <a:xfrm>
              <a:off x="976045" y="4429480"/>
              <a:ext cx="435584" cy="435470"/>
            </a:xfrm>
            <a:prstGeom prst="rect">
              <a:avLst/>
            </a:prstGeom>
            <a:blipFill>
              <a:blip r:embed="rId2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7" name="object 53"/>
            <p:cNvSpPr/>
            <p:nvPr/>
          </p:nvSpPr>
          <p:spPr>
            <a:xfrm>
              <a:off x="1105217" y="4683430"/>
              <a:ext cx="177152" cy="88633"/>
            </a:xfrm>
            <a:prstGeom prst="rect">
              <a:avLst/>
            </a:prstGeom>
            <a:blipFill>
              <a:blip r:embed="rId2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8" name="object 54"/>
            <p:cNvSpPr/>
            <p:nvPr/>
          </p:nvSpPr>
          <p:spPr>
            <a:xfrm>
              <a:off x="993825" y="4981473"/>
              <a:ext cx="819708" cy="480187"/>
            </a:xfrm>
            <a:prstGeom prst="rect">
              <a:avLst/>
            </a:prstGeom>
            <a:blipFill>
              <a:blip r:embed="rId2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39" name="object 55"/>
            <p:cNvSpPr/>
            <p:nvPr/>
          </p:nvSpPr>
          <p:spPr>
            <a:xfrm>
              <a:off x="573836" y="4981473"/>
              <a:ext cx="819619" cy="480187"/>
            </a:xfrm>
            <a:prstGeom prst="rect">
              <a:avLst/>
            </a:prstGeom>
            <a:blipFill>
              <a:blip r:embed="rId2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0" name="object 56"/>
            <p:cNvSpPr/>
            <p:nvPr/>
          </p:nvSpPr>
          <p:spPr>
            <a:xfrm>
              <a:off x="890574" y="5260505"/>
              <a:ext cx="606374" cy="1035126"/>
            </a:xfrm>
            <a:prstGeom prst="rect">
              <a:avLst/>
            </a:prstGeom>
            <a:blipFill>
              <a:blip r:embed="rId2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1" name="object 57"/>
            <p:cNvSpPr/>
            <p:nvPr/>
          </p:nvSpPr>
          <p:spPr>
            <a:xfrm>
              <a:off x="890574" y="4967541"/>
              <a:ext cx="606374" cy="1328064"/>
            </a:xfrm>
            <a:prstGeom prst="rect">
              <a:avLst/>
            </a:prstGeom>
            <a:blipFill>
              <a:blip r:embed="rId2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2" name="object 58"/>
            <p:cNvSpPr txBox="1"/>
            <p:nvPr/>
          </p:nvSpPr>
          <p:spPr>
            <a:xfrm>
              <a:off x="2224811" y="4371492"/>
              <a:ext cx="2506980" cy="120713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>
                <a:lnSpc>
                  <a:spcPts val="1550"/>
                </a:lnSpc>
              </a:pPr>
              <a:r>
                <a:rPr sz="1600" spc="-155" dirty="0">
                  <a:solidFill>
                    <a:srgbClr val="808285"/>
                  </a:solidFill>
                  <a:latin typeface="Arial"/>
                  <a:cs typeface="Arial"/>
                </a:rPr>
                <a:t>о</a:t>
              </a:r>
              <a:r>
                <a:rPr sz="1600" spc="45" dirty="0">
                  <a:solidFill>
                    <a:srgbClr val="808285"/>
                  </a:solidFill>
                  <a:latin typeface="Arial"/>
                  <a:cs typeface="Arial"/>
                </a:rPr>
                <a:t>ж</a:t>
              </a:r>
              <a:r>
                <a:rPr sz="1600" spc="-45" dirty="0">
                  <a:solidFill>
                    <a:srgbClr val="808285"/>
                  </a:solidFill>
                  <a:latin typeface="Arial"/>
                  <a:cs typeface="Arial"/>
                </a:rPr>
                <a:t>и</a:t>
              </a:r>
              <a:r>
                <a:rPr sz="1600" spc="-95" dirty="0">
                  <a:solidFill>
                    <a:srgbClr val="808285"/>
                  </a:solidFill>
                  <a:latin typeface="Arial"/>
                  <a:cs typeface="Arial"/>
                </a:rPr>
                <a:t>д</a:t>
              </a:r>
              <a:r>
                <a:rPr sz="1600" spc="-105" dirty="0">
                  <a:solidFill>
                    <a:srgbClr val="808285"/>
                  </a:solidFill>
                  <a:latin typeface="Arial"/>
                  <a:cs typeface="Arial"/>
                </a:rPr>
                <a:t>аемо</a:t>
              </a:r>
              <a:r>
                <a:rPr sz="1600" spc="-60" dirty="0">
                  <a:solidFill>
                    <a:srgbClr val="808285"/>
                  </a:solidFill>
                  <a:latin typeface="Arial"/>
                  <a:cs typeface="Arial"/>
                </a:rPr>
                <a:t>е</a:t>
              </a:r>
              <a:r>
                <a:rPr sz="1600" spc="-140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600" spc="-90" dirty="0">
                  <a:solidFill>
                    <a:srgbClr val="808285"/>
                  </a:solidFill>
                  <a:latin typeface="Arial"/>
                  <a:cs typeface="Arial"/>
                </a:rPr>
                <a:t>чис</a:t>
              </a:r>
              <a:r>
                <a:rPr sz="1600" spc="-145" dirty="0">
                  <a:solidFill>
                    <a:srgbClr val="808285"/>
                  </a:solidFill>
                  <a:latin typeface="Arial"/>
                  <a:cs typeface="Arial"/>
                </a:rPr>
                <a:t>л</a:t>
              </a:r>
              <a:r>
                <a:rPr sz="1600" spc="-50" dirty="0">
                  <a:solidFill>
                    <a:srgbClr val="808285"/>
                  </a:solidFill>
                  <a:latin typeface="Arial"/>
                  <a:cs typeface="Arial"/>
                </a:rPr>
                <a:t>о</a:t>
              </a:r>
              <a:r>
                <a:rPr sz="1600" spc="-140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600" spc="-55" dirty="0">
                  <a:solidFill>
                    <a:srgbClr val="808285"/>
                  </a:solidFill>
                  <a:latin typeface="Arial"/>
                  <a:cs typeface="Arial"/>
                </a:rPr>
                <a:t>местны</a:t>
              </a:r>
              <a:r>
                <a:rPr sz="1600" spc="-10" dirty="0">
                  <a:solidFill>
                    <a:srgbClr val="808285"/>
                  </a:solidFill>
                  <a:latin typeface="Arial"/>
                  <a:cs typeface="Arial"/>
                </a:rPr>
                <a:t>х</a:t>
              </a:r>
              <a:r>
                <a:rPr sz="1600" spc="-140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600" spc="-5" dirty="0">
                  <a:solidFill>
                    <a:srgbClr val="808285"/>
                  </a:solidFill>
                  <a:latin typeface="Arial"/>
                  <a:cs typeface="Arial"/>
                </a:rPr>
                <a:t>и </a:t>
              </a:r>
              <a:r>
                <a:rPr sz="1600" spc="-110" dirty="0">
                  <a:solidFill>
                    <a:srgbClr val="808285"/>
                  </a:solidFill>
                  <a:latin typeface="Arial"/>
                  <a:cs typeface="Arial"/>
                </a:rPr>
                <a:t>м</a:t>
              </a:r>
              <a:r>
                <a:rPr sz="1600" spc="-165" dirty="0">
                  <a:solidFill>
                    <a:srgbClr val="808285"/>
                  </a:solidFill>
                  <a:latin typeface="Arial"/>
                  <a:cs typeface="Arial"/>
                </a:rPr>
                <a:t>е</a:t>
              </a:r>
              <a:r>
                <a:rPr sz="1600" spc="20" dirty="0">
                  <a:solidFill>
                    <a:srgbClr val="808285"/>
                  </a:solidFill>
                  <a:latin typeface="Arial"/>
                  <a:cs typeface="Arial"/>
                </a:rPr>
                <a:t>ж</a:t>
              </a:r>
              <a:r>
                <a:rPr sz="1600" spc="-55" dirty="0">
                  <a:solidFill>
                    <a:srgbClr val="808285"/>
                  </a:solidFill>
                  <a:latin typeface="Arial"/>
                  <a:cs typeface="Arial"/>
                </a:rPr>
                <a:t>д</a:t>
              </a:r>
              <a:r>
                <a:rPr sz="1600" spc="-70" dirty="0">
                  <a:solidFill>
                    <a:srgbClr val="808285"/>
                  </a:solidFill>
                  <a:latin typeface="Arial"/>
                  <a:cs typeface="Arial"/>
                </a:rPr>
                <a:t>унар</a:t>
              </a:r>
              <a:r>
                <a:rPr sz="1600" spc="-110" dirty="0">
                  <a:solidFill>
                    <a:srgbClr val="808285"/>
                  </a:solidFill>
                  <a:latin typeface="Arial"/>
                  <a:cs typeface="Arial"/>
                </a:rPr>
                <a:t>о</a:t>
              </a:r>
              <a:r>
                <a:rPr sz="1600" spc="-25" dirty="0">
                  <a:solidFill>
                    <a:srgbClr val="808285"/>
                  </a:solidFill>
                  <a:latin typeface="Arial"/>
                  <a:cs typeface="Arial"/>
                </a:rPr>
                <a:t>дны</a:t>
              </a:r>
              <a:r>
                <a:rPr sz="1600" spc="10" dirty="0">
                  <a:solidFill>
                    <a:srgbClr val="808285"/>
                  </a:solidFill>
                  <a:latin typeface="Arial"/>
                  <a:cs typeface="Arial"/>
                </a:rPr>
                <a:t>х</a:t>
              </a:r>
              <a:r>
                <a:rPr sz="1600" spc="-140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600" spc="-70" dirty="0">
                  <a:solidFill>
                    <a:srgbClr val="808285"/>
                  </a:solidFill>
                  <a:latin typeface="Arial"/>
                  <a:cs typeface="Arial"/>
                </a:rPr>
                <a:t>посещений</a:t>
              </a:r>
              <a:endParaRPr sz="1600" dirty="0">
                <a:latin typeface="Arial"/>
                <a:cs typeface="Arial"/>
              </a:endParaRPr>
            </a:p>
            <a:p>
              <a:pPr marL="12700">
                <a:lnSpc>
                  <a:spcPct val="100000"/>
                </a:lnSpc>
                <a:spcBef>
                  <a:spcPts val="260"/>
                </a:spcBef>
              </a:pPr>
              <a:r>
                <a:rPr sz="1700" b="1" spc="95" dirty="0">
                  <a:solidFill>
                    <a:srgbClr val="808285"/>
                  </a:solidFill>
                  <a:latin typeface="Arial"/>
                  <a:cs typeface="Arial"/>
                </a:rPr>
                <a:t>5</a:t>
              </a:r>
              <a:r>
                <a:rPr sz="1700" b="1" spc="-13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700" b="1" spc="50" dirty="0">
                  <a:solidFill>
                    <a:srgbClr val="808285"/>
                  </a:solidFill>
                  <a:latin typeface="Arial"/>
                  <a:cs typeface="Arial"/>
                </a:rPr>
                <a:t>00</a:t>
              </a:r>
              <a:r>
                <a:rPr sz="1700" b="1" spc="95" dirty="0">
                  <a:solidFill>
                    <a:srgbClr val="808285"/>
                  </a:solidFill>
                  <a:latin typeface="Arial"/>
                  <a:cs typeface="Arial"/>
                </a:rPr>
                <a:t>0</a:t>
              </a:r>
              <a:r>
                <a:rPr sz="1700" b="1" spc="-13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700" b="1" spc="50" dirty="0">
                  <a:solidFill>
                    <a:srgbClr val="808285"/>
                  </a:solidFill>
                  <a:latin typeface="Arial"/>
                  <a:cs typeface="Arial"/>
                </a:rPr>
                <a:t>00</a:t>
              </a:r>
              <a:r>
                <a:rPr sz="1700" b="1" spc="95" dirty="0">
                  <a:solidFill>
                    <a:srgbClr val="808285"/>
                  </a:solidFill>
                  <a:latin typeface="Arial"/>
                  <a:cs typeface="Arial"/>
                </a:rPr>
                <a:t>0</a:t>
              </a:r>
              <a:r>
                <a:rPr sz="1700" b="1" spc="-30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650" b="1" spc="-60" baseline="5050" dirty="0">
                  <a:solidFill>
                    <a:srgbClr val="808285"/>
                  </a:solidFill>
                  <a:latin typeface="Arial"/>
                  <a:cs typeface="Arial"/>
                </a:rPr>
                <a:t>з</a:t>
              </a:r>
              <a:r>
                <a:rPr sz="1650" b="1" spc="-15" baseline="5050" dirty="0">
                  <a:solidFill>
                    <a:srgbClr val="808285"/>
                  </a:solidFill>
                  <a:latin typeface="Arial"/>
                  <a:cs typeface="Arial"/>
                </a:rPr>
                <a:t>а</a:t>
              </a:r>
              <a:r>
                <a:rPr sz="1650" b="1" spc="-135" baseline="5050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650" b="1" spc="-157" baseline="5050" dirty="0">
                  <a:solidFill>
                    <a:srgbClr val="808285"/>
                  </a:solidFill>
                  <a:latin typeface="Arial"/>
                  <a:cs typeface="Arial"/>
                </a:rPr>
                <a:t>вес</a:t>
              </a:r>
              <a:r>
                <a:rPr sz="1650" b="1" spc="-120" baseline="5050" dirty="0">
                  <a:solidFill>
                    <a:srgbClr val="808285"/>
                  </a:solidFill>
                  <a:latin typeface="Arial"/>
                  <a:cs typeface="Arial"/>
                </a:rPr>
                <a:t>ь</a:t>
              </a:r>
              <a:r>
                <a:rPr sz="1650" b="1" spc="-135" baseline="5050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650" b="1" spc="-97" baseline="5050" dirty="0">
                  <a:solidFill>
                    <a:srgbClr val="808285"/>
                  </a:solidFill>
                  <a:latin typeface="Arial"/>
                  <a:cs typeface="Arial"/>
                </a:rPr>
                <a:t>период</a:t>
              </a:r>
              <a:endParaRPr sz="1650" baseline="5050" dirty="0">
                <a:latin typeface="Arial"/>
                <a:cs typeface="Arial"/>
              </a:endParaRPr>
            </a:p>
            <a:p>
              <a:pPr marL="12700">
                <a:lnSpc>
                  <a:spcPts val="1964"/>
                </a:lnSpc>
                <a:spcBef>
                  <a:spcPts val="10"/>
                </a:spcBef>
              </a:pPr>
              <a:r>
                <a:rPr sz="1700" b="1" spc="50" dirty="0">
                  <a:solidFill>
                    <a:srgbClr val="808285"/>
                  </a:solidFill>
                  <a:latin typeface="Arial"/>
                  <a:cs typeface="Arial"/>
                </a:rPr>
                <a:t>5</a:t>
              </a:r>
              <a:r>
                <a:rPr sz="1700" b="1" spc="95" dirty="0">
                  <a:solidFill>
                    <a:srgbClr val="808285"/>
                  </a:solidFill>
                  <a:latin typeface="Arial"/>
                  <a:cs typeface="Arial"/>
                </a:rPr>
                <a:t>5</a:t>
              </a:r>
              <a:r>
                <a:rPr sz="1700" b="1" spc="-13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700" b="1" spc="50" dirty="0">
                  <a:solidFill>
                    <a:srgbClr val="808285"/>
                  </a:solidFill>
                  <a:latin typeface="Arial"/>
                  <a:cs typeface="Arial"/>
                </a:rPr>
                <a:t>30</a:t>
              </a:r>
              <a:r>
                <a:rPr sz="1700" b="1" spc="95" dirty="0">
                  <a:solidFill>
                    <a:srgbClr val="808285"/>
                  </a:solidFill>
                  <a:latin typeface="Arial"/>
                  <a:cs typeface="Arial"/>
                </a:rPr>
                <a:t>1</a:t>
              </a:r>
              <a:r>
                <a:rPr sz="1700" b="1" spc="-130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650" b="1" spc="-67" baseline="2525" dirty="0">
                  <a:solidFill>
                    <a:srgbClr val="808285"/>
                  </a:solidFill>
                  <a:latin typeface="Arial"/>
                  <a:cs typeface="Arial"/>
                </a:rPr>
                <a:t>че</a:t>
              </a:r>
              <a:r>
                <a:rPr sz="1650" b="1" spc="-120" baseline="2525" dirty="0">
                  <a:solidFill>
                    <a:srgbClr val="808285"/>
                  </a:solidFill>
                  <a:latin typeface="Arial"/>
                  <a:cs typeface="Arial"/>
                </a:rPr>
                <a:t>л</a:t>
              </a:r>
              <a:r>
                <a:rPr sz="1650" b="1" spc="-44" baseline="2525" dirty="0">
                  <a:solidFill>
                    <a:srgbClr val="808285"/>
                  </a:solidFill>
                  <a:latin typeface="Arial"/>
                  <a:cs typeface="Arial"/>
                </a:rPr>
                <a:t>ове</a:t>
              </a:r>
              <a:r>
                <a:rPr sz="1650" b="1" baseline="2525" dirty="0">
                  <a:solidFill>
                    <a:srgbClr val="808285"/>
                  </a:solidFill>
                  <a:latin typeface="Arial"/>
                  <a:cs typeface="Arial"/>
                </a:rPr>
                <a:t>к</a:t>
              </a:r>
              <a:r>
                <a:rPr sz="1650" b="1" spc="-120" baseline="252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650" b="1" spc="-97" baseline="2525" dirty="0">
                  <a:solidFill>
                    <a:srgbClr val="808285"/>
                  </a:solidFill>
                  <a:latin typeface="Arial"/>
                  <a:cs typeface="Arial"/>
                </a:rPr>
                <a:t>в</a:t>
              </a:r>
              <a:r>
                <a:rPr sz="1650" b="1" spc="-120" baseline="252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650" b="1" spc="-104" baseline="2525" dirty="0">
                  <a:solidFill>
                    <a:srgbClr val="808285"/>
                  </a:solidFill>
                  <a:latin typeface="Arial"/>
                  <a:cs typeface="Arial"/>
                </a:rPr>
                <a:t>ср</a:t>
              </a:r>
              <a:r>
                <a:rPr sz="1650" b="1" spc="-142" baseline="2525" dirty="0">
                  <a:solidFill>
                    <a:srgbClr val="808285"/>
                  </a:solidFill>
                  <a:latin typeface="Arial"/>
                  <a:cs typeface="Arial"/>
                </a:rPr>
                <a:t>е</a:t>
              </a:r>
              <a:r>
                <a:rPr sz="1650" b="1" spc="-60" baseline="2525" dirty="0">
                  <a:solidFill>
                    <a:srgbClr val="808285"/>
                  </a:solidFill>
                  <a:latin typeface="Arial"/>
                  <a:cs typeface="Arial"/>
                </a:rPr>
                <a:t>дни</a:t>
              </a:r>
              <a:r>
                <a:rPr sz="1650" b="1" spc="-15" baseline="2525" dirty="0">
                  <a:solidFill>
                    <a:srgbClr val="808285"/>
                  </a:solidFill>
                  <a:latin typeface="Arial"/>
                  <a:cs typeface="Arial"/>
                </a:rPr>
                <a:t>й</a:t>
              </a:r>
              <a:r>
                <a:rPr sz="1650" b="1" spc="-120" baseline="252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650" b="1" spc="-75" baseline="2525" dirty="0">
                  <a:solidFill>
                    <a:srgbClr val="808285"/>
                  </a:solidFill>
                  <a:latin typeface="Arial"/>
                  <a:cs typeface="Arial"/>
                </a:rPr>
                <a:t>день</a:t>
              </a:r>
              <a:endParaRPr sz="1650" baseline="2525" dirty="0">
                <a:latin typeface="Arial"/>
                <a:cs typeface="Arial"/>
              </a:endParaRPr>
            </a:p>
            <a:p>
              <a:pPr marL="12700">
                <a:lnSpc>
                  <a:spcPts val="1964"/>
                </a:lnSpc>
              </a:pPr>
              <a:r>
                <a:rPr sz="1700" b="1" spc="50" dirty="0">
                  <a:solidFill>
                    <a:srgbClr val="808285"/>
                  </a:solidFill>
                  <a:latin typeface="Arial"/>
                  <a:cs typeface="Arial"/>
                </a:rPr>
                <a:t>11</a:t>
              </a:r>
              <a:r>
                <a:rPr sz="1700" b="1" spc="95" dirty="0">
                  <a:solidFill>
                    <a:srgbClr val="808285"/>
                  </a:solidFill>
                  <a:latin typeface="Arial"/>
                  <a:cs typeface="Arial"/>
                </a:rPr>
                <a:t>0</a:t>
              </a:r>
              <a:r>
                <a:rPr sz="1700" b="1" spc="-13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700" b="1" spc="50" dirty="0">
                  <a:solidFill>
                    <a:srgbClr val="808285"/>
                  </a:solidFill>
                  <a:latin typeface="Arial"/>
                  <a:cs typeface="Arial"/>
                </a:rPr>
                <a:t>60</a:t>
              </a:r>
              <a:r>
                <a:rPr sz="1700" b="1" spc="95" dirty="0">
                  <a:solidFill>
                    <a:srgbClr val="808285"/>
                  </a:solidFill>
                  <a:latin typeface="Arial"/>
                  <a:cs typeface="Arial"/>
                </a:rPr>
                <a:t>2</a:t>
              </a:r>
              <a:r>
                <a:rPr sz="1700" b="1" spc="114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650" b="1" spc="-97" baseline="2525" dirty="0">
                  <a:solidFill>
                    <a:srgbClr val="808285"/>
                  </a:solidFill>
                  <a:latin typeface="Arial"/>
                  <a:cs typeface="Arial"/>
                </a:rPr>
                <a:t>в</a:t>
              </a:r>
              <a:r>
                <a:rPr sz="1650" b="1" spc="-120" baseline="252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650" b="1" spc="-15" baseline="2525" dirty="0">
                  <a:solidFill>
                    <a:srgbClr val="808285"/>
                  </a:solidFill>
                  <a:latin typeface="Arial"/>
                  <a:cs typeface="Arial"/>
                </a:rPr>
                <a:t>пи</a:t>
              </a:r>
              <a:r>
                <a:rPr sz="1650" b="1" spc="-89" baseline="2525" dirty="0">
                  <a:solidFill>
                    <a:srgbClr val="808285"/>
                  </a:solidFill>
                  <a:latin typeface="Arial"/>
                  <a:cs typeface="Arial"/>
                </a:rPr>
                <a:t>к</a:t>
              </a:r>
              <a:r>
                <a:rPr sz="1650" b="1" spc="-112" baseline="2525" dirty="0">
                  <a:solidFill>
                    <a:srgbClr val="808285"/>
                  </a:solidFill>
                  <a:latin typeface="Arial"/>
                  <a:cs typeface="Arial"/>
                </a:rPr>
                <a:t>овы</a:t>
              </a:r>
              <a:r>
                <a:rPr sz="1650" b="1" spc="-60" baseline="2525" dirty="0">
                  <a:solidFill>
                    <a:srgbClr val="808285"/>
                  </a:solidFill>
                  <a:latin typeface="Arial"/>
                  <a:cs typeface="Arial"/>
                </a:rPr>
                <a:t>й</a:t>
              </a:r>
              <a:r>
                <a:rPr sz="1650" b="1" spc="-120" baseline="252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650" b="1" spc="-75" baseline="2525" dirty="0">
                  <a:solidFill>
                    <a:srgbClr val="808285"/>
                  </a:solidFill>
                  <a:latin typeface="Arial"/>
                  <a:cs typeface="Arial"/>
                </a:rPr>
                <a:t>день</a:t>
              </a:r>
              <a:endParaRPr sz="1650" baseline="2525" dirty="0">
                <a:latin typeface="Arial"/>
                <a:cs typeface="Arial"/>
              </a:endParaRPr>
            </a:p>
          </p:txBody>
        </p:sp>
        <p:sp>
          <p:nvSpPr>
            <p:cNvPr id="143" name="object 59"/>
            <p:cNvSpPr txBox="1"/>
            <p:nvPr/>
          </p:nvSpPr>
          <p:spPr>
            <a:xfrm>
              <a:off x="2782989" y="2340318"/>
              <a:ext cx="3178810" cy="28702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750" dirty="0">
                  <a:solidFill>
                    <a:srgbClr val="FFFFFF"/>
                  </a:solidFill>
                  <a:latin typeface="Calibri"/>
                  <a:cs typeface="Calibri"/>
                </a:rPr>
                <a:t>Д</a:t>
              </a:r>
              <a:r>
                <a:rPr sz="1750" spc="-35" dirty="0">
                  <a:solidFill>
                    <a:srgbClr val="FFFFFF"/>
                  </a:solidFill>
                  <a:latin typeface="Calibri"/>
                  <a:cs typeface="Calibri"/>
                </a:rPr>
                <a:t>а</a:t>
              </a:r>
              <a:r>
                <a:rPr sz="1750" spc="90" dirty="0">
                  <a:solidFill>
                    <a:srgbClr val="FFFFFF"/>
                  </a:solidFill>
                  <a:latin typeface="Calibri"/>
                  <a:cs typeface="Calibri"/>
                </a:rPr>
                <a:t>т</a:t>
              </a:r>
              <a:r>
                <a:rPr sz="1750" spc="10" dirty="0">
                  <a:solidFill>
                    <a:srgbClr val="FFFFFF"/>
                  </a:solidFill>
                  <a:latin typeface="Calibri"/>
                  <a:cs typeface="Calibri"/>
                </a:rPr>
                <a:t>а</a:t>
              </a:r>
              <a:r>
                <a:rPr sz="1750" spc="-110" dirty="0">
                  <a:solidFill>
                    <a:srgbClr val="FFFFFF"/>
                  </a:solidFill>
                  <a:latin typeface="Calibri"/>
                  <a:cs typeface="Calibri"/>
                </a:rPr>
                <a:t> </a:t>
              </a:r>
              <a:r>
                <a:rPr sz="1750" spc="-125" dirty="0">
                  <a:solidFill>
                    <a:srgbClr val="FFFFFF"/>
                  </a:solidFill>
                  <a:latin typeface="Calibri"/>
                  <a:cs typeface="Calibri"/>
                </a:rPr>
                <a:t>о</a:t>
              </a:r>
              <a:r>
                <a:rPr sz="1750" spc="-25" dirty="0">
                  <a:solidFill>
                    <a:srgbClr val="FFFFFF"/>
                  </a:solidFill>
                  <a:latin typeface="Calibri"/>
                  <a:cs typeface="Calibri"/>
                </a:rPr>
                <a:t>ткрытия</a:t>
              </a:r>
              <a:r>
                <a:rPr sz="1750" spc="10" dirty="0">
                  <a:solidFill>
                    <a:srgbClr val="FFFFFF"/>
                  </a:solidFill>
                  <a:latin typeface="Calibri"/>
                  <a:cs typeface="Calibri"/>
                </a:rPr>
                <a:t>:</a:t>
              </a:r>
              <a:r>
                <a:rPr sz="1750" spc="80" dirty="0">
                  <a:solidFill>
                    <a:srgbClr val="FFFFFF"/>
                  </a:solidFill>
                  <a:latin typeface="Calibri"/>
                  <a:cs typeface="Calibri"/>
                </a:rPr>
                <a:t> </a:t>
              </a:r>
              <a:r>
                <a:rPr sz="1750" b="1" spc="105" dirty="0">
                  <a:solidFill>
                    <a:srgbClr val="FFFFFF"/>
                  </a:solidFill>
                  <a:latin typeface="Arial"/>
                  <a:cs typeface="Arial"/>
                </a:rPr>
                <a:t>1</a:t>
              </a:r>
              <a:r>
                <a:rPr sz="1750" b="1" spc="150" dirty="0">
                  <a:solidFill>
                    <a:srgbClr val="FFFFFF"/>
                  </a:solidFill>
                  <a:latin typeface="Arial"/>
                  <a:cs typeface="Arial"/>
                </a:rPr>
                <a:t>0</a:t>
              </a:r>
              <a:r>
                <a:rPr sz="1750" b="1" spc="-12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750" b="1" spc="-45" dirty="0">
                  <a:solidFill>
                    <a:srgbClr val="FFFFFF"/>
                  </a:solidFill>
                  <a:latin typeface="Arial"/>
                  <a:cs typeface="Arial"/>
                </a:rPr>
                <a:t>июн</a:t>
              </a:r>
              <a:r>
                <a:rPr sz="1750" b="1" dirty="0">
                  <a:solidFill>
                    <a:srgbClr val="FFFFFF"/>
                  </a:solidFill>
                  <a:latin typeface="Arial"/>
                  <a:cs typeface="Arial"/>
                </a:rPr>
                <a:t>я</a:t>
              </a:r>
              <a:r>
                <a:rPr sz="1750" b="1" spc="-12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750" b="1" spc="105" dirty="0">
                  <a:solidFill>
                    <a:srgbClr val="FFFFFF"/>
                  </a:solidFill>
                  <a:latin typeface="Arial"/>
                  <a:cs typeface="Arial"/>
                </a:rPr>
                <a:t>201</a:t>
              </a:r>
              <a:r>
                <a:rPr sz="1750" b="1" spc="150" dirty="0">
                  <a:solidFill>
                    <a:srgbClr val="FFFFFF"/>
                  </a:solidFill>
                  <a:latin typeface="Arial"/>
                  <a:cs typeface="Arial"/>
                </a:rPr>
                <a:t>7</a:t>
              </a:r>
              <a:r>
                <a:rPr sz="1750" b="1" spc="-12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750" b="1" spc="-50" dirty="0">
                  <a:solidFill>
                    <a:srgbClr val="FFFFFF"/>
                  </a:solidFill>
                  <a:latin typeface="Arial"/>
                  <a:cs typeface="Arial"/>
                </a:rPr>
                <a:t>г.</a:t>
              </a:r>
              <a:endParaRPr sz="1750" dirty="0">
                <a:latin typeface="Arial"/>
                <a:cs typeface="Arial"/>
              </a:endParaRPr>
            </a:p>
          </p:txBody>
        </p:sp>
        <p:sp>
          <p:nvSpPr>
            <p:cNvPr id="144" name="object 60"/>
            <p:cNvSpPr/>
            <p:nvPr/>
          </p:nvSpPr>
          <p:spPr>
            <a:xfrm>
              <a:off x="2845498" y="2866009"/>
              <a:ext cx="4186618" cy="506412"/>
            </a:xfrm>
            <a:prstGeom prst="rect">
              <a:avLst/>
            </a:prstGeom>
            <a:blipFill>
              <a:blip r:embed="rId2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45" name="object 61"/>
            <p:cNvSpPr txBox="1"/>
            <p:nvPr/>
          </p:nvSpPr>
          <p:spPr>
            <a:xfrm>
              <a:off x="3083737" y="2975952"/>
              <a:ext cx="3775075" cy="30353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2775" spc="7" baseline="3003" dirty="0">
                  <a:solidFill>
                    <a:srgbClr val="FFFFFF"/>
                  </a:solidFill>
                  <a:latin typeface="Calibri"/>
                  <a:cs typeface="Calibri"/>
                </a:rPr>
                <a:t>Д</a:t>
              </a:r>
              <a:r>
                <a:rPr sz="2775" spc="-37" baseline="3003" dirty="0">
                  <a:solidFill>
                    <a:srgbClr val="FFFFFF"/>
                  </a:solidFill>
                  <a:latin typeface="Calibri"/>
                  <a:cs typeface="Calibri"/>
                </a:rPr>
                <a:t>а</a:t>
              </a:r>
              <a:r>
                <a:rPr sz="2775" spc="150" baseline="3003" dirty="0">
                  <a:solidFill>
                    <a:srgbClr val="FFFFFF"/>
                  </a:solidFill>
                  <a:latin typeface="Calibri"/>
                  <a:cs typeface="Calibri"/>
                </a:rPr>
                <a:t>т</a:t>
              </a:r>
              <a:r>
                <a:rPr sz="2775" spc="22" baseline="3003" dirty="0">
                  <a:solidFill>
                    <a:srgbClr val="FFFFFF"/>
                  </a:solidFill>
                  <a:latin typeface="Calibri"/>
                  <a:cs typeface="Calibri"/>
                </a:rPr>
                <a:t>а</a:t>
              </a:r>
              <a:r>
                <a:rPr sz="2775" spc="-172" baseline="3003" dirty="0">
                  <a:solidFill>
                    <a:srgbClr val="FFFFFF"/>
                  </a:solidFill>
                  <a:latin typeface="Calibri"/>
                  <a:cs typeface="Calibri"/>
                </a:rPr>
                <a:t> </a:t>
              </a:r>
              <a:r>
                <a:rPr sz="2775" spc="-44" baseline="3003" dirty="0">
                  <a:solidFill>
                    <a:srgbClr val="FFFFFF"/>
                  </a:solidFill>
                  <a:latin typeface="Calibri"/>
                  <a:cs typeface="Calibri"/>
                </a:rPr>
                <a:t>закрытия</a:t>
              </a:r>
              <a:r>
                <a:rPr sz="2775" spc="15" baseline="3003" dirty="0">
                  <a:solidFill>
                    <a:srgbClr val="FFFFFF"/>
                  </a:solidFill>
                  <a:latin typeface="Calibri"/>
                  <a:cs typeface="Calibri"/>
                </a:rPr>
                <a:t>:</a:t>
              </a:r>
              <a:r>
                <a:rPr sz="2775" spc="75" baseline="3003" dirty="0">
                  <a:solidFill>
                    <a:srgbClr val="FFFFFF"/>
                  </a:solidFill>
                  <a:latin typeface="Calibri"/>
                  <a:cs typeface="Calibri"/>
                </a:rPr>
                <a:t> </a:t>
              </a:r>
              <a:r>
                <a:rPr sz="1850" b="1" spc="114" dirty="0">
                  <a:solidFill>
                    <a:srgbClr val="FFFFFF"/>
                  </a:solidFill>
                  <a:latin typeface="Arial"/>
                  <a:cs typeface="Arial"/>
                </a:rPr>
                <a:t>1</a:t>
              </a:r>
              <a:r>
                <a:rPr sz="1850" b="1" spc="165" dirty="0">
                  <a:solidFill>
                    <a:srgbClr val="FFFFFF"/>
                  </a:solidFill>
                  <a:latin typeface="Arial"/>
                  <a:cs typeface="Arial"/>
                </a:rPr>
                <a:t>0</a:t>
              </a:r>
              <a:r>
                <a:rPr sz="1850" b="1" spc="-13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850" b="1" spc="-65" dirty="0">
                  <a:solidFill>
                    <a:srgbClr val="FFFFFF"/>
                  </a:solidFill>
                  <a:latin typeface="Arial"/>
                  <a:cs typeface="Arial"/>
                </a:rPr>
                <a:t>cен</a:t>
              </a:r>
              <a:r>
                <a:rPr sz="1850" b="1" spc="-120" dirty="0">
                  <a:solidFill>
                    <a:srgbClr val="FFFFFF"/>
                  </a:solidFill>
                  <a:latin typeface="Arial"/>
                  <a:cs typeface="Arial"/>
                </a:rPr>
                <a:t>т</a:t>
              </a:r>
              <a:r>
                <a:rPr sz="1850" b="1" spc="-85" dirty="0">
                  <a:solidFill>
                    <a:srgbClr val="FFFFFF"/>
                  </a:solidFill>
                  <a:latin typeface="Arial"/>
                  <a:cs typeface="Arial"/>
                </a:rPr>
                <a:t>ябр</a:t>
              </a:r>
              <a:r>
                <a:rPr sz="1850" b="1" spc="-30" dirty="0">
                  <a:solidFill>
                    <a:srgbClr val="FFFFFF"/>
                  </a:solidFill>
                  <a:latin typeface="Arial"/>
                  <a:cs typeface="Arial"/>
                </a:rPr>
                <a:t>я</a:t>
              </a:r>
              <a:r>
                <a:rPr sz="1850" b="1" spc="-13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850" b="1" spc="114" dirty="0">
                  <a:solidFill>
                    <a:srgbClr val="FFFFFF"/>
                  </a:solidFill>
                  <a:latin typeface="Arial"/>
                  <a:cs typeface="Arial"/>
                </a:rPr>
                <a:t>201</a:t>
              </a:r>
              <a:r>
                <a:rPr sz="1850" b="1" spc="165" dirty="0">
                  <a:solidFill>
                    <a:srgbClr val="FFFFFF"/>
                  </a:solidFill>
                  <a:latin typeface="Arial"/>
                  <a:cs typeface="Arial"/>
                </a:rPr>
                <a:t>7</a:t>
              </a:r>
              <a:r>
                <a:rPr sz="1850" b="1" spc="-13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850" b="1" spc="-50" dirty="0">
                  <a:solidFill>
                    <a:srgbClr val="FFFFFF"/>
                  </a:solidFill>
                  <a:latin typeface="Arial"/>
                  <a:cs typeface="Arial"/>
                </a:rPr>
                <a:t>г.</a:t>
              </a:r>
              <a:endParaRPr sz="1850" dirty="0">
                <a:latin typeface="Arial"/>
                <a:cs typeface="Arial"/>
              </a:endParaRPr>
            </a:p>
          </p:txBody>
        </p:sp>
        <p:sp>
          <p:nvSpPr>
            <p:cNvPr id="146" name="object 62"/>
            <p:cNvSpPr txBox="1"/>
            <p:nvPr/>
          </p:nvSpPr>
          <p:spPr>
            <a:xfrm>
              <a:off x="8263001" y="2320442"/>
              <a:ext cx="2505710" cy="25717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550" b="1" spc="-114" dirty="0">
                  <a:solidFill>
                    <a:srgbClr val="FFFFFF"/>
                  </a:solidFill>
                  <a:latin typeface="Arial"/>
                  <a:cs typeface="Arial"/>
                </a:rPr>
                <a:t>Г</a:t>
              </a:r>
              <a:r>
                <a:rPr sz="1550" b="1" spc="15" dirty="0">
                  <a:solidFill>
                    <a:srgbClr val="FFFFFF"/>
                  </a:solidFill>
                  <a:latin typeface="Arial"/>
                  <a:cs typeface="Arial"/>
                </a:rPr>
                <a:t>рафи</a:t>
              </a:r>
              <a:r>
                <a:rPr sz="1550" b="1" spc="40" dirty="0">
                  <a:solidFill>
                    <a:srgbClr val="FFFFFF"/>
                  </a:solidFill>
                  <a:latin typeface="Arial"/>
                  <a:cs typeface="Arial"/>
                </a:rPr>
                <a:t>к</a:t>
              </a:r>
              <a:r>
                <a:rPr sz="1550" b="1" spc="-10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550" b="1" spc="-50" dirty="0">
                  <a:solidFill>
                    <a:srgbClr val="FFFFFF"/>
                  </a:solidFill>
                  <a:latin typeface="Arial"/>
                  <a:cs typeface="Arial"/>
                </a:rPr>
                <a:t>раб</a:t>
              </a:r>
              <a:r>
                <a:rPr sz="1550" b="1" spc="-110" dirty="0">
                  <a:solidFill>
                    <a:srgbClr val="FFFFFF"/>
                  </a:solidFill>
                  <a:latin typeface="Arial"/>
                  <a:cs typeface="Arial"/>
                </a:rPr>
                <a:t>о</a:t>
              </a:r>
              <a:r>
                <a:rPr sz="1550" b="1" spc="-45" dirty="0">
                  <a:solidFill>
                    <a:srgbClr val="FFFFFF"/>
                  </a:solidFill>
                  <a:latin typeface="Arial"/>
                  <a:cs typeface="Arial"/>
                </a:rPr>
                <a:t>т</a:t>
              </a:r>
              <a:r>
                <a:rPr sz="1550" b="1" spc="-10" dirty="0">
                  <a:solidFill>
                    <a:srgbClr val="FFFFFF"/>
                  </a:solidFill>
                  <a:latin typeface="Arial"/>
                  <a:cs typeface="Arial"/>
                </a:rPr>
                <a:t>ы</a:t>
              </a:r>
              <a:r>
                <a:rPr sz="1550" b="1" spc="-10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550" b="1" spc="-95" dirty="0">
                  <a:solidFill>
                    <a:srgbClr val="FFFFFF"/>
                  </a:solidFill>
                  <a:latin typeface="Arial"/>
                  <a:cs typeface="Arial"/>
                </a:rPr>
                <a:t>Выс</a:t>
              </a:r>
              <a:r>
                <a:rPr sz="1550" b="1" spc="-110" dirty="0">
                  <a:solidFill>
                    <a:srgbClr val="FFFFFF"/>
                  </a:solidFill>
                  <a:latin typeface="Arial"/>
                  <a:cs typeface="Arial"/>
                </a:rPr>
                <a:t>т</a:t>
              </a:r>
              <a:r>
                <a:rPr sz="1550" b="1" dirty="0">
                  <a:solidFill>
                    <a:srgbClr val="FFFFFF"/>
                  </a:solidFill>
                  <a:latin typeface="Arial"/>
                  <a:cs typeface="Arial"/>
                </a:rPr>
                <a:t>ав</a:t>
              </a:r>
              <a:r>
                <a:rPr sz="1550" b="1" spc="-40" dirty="0">
                  <a:solidFill>
                    <a:srgbClr val="FFFFFF"/>
                  </a:solidFill>
                  <a:latin typeface="Arial"/>
                  <a:cs typeface="Arial"/>
                </a:rPr>
                <a:t>к</a:t>
              </a:r>
              <a:r>
                <a:rPr sz="1550" b="1" spc="-75" dirty="0">
                  <a:solidFill>
                    <a:srgbClr val="FFFFFF"/>
                  </a:solidFill>
                  <a:latin typeface="Arial"/>
                  <a:cs typeface="Arial"/>
                </a:rPr>
                <a:t>и:</a:t>
              </a:r>
              <a:endParaRPr sz="1550" dirty="0">
                <a:latin typeface="Arial"/>
                <a:cs typeface="Arial"/>
              </a:endParaRPr>
            </a:p>
          </p:txBody>
        </p:sp>
        <p:sp>
          <p:nvSpPr>
            <p:cNvPr id="147" name="object 63"/>
            <p:cNvSpPr txBox="1"/>
            <p:nvPr/>
          </p:nvSpPr>
          <p:spPr>
            <a:xfrm>
              <a:off x="7754848" y="2739377"/>
              <a:ext cx="3011805" cy="77851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520700">
                <a:lnSpc>
                  <a:spcPct val="100000"/>
                </a:lnSpc>
              </a:pPr>
              <a:r>
                <a:rPr sz="1575" spc="-97" baseline="2645" dirty="0">
                  <a:solidFill>
                    <a:srgbClr val="808285"/>
                  </a:solidFill>
                  <a:latin typeface="Arial"/>
                  <a:cs typeface="Arial"/>
                </a:rPr>
                <a:t>В</a:t>
              </a:r>
              <a:r>
                <a:rPr sz="1575" spc="-142" baseline="2645" dirty="0">
                  <a:solidFill>
                    <a:srgbClr val="808285"/>
                  </a:solidFill>
                  <a:latin typeface="Arial"/>
                  <a:cs typeface="Arial"/>
                </a:rPr>
                <a:t>х</a:t>
              </a:r>
              <a:r>
                <a:rPr sz="1575" spc="-135" baseline="2645" dirty="0">
                  <a:solidFill>
                    <a:srgbClr val="808285"/>
                  </a:solidFill>
                  <a:latin typeface="Arial"/>
                  <a:cs typeface="Arial"/>
                </a:rPr>
                <a:t>о</a:t>
              </a:r>
              <a:r>
                <a:rPr sz="1575" spc="-52" baseline="2645" dirty="0">
                  <a:solidFill>
                    <a:srgbClr val="808285"/>
                  </a:solidFill>
                  <a:latin typeface="Arial"/>
                  <a:cs typeface="Arial"/>
                </a:rPr>
                <a:t>д</a:t>
              </a:r>
              <a:r>
                <a:rPr sz="1575" spc="-7" baseline="2645" dirty="0">
                  <a:solidFill>
                    <a:srgbClr val="808285"/>
                  </a:solidFill>
                  <a:latin typeface="Arial"/>
                  <a:cs typeface="Arial"/>
                </a:rPr>
                <a:t>ы</a:t>
              </a:r>
              <a:r>
                <a:rPr sz="1575" spc="-142" baseline="264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575" spc="-97" baseline="2645" dirty="0">
                  <a:solidFill>
                    <a:srgbClr val="808285"/>
                  </a:solidFill>
                  <a:latin typeface="Arial"/>
                  <a:cs typeface="Arial"/>
                </a:rPr>
                <a:t>дл</a:t>
              </a:r>
              <a:r>
                <a:rPr sz="1575" spc="-52" baseline="2645" dirty="0">
                  <a:solidFill>
                    <a:srgbClr val="808285"/>
                  </a:solidFill>
                  <a:latin typeface="Arial"/>
                  <a:cs typeface="Arial"/>
                </a:rPr>
                <a:t>я</a:t>
              </a:r>
              <a:r>
                <a:rPr sz="1575" spc="-142" baseline="264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575" spc="-97" baseline="2645" dirty="0">
                  <a:solidFill>
                    <a:srgbClr val="808285"/>
                  </a:solidFill>
                  <a:latin typeface="Arial"/>
                  <a:cs typeface="Arial"/>
                </a:rPr>
                <a:t>пос</a:t>
              </a:r>
              <a:r>
                <a:rPr sz="1575" spc="-142" baseline="2645" dirty="0">
                  <a:solidFill>
                    <a:srgbClr val="808285"/>
                  </a:solidFill>
                  <a:latin typeface="Arial"/>
                  <a:cs typeface="Arial"/>
                </a:rPr>
                <a:t>е</a:t>
              </a:r>
              <a:r>
                <a:rPr sz="1575" baseline="2645" dirty="0">
                  <a:solidFill>
                    <a:srgbClr val="808285"/>
                  </a:solidFill>
                  <a:latin typeface="Arial"/>
                  <a:cs typeface="Arial"/>
                </a:rPr>
                <a:t>ти</a:t>
              </a:r>
              <a:r>
                <a:rPr sz="1575" spc="-44" baseline="2645" dirty="0">
                  <a:solidFill>
                    <a:srgbClr val="808285"/>
                  </a:solidFill>
                  <a:latin typeface="Arial"/>
                  <a:cs typeface="Arial"/>
                </a:rPr>
                <a:t>т</a:t>
              </a:r>
              <a:r>
                <a:rPr sz="1575" spc="-127" baseline="2645" dirty="0">
                  <a:solidFill>
                    <a:srgbClr val="808285"/>
                  </a:solidFill>
                  <a:latin typeface="Arial"/>
                  <a:cs typeface="Arial"/>
                </a:rPr>
                <a:t>е</a:t>
              </a:r>
              <a:r>
                <a:rPr sz="1575" spc="-172" baseline="2645" dirty="0">
                  <a:solidFill>
                    <a:srgbClr val="808285"/>
                  </a:solidFill>
                  <a:latin typeface="Arial"/>
                  <a:cs typeface="Arial"/>
                </a:rPr>
                <a:t>л</a:t>
              </a:r>
              <a:r>
                <a:rPr sz="1575" spc="-112" baseline="2645" dirty="0">
                  <a:solidFill>
                    <a:srgbClr val="808285"/>
                  </a:solidFill>
                  <a:latin typeface="Arial"/>
                  <a:cs typeface="Arial"/>
                </a:rPr>
                <a:t>ей</a:t>
              </a:r>
              <a:r>
                <a:rPr sz="1575" spc="-37" baseline="2645" dirty="0">
                  <a:solidFill>
                    <a:srgbClr val="808285"/>
                  </a:solidFill>
                  <a:latin typeface="Arial"/>
                  <a:cs typeface="Arial"/>
                </a:rPr>
                <a:t>:</a:t>
              </a:r>
              <a:r>
                <a:rPr sz="1575" spc="202" baseline="264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450" b="1" spc="10" dirty="0">
                  <a:solidFill>
                    <a:srgbClr val="808285"/>
                  </a:solidFill>
                  <a:latin typeface="Arial"/>
                  <a:cs typeface="Arial"/>
                </a:rPr>
                <a:t>09:0</a:t>
              </a:r>
              <a:r>
                <a:rPr sz="1450" b="1" spc="50" dirty="0">
                  <a:solidFill>
                    <a:srgbClr val="808285"/>
                  </a:solidFill>
                  <a:latin typeface="Arial"/>
                  <a:cs typeface="Arial"/>
                </a:rPr>
                <a:t>0</a:t>
              </a:r>
              <a:r>
                <a:rPr sz="1450" b="1" spc="-114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450" b="1" spc="-60" dirty="0">
                  <a:solidFill>
                    <a:srgbClr val="808285"/>
                  </a:solidFill>
                  <a:latin typeface="Arial"/>
                  <a:cs typeface="Arial"/>
                </a:rPr>
                <a:t>–23:00</a:t>
              </a:r>
              <a:endParaRPr sz="1450" dirty="0">
                <a:latin typeface="Arial"/>
                <a:cs typeface="Arial"/>
              </a:endParaRPr>
            </a:p>
            <a:p>
              <a:pPr marL="520700">
                <a:lnSpc>
                  <a:spcPct val="100000"/>
                </a:lnSpc>
                <a:spcBef>
                  <a:spcPts val="345"/>
                </a:spcBef>
              </a:pPr>
              <a:r>
                <a:rPr sz="1575" spc="-89" baseline="2645" dirty="0">
                  <a:solidFill>
                    <a:srgbClr val="808285"/>
                  </a:solidFill>
                  <a:latin typeface="Arial"/>
                  <a:cs typeface="Arial"/>
                </a:rPr>
                <a:t>Вечерни</a:t>
              </a:r>
              <a:r>
                <a:rPr sz="1575" spc="-44" baseline="2645" dirty="0">
                  <a:solidFill>
                    <a:srgbClr val="808285"/>
                  </a:solidFill>
                  <a:latin typeface="Arial"/>
                  <a:cs typeface="Arial"/>
                </a:rPr>
                <a:t>е</a:t>
              </a:r>
              <a:r>
                <a:rPr sz="1575" spc="-142" baseline="264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575" spc="-82" baseline="2645" dirty="0">
                  <a:solidFill>
                    <a:srgbClr val="808285"/>
                  </a:solidFill>
                  <a:latin typeface="Arial"/>
                  <a:cs typeface="Arial"/>
                </a:rPr>
                <a:t>мероприятия</a:t>
              </a:r>
              <a:r>
                <a:rPr sz="1575" spc="-22" baseline="2645" dirty="0">
                  <a:solidFill>
                    <a:srgbClr val="808285"/>
                  </a:solidFill>
                  <a:latin typeface="Arial"/>
                  <a:cs typeface="Arial"/>
                </a:rPr>
                <a:t>:</a:t>
              </a:r>
              <a:r>
                <a:rPr sz="1575" baseline="264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575" spc="-97" baseline="264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450" b="1" spc="10" dirty="0">
                  <a:solidFill>
                    <a:srgbClr val="808285"/>
                  </a:solidFill>
                  <a:latin typeface="Arial"/>
                  <a:cs typeface="Arial"/>
                </a:rPr>
                <a:t>18:0</a:t>
              </a:r>
              <a:r>
                <a:rPr sz="1450" b="1" spc="50" dirty="0">
                  <a:solidFill>
                    <a:srgbClr val="808285"/>
                  </a:solidFill>
                  <a:latin typeface="Arial"/>
                  <a:cs typeface="Arial"/>
                </a:rPr>
                <a:t>0</a:t>
              </a:r>
              <a:r>
                <a:rPr sz="1450" b="1" spc="-114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450" b="1" spc="-60" dirty="0">
                  <a:solidFill>
                    <a:srgbClr val="808285"/>
                  </a:solidFill>
                  <a:latin typeface="Arial"/>
                  <a:cs typeface="Arial"/>
                </a:rPr>
                <a:t>–24:00</a:t>
              </a:r>
              <a:endParaRPr sz="1450" dirty="0">
                <a:latin typeface="Arial"/>
                <a:cs typeface="Arial"/>
              </a:endParaRPr>
            </a:p>
            <a:p>
              <a:pPr marL="12700">
                <a:lnSpc>
                  <a:spcPct val="100000"/>
                </a:lnSpc>
                <a:spcBef>
                  <a:spcPts val="405"/>
                </a:spcBef>
              </a:pPr>
              <a:r>
                <a:rPr sz="1575" spc="-112" baseline="2645" dirty="0">
                  <a:solidFill>
                    <a:srgbClr val="808285"/>
                  </a:solidFill>
                  <a:latin typeface="Arial"/>
                  <a:cs typeface="Arial"/>
                </a:rPr>
                <a:t>Распоря</a:t>
              </a:r>
              <a:r>
                <a:rPr sz="1575" spc="-165" baseline="2645" dirty="0">
                  <a:solidFill>
                    <a:srgbClr val="808285"/>
                  </a:solidFill>
                  <a:latin typeface="Arial"/>
                  <a:cs typeface="Arial"/>
                </a:rPr>
                <a:t>д</a:t>
              </a:r>
              <a:r>
                <a:rPr sz="1575" spc="-44" baseline="2645" dirty="0">
                  <a:solidFill>
                    <a:srgbClr val="808285"/>
                  </a:solidFill>
                  <a:latin typeface="Arial"/>
                  <a:cs typeface="Arial"/>
                </a:rPr>
                <a:t>о</a:t>
              </a:r>
              <a:r>
                <a:rPr sz="1575" baseline="2645" dirty="0">
                  <a:solidFill>
                    <a:srgbClr val="808285"/>
                  </a:solidFill>
                  <a:latin typeface="Arial"/>
                  <a:cs typeface="Arial"/>
                </a:rPr>
                <a:t>к</a:t>
              </a:r>
              <a:r>
                <a:rPr sz="1575" spc="-142" baseline="264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575" spc="-120" baseline="2645" dirty="0">
                  <a:solidFill>
                    <a:srgbClr val="808285"/>
                  </a:solidFill>
                  <a:latin typeface="Arial"/>
                  <a:cs typeface="Arial"/>
                </a:rPr>
                <a:t>раб</a:t>
              </a:r>
              <a:r>
                <a:rPr sz="1575" spc="-172" baseline="2645" dirty="0">
                  <a:solidFill>
                    <a:srgbClr val="808285"/>
                  </a:solidFill>
                  <a:latin typeface="Arial"/>
                  <a:cs typeface="Arial"/>
                </a:rPr>
                <a:t>о</a:t>
              </a:r>
              <a:r>
                <a:rPr sz="1575" spc="-22" baseline="2645" dirty="0">
                  <a:solidFill>
                    <a:srgbClr val="808285"/>
                  </a:solidFill>
                  <a:latin typeface="Arial"/>
                  <a:cs typeface="Arial"/>
                </a:rPr>
                <a:t>т</a:t>
              </a:r>
              <a:r>
                <a:rPr sz="1575" spc="44" baseline="2645" dirty="0">
                  <a:solidFill>
                    <a:srgbClr val="808285"/>
                  </a:solidFill>
                  <a:latin typeface="Arial"/>
                  <a:cs typeface="Arial"/>
                </a:rPr>
                <a:t>ы</a:t>
              </a:r>
              <a:r>
                <a:rPr sz="1575" spc="-142" baseline="264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575" spc="-97" baseline="2645" dirty="0">
                  <a:solidFill>
                    <a:srgbClr val="808285"/>
                  </a:solidFill>
                  <a:latin typeface="Arial"/>
                  <a:cs typeface="Arial"/>
                </a:rPr>
                <a:t>Павильонов</a:t>
              </a:r>
              <a:r>
                <a:rPr sz="1575" spc="-30" baseline="2645" dirty="0">
                  <a:solidFill>
                    <a:srgbClr val="808285"/>
                  </a:solidFill>
                  <a:latin typeface="Arial"/>
                  <a:cs typeface="Arial"/>
                </a:rPr>
                <a:t>:</a:t>
              </a:r>
              <a:r>
                <a:rPr sz="1575" baseline="264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575" spc="195" baseline="264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450" b="1" spc="10" dirty="0">
                  <a:solidFill>
                    <a:srgbClr val="808285"/>
                  </a:solidFill>
                  <a:latin typeface="Arial"/>
                  <a:cs typeface="Arial"/>
                </a:rPr>
                <a:t>09:3</a:t>
              </a:r>
              <a:r>
                <a:rPr sz="1450" b="1" spc="50" dirty="0">
                  <a:solidFill>
                    <a:srgbClr val="808285"/>
                  </a:solidFill>
                  <a:latin typeface="Arial"/>
                  <a:cs typeface="Arial"/>
                </a:rPr>
                <a:t>0</a:t>
              </a:r>
              <a:r>
                <a:rPr sz="1450" b="1" spc="-114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450" b="1" spc="-60" dirty="0">
                  <a:solidFill>
                    <a:srgbClr val="808285"/>
                  </a:solidFill>
                  <a:latin typeface="Arial"/>
                  <a:cs typeface="Arial"/>
                </a:rPr>
                <a:t>–21:30</a:t>
              </a:r>
              <a:endParaRPr sz="1450" dirty="0">
                <a:latin typeface="Arial"/>
                <a:cs typeface="Arial"/>
              </a:endParaRPr>
            </a:p>
          </p:txBody>
        </p:sp>
        <p:sp>
          <p:nvSpPr>
            <p:cNvPr id="148" name="object 64"/>
            <p:cNvSpPr txBox="1"/>
            <p:nvPr/>
          </p:nvSpPr>
          <p:spPr>
            <a:xfrm>
              <a:off x="2332837" y="5760715"/>
              <a:ext cx="3701415" cy="48005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ts val="1520"/>
                </a:lnSpc>
              </a:pPr>
              <a:r>
                <a:rPr sz="1500" spc="-35" dirty="0">
                  <a:solidFill>
                    <a:srgbClr val="808285"/>
                  </a:solidFill>
                  <a:latin typeface="Arial"/>
                  <a:cs typeface="Arial"/>
                </a:rPr>
                <a:t>к</a:t>
              </a:r>
              <a:r>
                <a:rPr sz="1500" spc="-114" dirty="0">
                  <a:solidFill>
                    <a:srgbClr val="808285"/>
                  </a:solidFill>
                  <a:latin typeface="Arial"/>
                  <a:cs typeface="Arial"/>
                </a:rPr>
                <a:t>о</a:t>
              </a:r>
              <a:r>
                <a:rPr sz="1500" spc="-60" dirty="0">
                  <a:solidFill>
                    <a:srgbClr val="808285"/>
                  </a:solidFill>
                  <a:latin typeface="Arial"/>
                  <a:cs typeface="Arial"/>
                </a:rPr>
                <a:t>личеств</a:t>
              </a:r>
              <a:r>
                <a:rPr sz="1500" spc="-20" dirty="0">
                  <a:solidFill>
                    <a:srgbClr val="808285"/>
                  </a:solidFill>
                  <a:latin typeface="Arial"/>
                  <a:cs typeface="Arial"/>
                </a:rPr>
                <a:t>о</a:t>
              </a:r>
              <a:r>
                <a:rPr sz="1500" spc="-130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500" spc="-75" dirty="0">
                  <a:solidFill>
                    <a:srgbClr val="808285"/>
                  </a:solidFill>
                  <a:latin typeface="Arial"/>
                  <a:cs typeface="Arial"/>
                </a:rPr>
                <a:t>нео</a:t>
              </a:r>
              <a:r>
                <a:rPr sz="1500" spc="-120" dirty="0">
                  <a:solidFill>
                    <a:srgbClr val="808285"/>
                  </a:solidFill>
                  <a:latin typeface="Arial"/>
                  <a:cs typeface="Arial"/>
                </a:rPr>
                <a:t>б</a:t>
              </a:r>
              <a:r>
                <a:rPr sz="1500" spc="-50" dirty="0">
                  <a:solidFill>
                    <a:srgbClr val="808285"/>
                  </a:solidFill>
                  <a:latin typeface="Arial"/>
                  <a:cs typeface="Arial"/>
                </a:rPr>
                <a:t>х</a:t>
              </a:r>
              <a:r>
                <a:rPr sz="1500" spc="-114" dirty="0">
                  <a:solidFill>
                    <a:srgbClr val="808285"/>
                  </a:solidFill>
                  <a:latin typeface="Arial"/>
                  <a:cs typeface="Arial"/>
                </a:rPr>
                <a:t>о</a:t>
              </a:r>
              <a:r>
                <a:rPr sz="1500" spc="-40" dirty="0">
                  <a:solidFill>
                    <a:srgbClr val="808285"/>
                  </a:solidFill>
                  <a:latin typeface="Arial"/>
                  <a:cs typeface="Arial"/>
                </a:rPr>
                <a:t>димы</a:t>
              </a:r>
              <a:r>
                <a:rPr sz="1500" dirty="0">
                  <a:solidFill>
                    <a:srgbClr val="808285"/>
                  </a:solidFill>
                  <a:latin typeface="Arial"/>
                  <a:cs typeface="Arial"/>
                </a:rPr>
                <a:t>х</a:t>
              </a:r>
              <a:r>
                <a:rPr sz="1500" spc="-130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500" spc="-35" dirty="0">
                  <a:solidFill>
                    <a:srgbClr val="808285"/>
                  </a:solidFill>
                  <a:latin typeface="Arial"/>
                  <a:cs typeface="Arial"/>
                </a:rPr>
                <a:t>к</a:t>
              </a:r>
              <a:r>
                <a:rPr sz="1500" spc="-30" dirty="0">
                  <a:solidFill>
                    <a:srgbClr val="808285"/>
                  </a:solidFill>
                  <a:latin typeface="Arial"/>
                  <a:cs typeface="Arial"/>
                </a:rPr>
                <a:t>ой</a:t>
              </a:r>
              <a:r>
                <a:rPr sz="1500" spc="-90" dirty="0">
                  <a:solidFill>
                    <a:srgbClr val="808285"/>
                  </a:solidFill>
                  <a:latin typeface="Arial"/>
                  <a:cs typeface="Arial"/>
                </a:rPr>
                <a:t>к</a:t>
              </a:r>
              <a:r>
                <a:rPr sz="1500" spc="-70" dirty="0">
                  <a:solidFill>
                    <a:srgbClr val="808285"/>
                  </a:solidFill>
                  <a:latin typeface="Arial"/>
                  <a:cs typeface="Arial"/>
                </a:rPr>
                <a:t>о-мес</a:t>
              </a:r>
              <a:r>
                <a:rPr sz="1500" spc="-25" dirty="0">
                  <a:solidFill>
                    <a:srgbClr val="808285"/>
                  </a:solidFill>
                  <a:latin typeface="Arial"/>
                  <a:cs typeface="Arial"/>
                </a:rPr>
                <a:t>т</a:t>
              </a:r>
              <a:r>
                <a:rPr sz="1500" spc="-130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500" spc="10" dirty="0">
                  <a:solidFill>
                    <a:srgbClr val="808285"/>
                  </a:solidFill>
                  <a:latin typeface="Arial"/>
                  <a:cs typeface="Arial"/>
                </a:rPr>
                <a:t>в</a:t>
              </a:r>
              <a:r>
                <a:rPr sz="1500" spc="-130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500" spc="-20" dirty="0">
                  <a:solidFill>
                    <a:srgbClr val="808285"/>
                  </a:solidFill>
                  <a:latin typeface="Arial"/>
                  <a:cs typeface="Arial"/>
                </a:rPr>
                <a:t>сут</a:t>
              </a:r>
              <a:r>
                <a:rPr sz="1500" spc="-50" dirty="0">
                  <a:solidFill>
                    <a:srgbClr val="808285"/>
                  </a:solidFill>
                  <a:latin typeface="Arial"/>
                  <a:cs typeface="Arial"/>
                </a:rPr>
                <a:t>к</a:t>
              </a:r>
              <a:r>
                <a:rPr sz="1500" dirty="0">
                  <a:solidFill>
                    <a:srgbClr val="808285"/>
                  </a:solidFill>
                  <a:latin typeface="Arial"/>
                  <a:cs typeface="Arial"/>
                </a:rPr>
                <a:t>и</a:t>
              </a:r>
              <a:endParaRPr sz="1500" dirty="0">
                <a:latin typeface="Arial"/>
                <a:cs typeface="Arial"/>
              </a:endParaRPr>
            </a:p>
            <a:p>
              <a:pPr marL="12700">
                <a:lnSpc>
                  <a:spcPts val="1639"/>
                </a:lnSpc>
                <a:tabLst>
                  <a:tab pos="1981835" algn="l"/>
                </a:tabLst>
              </a:pPr>
              <a:r>
                <a:rPr sz="2400" b="1" spc="82" baseline="-15625" dirty="0">
                  <a:solidFill>
                    <a:srgbClr val="808285"/>
                  </a:solidFill>
                  <a:latin typeface="Arial"/>
                  <a:cs typeface="Arial"/>
                </a:rPr>
                <a:t>3</a:t>
              </a:r>
              <a:r>
                <a:rPr sz="2400" b="1" spc="142" baseline="-15625" dirty="0">
                  <a:solidFill>
                    <a:srgbClr val="808285"/>
                  </a:solidFill>
                  <a:latin typeface="Arial"/>
                  <a:cs typeface="Arial"/>
                </a:rPr>
                <a:t>2</a:t>
              </a:r>
              <a:r>
                <a:rPr sz="2400" b="1" spc="-187" baseline="-1562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2400" b="1" spc="82" baseline="-15625" dirty="0">
                  <a:solidFill>
                    <a:srgbClr val="808285"/>
                  </a:solidFill>
                  <a:latin typeface="Arial"/>
                  <a:cs typeface="Arial"/>
                </a:rPr>
                <a:t>07</a:t>
              </a:r>
              <a:r>
                <a:rPr sz="2400" b="1" spc="142" baseline="-15625" dirty="0">
                  <a:solidFill>
                    <a:srgbClr val="808285"/>
                  </a:solidFill>
                  <a:latin typeface="Arial"/>
                  <a:cs typeface="Arial"/>
                </a:rPr>
                <a:t>5</a:t>
              </a:r>
              <a:r>
                <a:rPr sz="2400" b="1" spc="172" baseline="-1562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575" b="1" spc="-97" baseline="2645" dirty="0">
                  <a:solidFill>
                    <a:srgbClr val="808285"/>
                  </a:solidFill>
                  <a:latin typeface="Arial"/>
                  <a:cs typeface="Arial"/>
                </a:rPr>
                <a:t>в</a:t>
              </a:r>
              <a:r>
                <a:rPr sz="1575" b="1" spc="-120" baseline="264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575" b="1" spc="-112" baseline="2645" dirty="0">
                  <a:solidFill>
                    <a:srgbClr val="808285"/>
                  </a:solidFill>
                  <a:latin typeface="Arial"/>
                  <a:cs typeface="Arial"/>
                </a:rPr>
                <a:t>ср</a:t>
              </a:r>
              <a:r>
                <a:rPr sz="1575" b="1" spc="-150" baseline="2645" dirty="0">
                  <a:solidFill>
                    <a:srgbClr val="808285"/>
                  </a:solidFill>
                  <a:latin typeface="Arial"/>
                  <a:cs typeface="Arial"/>
                </a:rPr>
                <a:t>е</a:t>
              </a:r>
              <a:r>
                <a:rPr sz="1575" b="1" spc="-67" baseline="2645" dirty="0">
                  <a:solidFill>
                    <a:srgbClr val="808285"/>
                  </a:solidFill>
                  <a:latin typeface="Arial"/>
                  <a:cs typeface="Arial"/>
                </a:rPr>
                <a:t>дни</a:t>
              </a:r>
              <a:r>
                <a:rPr sz="1575" b="1" spc="-22" baseline="2645" dirty="0">
                  <a:solidFill>
                    <a:srgbClr val="808285"/>
                  </a:solidFill>
                  <a:latin typeface="Arial"/>
                  <a:cs typeface="Arial"/>
                </a:rPr>
                <a:t>й</a:t>
              </a:r>
              <a:r>
                <a:rPr sz="1575" b="1" spc="-120" baseline="264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575" b="1" spc="-75" baseline="2645" dirty="0">
                  <a:solidFill>
                    <a:srgbClr val="808285"/>
                  </a:solidFill>
                  <a:latin typeface="Arial"/>
                  <a:cs typeface="Arial"/>
                </a:rPr>
                <a:t>д</a:t>
              </a:r>
              <a:r>
                <a:rPr sz="1575" b="1" spc="-82" baseline="2645" dirty="0">
                  <a:solidFill>
                    <a:srgbClr val="808285"/>
                  </a:solidFill>
                  <a:latin typeface="Arial"/>
                  <a:cs typeface="Arial"/>
                </a:rPr>
                <a:t>ен</a:t>
              </a:r>
              <a:r>
                <a:rPr sz="1575" b="1" spc="-37" baseline="2645" dirty="0">
                  <a:solidFill>
                    <a:srgbClr val="808285"/>
                  </a:solidFill>
                  <a:latin typeface="Arial"/>
                  <a:cs typeface="Arial"/>
                </a:rPr>
                <a:t>ь</a:t>
              </a:r>
              <a:r>
                <a:rPr sz="1575" b="1" baseline="2645" dirty="0">
                  <a:solidFill>
                    <a:srgbClr val="808285"/>
                  </a:solidFill>
                  <a:latin typeface="Arial"/>
                  <a:cs typeface="Arial"/>
                </a:rPr>
                <a:t>	</a:t>
              </a:r>
              <a:r>
                <a:rPr sz="2400" b="1" spc="82" baseline="-15625" dirty="0">
                  <a:solidFill>
                    <a:srgbClr val="808285"/>
                  </a:solidFill>
                  <a:latin typeface="Arial"/>
                  <a:cs typeface="Arial"/>
                </a:rPr>
                <a:t>6</a:t>
              </a:r>
              <a:r>
                <a:rPr sz="2400" b="1" spc="142" baseline="-15625" dirty="0">
                  <a:solidFill>
                    <a:srgbClr val="808285"/>
                  </a:solidFill>
                  <a:latin typeface="Arial"/>
                  <a:cs typeface="Arial"/>
                </a:rPr>
                <a:t>4</a:t>
              </a:r>
              <a:r>
                <a:rPr sz="2400" b="1" spc="-187" baseline="-1562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2400" b="1" spc="82" baseline="-15625" dirty="0">
                  <a:solidFill>
                    <a:srgbClr val="808285"/>
                  </a:solidFill>
                  <a:latin typeface="Arial"/>
                  <a:cs typeface="Arial"/>
                </a:rPr>
                <a:t>14</a:t>
              </a:r>
              <a:r>
                <a:rPr sz="2400" b="1" spc="142" baseline="-15625" dirty="0">
                  <a:solidFill>
                    <a:srgbClr val="808285"/>
                  </a:solidFill>
                  <a:latin typeface="Arial"/>
                  <a:cs typeface="Arial"/>
                </a:rPr>
                <a:t>9</a:t>
              </a:r>
              <a:r>
                <a:rPr sz="2400" b="1" spc="225" baseline="-15625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050" b="1" spc="-65" dirty="0">
                  <a:solidFill>
                    <a:srgbClr val="808285"/>
                  </a:solidFill>
                  <a:latin typeface="Arial"/>
                  <a:cs typeface="Arial"/>
                </a:rPr>
                <a:t>в</a:t>
              </a:r>
              <a:r>
                <a:rPr sz="1050" b="1" spc="-80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050" b="1" spc="-20" dirty="0">
                  <a:solidFill>
                    <a:srgbClr val="808285"/>
                  </a:solidFill>
                  <a:latin typeface="Arial"/>
                  <a:cs typeface="Arial"/>
                </a:rPr>
                <a:t>пи</a:t>
              </a:r>
              <a:r>
                <a:rPr sz="1050" b="1" spc="-60" dirty="0">
                  <a:solidFill>
                    <a:srgbClr val="808285"/>
                  </a:solidFill>
                  <a:latin typeface="Arial"/>
                  <a:cs typeface="Arial"/>
                </a:rPr>
                <a:t>к</a:t>
              </a:r>
              <a:r>
                <a:rPr sz="1050" b="1" spc="-80" dirty="0">
                  <a:solidFill>
                    <a:srgbClr val="808285"/>
                  </a:solidFill>
                  <a:latin typeface="Arial"/>
                  <a:cs typeface="Arial"/>
                </a:rPr>
                <a:t>овы</a:t>
              </a:r>
              <a:r>
                <a:rPr sz="1050" b="1" spc="-45" dirty="0">
                  <a:solidFill>
                    <a:srgbClr val="808285"/>
                  </a:solidFill>
                  <a:latin typeface="Arial"/>
                  <a:cs typeface="Arial"/>
                </a:rPr>
                <a:t>й</a:t>
              </a:r>
              <a:r>
                <a:rPr sz="1050" b="1" spc="-80" dirty="0">
                  <a:solidFill>
                    <a:srgbClr val="808285"/>
                  </a:solidFill>
                  <a:latin typeface="Arial"/>
                  <a:cs typeface="Arial"/>
                </a:rPr>
                <a:t> </a:t>
              </a:r>
              <a:r>
                <a:rPr sz="1050" b="1" spc="-50" dirty="0">
                  <a:solidFill>
                    <a:srgbClr val="808285"/>
                  </a:solidFill>
                  <a:latin typeface="Arial"/>
                  <a:cs typeface="Arial"/>
                </a:rPr>
                <a:t>д</a:t>
              </a:r>
              <a:r>
                <a:rPr sz="1050" b="1" spc="-55" dirty="0">
                  <a:solidFill>
                    <a:srgbClr val="808285"/>
                  </a:solidFill>
                  <a:latin typeface="Arial"/>
                  <a:cs typeface="Arial"/>
                </a:rPr>
                <a:t>ень</a:t>
              </a:r>
              <a:endParaRPr sz="1050" dirty="0">
                <a:latin typeface="Arial"/>
                <a:cs typeface="Arial"/>
              </a:endParaRPr>
            </a:p>
          </p:txBody>
        </p:sp>
        <p:sp>
          <p:nvSpPr>
            <p:cNvPr id="149" name="object 65"/>
            <p:cNvSpPr/>
            <p:nvPr/>
          </p:nvSpPr>
          <p:spPr>
            <a:xfrm>
              <a:off x="2201164" y="5707757"/>
              <a:ext cx="3932554" cy="589280"/>
            </a:xfrm>
            <a:custGeom>
              <a:avLst/>
              <a:gdLst/>
              <a:ahLst/>
              <a:cxnLst/>
              <a:rect l="l" t="t" r="r" b="b"/>
              <a:pathLst>
                <a:path w="3932554" h="589279">
                  <a:moveTo>
                    <a:pt x="3857358" y="588911"/>
                  </a:moveTo>
                  <a:lnTo>
                    <a:pt x="75056" y="588911"/>
                  </a:lnTo>
                  <a:lnTo>
                    <a:pt x="45916" y="582990"/>
                  </a:lnTo>
                  <a:lnTo>
                    <a:pt x="22050" y="566866"/>
                  </a:lnTo>
                  <a:lnTo>
                    <a:pt x="5923" y="543000"/>
                  </a:lnTo>
                  <a:lnTo>
                    <a:pt x="0" y="513854"/>
                  </a:lnTo>
                  <a:lnTo>
                    <a:pt x="0" y="75044"/>
                  </a:lnTo>
                  <a:lnTo>
                    <a:pt x="5923" y="45905"/>
                  </a:lnTo>
                  <a:lnTo>
                    <a:pt x="22050" y="22044"/>
                  </a:lnTo>
                  <a:lnTo>
                    <a:pt x="45916" y="5921"/>
                  </a:lnTo>
                  <a:lnTo>
                    <a:pt x="75056" y="0"/>
                  </a:lnTo>
                  <a:lnTo>
                    <a:pt x="3857358" y="0"/>
                  </a:lnTo>
                  <a:lnTo>
                    <a:pt x="3886498" y="5921"/>
                  </a:lnTo>
                  <a:lnTo>
                    <a:pt x="3910364" y="22044"/>
                  </a:lnTo>
                  <a:lnTo>
                    <a:pt x="3926491" y="45905"/>
                  </a:lnTo>
                  <a:lnTo>
                    <a:pt x="3932415" y="75044"/>
                  </a:lnTo>
                  <a:lnTo>
                    <a:pt x="3932415" y="513854"/>
                  </a:lnTo>
                  <a:lnTo>
                    <a:pt x="3926491" y="543000"/>
                  </a:lnTo>
                  <a:lnTo>
                    <a:pt x="3910364" y="566866"/>
                  </a:lnTo>
                  <a:lnTo>
                    <a:pt x="3886498" y="582990"/>
                  </a:lnTo>
                  <a:lnTo>
                    <a:pt x="3857358" y="588911"/>
                  </a:lnTo>
                  <a:close/>
                </a:path>
              </a:pathLst>
            </a:custGeom>
            <a:ln w="12509">
              <a:solidFill>
                <a:srgbClr val="808285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pic>
        <p:nvPicPr>
          <p:cNvPr id="49" name="Picture 5" descr="C:\Users\amarat\Desktop\сыфысыыыыыы.png"/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0" y="277687"/>
            <a:ext cx="4426527" cy="6946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object 2"/>
          <p:cNvSpPr txBox="1">
            <a:spLocks/>
          </p:cNvSpPr>
          <p:nvPr/>
        </p:nvSpPr>
        <p:spPr>
          <a:xfrm>
            <a:off x="237870" y="295983"/>
            <a:ext cx="3952293" cy="615553"/>
          </a:xfrm>
          <a:prstGeom prst="rect">
            <a:avLst/>
          </a:prstGeom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9pPr>
          </a:lstStyle>
          <a:p>
            <a:pPr marL="12700">
              <a:lnSpc>
                <a:spcPct val="100000"/>
              </a:lnSpc>
            </a:pPr>
            <a:r>
              <a:rPr lang="ru-RU" sz="2000" spc="-5" dirty="0" smtClean="0">
                <a:solidFill>
                  <a:schemeClr val="bg1"/>
                </a:solidFill>
              </a:rPr>
              <a:t>ЭКСПО-2017</a:t>
            </a:r>
          </a:p>
          <a:p>
            <a:pPr marL="12700">
              <a:lnSpc>
                <a:spcPct val="100000"/>
              </a:lnSpc>
            </a:pPr>
            <a:r>
              <a:rPr lang="ru-RU" sz="2000" b="1" spc="-5" dirty="0" smtClean="0">
                <a:solidFill>
                  <a:schemeClr val="bg1"/>
                </a:solidFill>
              </a:rPr>
              <a:t>«Энергия Будущего»</a:t>
            </a:r>
            <a:endParaRPr lang="en-US" sz="2000" b="1" spc="-5" dirty="0">
              <a:solidFill>
                <a:schemeClr val="bg1"/>
              </a:solidFill>
            </a:endParaRPr>
          </a:p>
        </p:txBody>
      </p:sp>
      <p:pic>
        <p:nvPicPr>
          <p:cNvPr id="48" name="Изображение 10"/>
          <p:cNvPicPr>
            <a:picLocks noChangeAspect="1"/>
          </p:cNvPicPr>
          <p:nvPr/>
        </p:nvPicPr>
        <p:blipFill>
          <a:blip r:embed="rId31" cstate="print"/>
          <a:stretch>
            <a:fillRect/>
          </a:stretch>
        </p:blipFill>
        <p:spPr>
          <a:xfrm>
            <a:off x="8130181" y="-184647"/>
            <a:ext cx="1206500" cy="1511300"/>
          </a:xfrm>
          <a:prstGeom prst="rect">
            <a:avLst/>
          </a:prstGeom>
        </p:spPr>
      </p:pic>
      <p:pic>
        <p:nvPicPr>
          <p:cNvPr id="51" name="Picture 2" descr="BIE"/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6320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" name="Рисунок 97"/>
          <p:cNvPicPr>
            <a:picLocks noChangeAspect="1"/>
          </p:cNvPicPr>
          <p:nvPr/>
        </p:nvPicPr>
        <p:blipFill rotWithShape="1">
          <a:blip r:embed="rId3" cstate="print"/>
          <a:srcRect l="16813" t="9103" r="15936" b="8153"/>
          <a:stretch/>
        </p:blipFill>
        <p:spPr>
          <a:xfrm>
            <a:off x="68414" y="1538515"/>
            <a:ext cx="2747357" cy="1901372"/>
          </a:xfrm>
          <a:prstGeom prst="rect">
            <a:avLst/>
          </a:prstGeom>
        </p:spPr>
      </p:pic>
      <p:pic>
        <p:nvPicPr>
          <p:cNvPr id="12" name="Picture 6" descr="C:\Users\funky_hero\Desktop\new_presa\parts\q-29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9020" y="23849"/>
            <a:ext cx="7661164" cy="1700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452348" y="674204"/>
            <a:ext cx="544424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latin typeface="Neo Sans Pro Light" pitchFamily="34" charset="-52"/>
              </a:rPr>
              <a:t>Recommended by EXPO</a:t>
            </a:r>
            <a:r>
              <a:rPr lang="ru-RU" sz="2000" dirty="0" smtClean="0">
                <a:solidFill>
                  <a:schemeClr val="bg1"/>
                </a:solidFill>
                <a:latin typeface="Neo Sans Pro Light" pitchFamily="34" charset="-52"/>
              </a:rPr>
              <a:t>: гиды</a:t>
            </a:r>
            <a:endParaRPr lang="ru-RU" sz="2000" dirty="0">
              <a:solidFill>
                <a:schemeClr val="bg1"/>
              </a:solidFill>
              <a:latin typeface="Neo Sans Pro Light" pitchFamily="34" charset="-52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466485" y="1780429"/>
            <a:ext cx="9405173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>
              <a:solidFill>
                <a:schemeClr val="accent6">
                  <a:lumMod val="50000"/>
                </a:schemeClr>
              </a:solidFill>
              <a:latin typeface="Neo Sans Pro Light" pitchFamily="34" charset="-52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 Спец. образование гида-переводчика,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экскурсовода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 Регистрация </a:t>
            </a: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в Едином реестре гидов, экскурсоводов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РК</a:t>
            </a:r>
            <a:endParaRPr lang="ru-RU" dirty="0">
              <a:solidFill>
                <a:schemeClr val="accent6">
                  <a:lumMod val="50000"/>
                </a:schemeClr>
              </a:solidFill>
              <a:latin typeface="Neo Sans Pro Light" pitchFamily="34" charset="-52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 Методическая </a:t>
            </a: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документация – тексты, портфель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экскурсовода </a:t>
            </a:r>
            <a:endParaRPr lang="ru-RU" dirty="0">
              <a:solidFill>
                <a:schemeClr val="accent6">
                  <a:lumMod val="50000"/>
                </a:schemeClr>
              </a:solidFill>
              <a:latin typeface="Neo Sans Pro Light" pitchFamily="34" charset="-52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 Сертификаты </a:t>
            </a: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о прохождении курсов повышения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квалификации</a:t>
            </a:r>
            <a:endParaRPr lang="ru-RU" dirty="0">
              <a:solidFill>
                <a:schemeClr val="accent6">
                  <a:lumMod val="50000"/>
                </a:schemeClr>
              </a:solidFill>
              <a:latin typeface="Neo Sans Pro Light" pitchFamily="34" charset="-52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 Сертификаты об уровне владения иностранным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языком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 Стаж работы от года и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выше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 Культура правильного поведения экскурсовода: вежливость,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активность, доброжелательность</a:t>
            </a: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, лидерские качества, пунктуальность, ответственность,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умение </a:t>
            </a: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создавать положительное впечатление о демонстрируемом объекте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.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 Знание и выполнение правил приема и обслуживания иностранных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туристов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Наличие </a:t>
            </a: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нагрудного </a:t>
            </a:r>
            <a:r>
              <a:rPr lang="ru-RU" dirty="0" err="1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бейджа</a:t>
            </a:r>
            <a:endParaRPr lang="ru-RU" dirty="0" smtClean="0">
              <a:solidFill>
                <a:schemeClr val="accent6">
                  <a:lumMod val="50000"/>
                </a:schemeClr>
              </a:solidFill>
              <a:latin typeface="Neo Sans Pro Light" pitchFamily="34" charset="-52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 Знание техники безопасности, первой доврачебной помощи в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случае возникновения </a:t>
            </a: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чрезвычайных 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ситуаций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accent6">
                    <a:lumMod val="50000"/>
                  </a:schemeClr>
                </a:solidFill>
                <a:latin typeface="Neo Sans Pro Light" pitchFamily="34" charset="-52"/>
              </a:rPr>
              <a:t> Корректность во взаимоотношениях с туристами.</a:t>
            </a:r>
          </a:p>
        </p:txBody>
      </p:sp>
      <p:pic>
        <p:nvPicPr>
          <p:cNvPr id="8" name="Изображение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130181" y="-184647"/>
            <a:ext cx="1206500" cy="1511300"/>
          </a:xfrm>
          <a:prstGeom prst="rect">
            <a:avLst/>
          </a:prstGeom>
        </p:spPr>
      </p:pic>
      <p:pic>
        <p:nvPicPr>
          <p:cNvPr id="14" name="Picture 2" descr="BI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4471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/>
          <a:srcRect l="19408" t="19822" r="19140" b="39586"/>
          <a:stretch/>
        </p:blipFill>
        <p:spPr>
          <a:xfrm>
            <a:off x="1642849" y="1676401"/>
            <a:ext cx="8906301" cy="3309256"/>
          </a:xfrm>
          <a:prstGeom prst="rect">
            <a:avLst/>
          </a:prstGeom>
        </p:spPr>
      </p:pic>
      <p:pic>
        <p:nvPicPr>
          <p:cNvPr id="3" name="Picture 5" descr="C:\Users\amarat\Desktop\сыфысыыыыыы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287310"/>
            <a:ext cx="4421921" cy="6939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307264" y="403462"/>
            <a:ext cx="301951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74"/>
            <a:r>
              <a:rPr lang="ru-RU" sz="2400" dirty="0">
                <a:solidFill>
                  <a:prstClr val="white"/>
                </a:solidFill>
                <a:latin typeface="Neo Sans Pro Light" pitchFamily="34" charset="-52"/>
              </a:rPr>
              <a:t>Тренинги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942997" y="5172777"/>
            <a:ext cx="63060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Государственное финансирование: Дорожная карта занятости 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2020</a:t>
            </a: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Neo Sans Pro Light" pitchFamily="34" charset="-52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Частные инвестиции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914525" y="1930400"/>
            <a:ext cx="5324475" cy="3055257"/>
          </a:xfrm>
          <a:prstGeom prst="round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Программа </a:t>
            </a: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обучения для 3 сфер обслуживания:</a:t>
            </a:r>
          </a:p>
          <a:p>
            <a:pPr marL="361950"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Гостиничный 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сектор (отели, рестораны)</a:t>
            </a:r>
          </a:p>
          <a:p>
            <a:pPr marL="361950"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Туризм/культурно-досуговые 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учреждения</a:t>
            </a:r>
          </a:p>
          <a:p>
            <a:pPr marL="361950"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Сопутствующие 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сферы: такси, пограничная служба, миграционная 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служба</a:t>
            </a: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Neo Sans Pro Light" pitchFamily="34" charset="-52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Ключевые шаги:</a:t>
            </a:r>
          </a:p>
          <a:p>
            <a:pPr marL="361950">
              <a:buFont typeface="Courier New" panose="02070309020205020404" pitchFamily="49" charset="0"/>
              <a:buChar char="o"/>
              <a:tabLst>
                <a:tab pos="542925" algn="l"/>
              </a:tabLst>
            </a:pP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Определение политической воли</a:t>
            </a:r>
          </a:p>
          <a:p>
            <a:pPr marL="361950">
              <a:buFont typeface="Courier New" panose="02070309020205020404" pitchFamily="49" charset="0"/>
              <a:buChar char="o"/>
              <a:tabLst>
                <a:tab pos="542925" algn="l"/>
              </a:tabLst>
            </a:pP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Убеждение частного сектора в необходимости тренингов</a:t>
            </a:r>
          </a:p>
          <a:p>
            <a:pPr marL="361950">
              <a:buFont typeface="Courier New" panose="02070309020205020404" pitchFamily="49" charset="0"/>
              <a:buChar char="o"/>
              <a:tabLst>
                <a:tab pos="542925" algn="l"/>
              </a:tabLst>
            </a:pP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Поиск квалифицированного тренера</a:t>
            </a:r>
          </a:p>
          <a:p>
            <a:pPr marL="361950">
              <a:buFont typeface="Courier New" panose="02070309020205020404" pitchFamily="49" charset="0"/>
              <a:buChar char="o"/>
              <a:tabLst>
                <a:tab pos="542925" algn="l"/>
              </a:tabLst>
            </a:pP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Проведение тренингов</a:t>
            </a:r>
          </a:p>
        </p:txBody>
      </p:sp>
      <p:pic>
        <p:nvPicPr>
          <p:cNvPr id="7" name="Изображение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130181" y="-184647"/>
            <a:ext cx="1206500" cy="1511300"/>
          </a:xfrm>
          <a:prstGeom prst="rect">
            <a:avLst/>
          </a:prstGeom>
        </p:spPr>
      </p:pic>
      <p:pic>
        <p:nvPicPr>
          <p:cNvPr id="8" name="Picture 2" descr="BI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54424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print"/>
          <a:srcRect l="12604" t="17387" r="49819" b="22222"/>
          <a:stretch/>
        </p:blipFill>
        <p:spPr>
          <a:xfrm>
            <a:off x="0" y="1295400"/>
            <a:ext cx="6134100" cy="5545144"/>
          </a:xfrm>
          <a:prstGeom prst="rect">
            <a:avLst/>
          </a:prstGeom>
        </p:spPr>
      </p:pic>
      <p:pic>
        <p:nvPicPr>
          <p:cNvPr id="3" name="Picture 6" descr="C:\Users\funky_hero\Desktop\new_presa\parts\q-29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9020" y="23849"/>
            <a:ext cx="7661164" cy="1700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52348" y="674204"/>
            <a:ext cx="544424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chemeClr val="bg1"/>
                </a:solidFill>
                <a:latin typeface="Neo Sans Pro Light" pitchFamily="34" charset="-52"/>
              </a:rPr>
              <a:t>Служба старших экспертов </a:t>
            </a:r>
            <a:r>
              <a:rPr lang="en-US" sz="2000" dirty="0" smtClean="0">
                <a:solidFill>
                  <a:schemeClr val="bg1"/>
                </a:solidFill>
                <a:latin typeface="Neo Sans Pro Light" pitchFamily="34" charset="-52"/>
              </a:rPr>
              <a:t>SES (</a:t>
            </a:r>
            <a:r>
              <a:rPr lang="ru-RU" sz="2000" dirty="0" smtClean="0">
                <a:solidFill>
                  <a:schemeClr val="bg1"/>
                </a:solidFill>
                <a:latin typeface="Neo Sans Pro Light" pitchFamily="34" charset="-52"/>
              </a:rPr>
              <a:t>Германия)</a:t>
            </a:r>
            <a:endParaRPr lang="ru-RU" sz="2000" dirty="0">
              <a:solidFill>
                <a:schemeClr val="bg1"/>
              </a:solidFill>
              <a:latin typeface="Neo Sans Pro Light" pitchFamily="34" charset="-52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5" cstate="print"/>
          <a:srcRect l="20833" t="26852" r="51562" b="33703"/>
          <a:stretch/>
        </p:blipFill>
        <p:spPr>
          <a:xfrm>
            <a:off x="6516913" y="1528535"/>
            <a:ext cx="4867729" cy="391255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8665029" y="5543305"/>
            <a:ext cx="3008324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/>
              <a:t>Представитель SES в Казахстане </a:t>
            </a:r>
          </a:p>
          <a:p>
            <a:r>
              <a:rPr lang="ru-RU" sz="1600" dirty="0" err="1" smtClean="0"/>
              <a:t>Данияр</a:t>
            </a:r>
            <a:r>
              <a:rPr lang="ru-RU" sz="1600" dirty="0" smtClean="0"/>
              <a:t> </a:t>
            </a:r>
            <a:r>
              <a:rPr lang="ru-RU" sz="1600" dirty="0" err="1" smtClean="0"/>
              <a:t>Байшораев</a:t>
            </a:r>
            <a:endParaRPr lang="ru-RU" sz="1600" dirty="0" smtClean="0"/>
          </a:p>
          <a:p>
            <a:r>
              <a:rPr lang="ru-RU" sz="1600" dirty="0" smtClean="0"/>
              <a:t>Тел.: +7 707 114 0003</a:t>
            </a:r>
          </a:p>
          <a:p>
            <a:r>
              <a:rPr lang="ru-RU" sz="1600" dirty="0" smtClean="0"/>
              <a:t>Факс: + 49 228 26090-9194</a:t>
            </a:r>
          </a:p>
          <a:p>
            <a:r>
              <a:rPr lang="ru-RU" sz="1600" dirty="0" err="1" smtClean="0"/>
              <a:t>daniyarb@mail.ru</a:t>
            </a:r>
            <a:endParaRPr lang="ru-RU" sz="1600" dirty="0"/>
          </a:p>
        </p:txBody>
      </p:sp>
      <p:pic>
        <p:nvPicPr>
          <p:cNvPr id="10" name="Изображение 10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8130181" y="-184647"/>
            <a:ext cx="1206500" cy="1511300"/>
          </a:xfrm>
          <a:prstGeom prst="rect">
            <a:avLst/>
          </a:prstGeom>
        </p:spPr>
      </p:pic>
      <p:pic>
        <p:nvPicPr>
          <p:cNvPr id="11" name="Picture 2" descr="BI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477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/>
          <a:srcRect l="19841" t="23157" r="53175" b="42204"/>
          <a:stretch/>
        </p:blipFill>
        <p:spPr>
          <a:xfrm>
            <a:off x="769256" y="2446313"/>
            <a:ext cx="4934859" cy="3563258"/>
          </a:xfrm>
          <a:prstGeom prst="rect">
            <a:avLst/>
          </a:prstGeom>
        </p:spPr>
      </p:pic>
      <p:pic>
        <p:nvPicPr>
          <p:cNvPr id="4" name="Picture 5" descr="C:\Users\amarat\Desktop\сыфысыыыыыы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287310"/>
            <a:ext cx="4421921" cy="6939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07264" y="403462"/>
            <a:ext cx="34519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74"/>
            <a:r>
              <a:rPr lang="ru-RU" sz="2400" dirty="0" smtClean="0">
                <a:solidFill>
                  <a:prstClr val="white"/>
                </a:solidFill>
                <a:latin typeface="Neo Sans Pro Light" pitchFamily="34" charset="-52"/>
              </a:rPr>
              <a:t>Система указателей</a:t>
            </a:r>
            <a:endParaRPr lang="ru-RU" sz="2400" dirty="0">
              <a:solidFill>
                <a:prstClr val="white"/>
              </a:solidFill>
              <a:latin typeface="Neo Sans Pro Light" pitchFamily="34" charset="-52"/>
            </a:endParaRPr>
          </a:p>
        </p:txBody>
      </p:sp>
      <p:pic>
        <p:nvPicPr>
          <p:cNvPr id="1026" name="Picture 2" descr="http://www.info-tses.kz.images.1c-bitrix-cdn.ru/upload/DSC20112015_0102.jpg?1447999275229630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217" t="17964" r="31133" b="13287"/>
          <a:stretch/>
        </p:blipFill>
        <p:spPr bwMode="auto">
          <a:xfrm>
            <a:off x="9277950" y="3055913"/>
            <a:ext cx="2724197" cy="3394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www.smeu-astana.kz/images/images/salutions/DSCN4779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2" t="23549" r="3337" b="53958"/>
          <a:stretch/>
        </p:blipFill>
        <p:spPr bwMode="auto">
          <a:xfrm>
            <a:off x="6540501" y="1506478"/>
            <a:ext cx="4099548" cy="128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3"/>
          <a:srcRect l="62181" t="26808" r="21946" b="42204"/>
          <a:stretch/>
        </p:blipFill>
        <p:spPr>
          <a:xfrm>
            <a:off x="5863495" y="2869670"/>
            <a:ext cx="3414455" cy="3749501"/>
          </a:xfrm>
          <a:prstGeom prst="rect">
            <a:avLst/>
          </a:prstGeom>
        </p:spPr>
      </p:pic>
      <p:pic>
        <p:nvPicPr>
          <p:cNvPr id="8" name="Изображение 10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130181" y="-184647"/>
            <a:ext cx="1206500" cy="1511300"/>
          </a:xfrm>
          <a:prstGeom prst="rect">
            <a:avLst/>
          </a:prstGeom>
        </p:spPr>
      </p:pic>
      <p:pic>
        <p:nvPicPr>
          <p:cNvPr id="9" name="Picture 2" descr="BI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7971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/>
          <a:srcRect l="19841" t="23440" r="49525" b="41640"/>
          <a:stretch/>
        </p:blipFill>
        <p:spPr>
          <a:xfrm>
            <a:off x="333826" y="1966687"/>
            <a:ext cx="5602517" cy="3592286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/>
          <a:srcRect l="50674" t="23440" r="20905" b="39735"/>
          <a:stretch/>
        </p:blipFill>
        <p:spPr>
          <a:xfrm>
            <a:off x="5936343" y="1578430"/>
            <a:ext cx="5994400" cy="4368799"/>
          </a:xfrm>
          <a:prstGeom prst="rect">
            <a:avLst/>
          </a:prstGeom>
        </p:spPr>
      </p:pic>
      <p:pic>
        <p:nvPicPr>
          <p:cNvPr id="4" name="Picture 5" descr="C:\Users\amarat\Desktop\сыфысыыыыыы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274936"/>
            <a:ext cx="4421921" cy="6939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153631" y="221302"/>
            <a:ext cx="411465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74"/>
            <a:r>
              <a:rPr lang="ru-RU" sz="2400" dirty="0" smtClean="0">
                <a:solidFill>
                  <a:prstClr val="white"/>
                </a:solidFill>
                <a:latin typeface="Neo Sans Pro Light" pitchFamily="34" charset="-52"/>
              </a:rPr>
              <a:t>Программа улучшения достопримечательностей</a:t>
            </a:r>
            <a:endParaRPr lang="ru-RU" sz="2400" dirty="0">
              <a:solidFill>
                <a:prstClr val="white"/>
              </a:solidFill>
              <a:latin typeface="Neo Sans Pro Light" pitchFamily="34" charset="-52"/>
            </a:endParaRPr>
          </a:p>
        </p:txBody>
      </p:sp>
      <p:pic>
        <p:nvPicPr>
          <p:cNvPr id="6" name="Изображение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130181" y="-184647"/>
            <a:ext cx="1206500" cy="1511300"/>
          </a:xfrm>
          <a:prstGeom prst="rect">
            <a:avLst/>
          </a:prstGeom>
        </p:spPr>
      </p:pic>
      <p:pic>
        <p:nvPicPr>
          <p:cNvPr id="7" name="Picture 2" descr="BI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81721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/>
          <a:srcRect l="21190" t="19770" r="32207" b="40441"/>
          <a:stretch/>
        </p:blipFill>
        <p:spPr>
          <a:xfrm>
            <a:off x="585903" y="3107028"/>
            <a:ext cx="7364769" cy="353695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l="20079" t="23298" r="56945" b="40662"/>
          <a:stretch/>
        </p:blipFill>
        <p:spPr>
          <a:xfrm>
            <a:off x="8188377" y="1147436"/>
            <a:ext cx="3640765" cy="3212395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/>
          <a:srcRect l="44921" t="23298" r="18889" b="58968"/>
          <a:stretch/>
        </p:blipFill>
        <p:spPr>
          <a:xfrm>
            <a:off x="1958830" y="1147436"/>
            <a:ext cx="6461776" cy="1781063"/>
          </a:xfrm>
          <a:prstGeom prst="rect">
            <a:avLst/>
          </a:prstGeom>
        </p:spPr>
      </p:pic>
      <p:pic>
        <p:nvPicPr>
          <p:cNvPr id="4" name="Picture 5" descr="C:\Users\amarat\Desktop\сыфысыыыыыы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274936"/>
            <a:ext cx="4421921" cy="6939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153630" y="421866"/>
            <a:ext cx="411465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674"/>
            <a:r>
              <a:rPr lang="ru-RU" sz="2000" dirty="0" smtClean="0">
                <a:solidFill>
                  <a:prstClr val="white"/>
                </a:solidFill>
                <a:latin typeface="Neo Sans Pro Light" pitchFamily="34" charset="-52"/>
              </a:rPr>
              <a:t>Повышение осведомленности</a:t>
            </a:r>
            <a:endParaRPr lang="ru-RU" sz="2000" dirty="0">
              <a:solidFill>
                <a:prstClr val="white"/>
              </a:solidFill>
              <a:latin typeface="Neo Sans Pro Light" pitchFamily="34" charset="-52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725715" y="3455599"/>
            <a:ext cx="4723363" cy="3188379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777777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Создание и открытие:</a:t>
            </a:r>
            <a:endParaRPr lang="ru-RU" sz="1400" b="1" dirty="0">
              <a:solidFill>
                <a:schemeClr val="tx1">
                  <a:lumMod val="95000"/>
                  <a:lumOff val="5000"/>
                </a:schemeClr>
              </a:solidFill>
              <a:latin typeface="Neo Sans Pro Light" pitchFamily="34" charset="-52"/>
            </a:endParaRPr>
          </a:p>
          <a:p>
            <a:pPr marL="361950" algn="just"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</a:t>
            </a:r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Туристские информационные центры</a:t>
            </a:r>
            <a:endParaRPr lang="ru-RU" sz="1400" b="1" dirty="0">
              <a:solidFill>
                <a:schemeClr val="tx1">
                  <a:lumMod val="95000"/>
                  <a:lumOff val="5000"/>
                </a:schemeClr>
              </a:solidFill>
              <a:latin typeface="Neo Sans Pro Light" pitchFamily="34" charset="-52"/>
            </a:endParaRPr>
          </a:p>
          <a:p>
            <a:pPr marL="361950" algn="just"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</a:t>
            </a:r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Информационные киоски: 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ж/д вокзал, автовокзал</a:t>
            </a: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Neo Sans Pro Light" pitchFamily="34" charset="-52"/>
            </a:endParaRPr>
          </a:p>
          <a:p>
            <a:pPr marL="361950" algn="just"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</a:t>
            </a:r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Печатные материалы: 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брошюры (</a:t>
            </a:r>
            <a:r>
              <a:rPr lang="ru-RU" sz="1400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имиджевая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брошюра, буклет с основными турпродуктами, стойки с рекламой/буклетами, буклеты с достопримечательностями, карты города, сити карты и т.д.</a:t>
            </a: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Neo Sans Pro Light" pitchFamily="34" charset="-52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8465726" y="1147436"/>
            <a:ext cx="3363416" cy="341005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777777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Организация мероприятий по повышению осведомленности о важности туристской отрасли:</a:t>
            </a:r>
            <a:endParaRPr lang="ru-RU" sz="1400" b="1" dirty="0">
              <a:solidFill>
                <a:schemeClr val="tx1">
                  <a:lumMod val="95000"/>
                  <a:lumOff val="5000"/>
                </a:schemeClr>
              </a:solidFill>
              <a:latin typeface="Neo Sans Pro Light" pitchFamily="34" charset="-52"/>
            </a:endParaRP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</a:t>
            </a: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Мероприятия:</a:t>
            </a:r>
          </a:p>
          <a:p>
            <a:pPr marL="361950" algn="just"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Месяц туризма</a:t>
            </a:r>
          </a:p>
          <a:p>
            <a:pPr marL="361950" algn="just"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Туристский форум</a:t>
            </a:r>
          </a:p>
          <a:p>
            <a:pPr marL="361950" algn="just"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СМИ </a:t>
            </a:r>
          </a:p>
          <a:p>
            <a:pPr marL="361950" algn="just"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Конкурсы и олимпиады для школьников</a:t>
            </a:r>
          </a:p>
          <a:p>
            <a:pPr marL="361950" algn="just"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Волонтеры для ЭКСПО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 Конкурс для жителей (</a:t>
            </a: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оформление домов, </a:t>
            </a:r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балконов, </a:t>
            </a: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Neo Sans Pro Light" pitchFamily="34" charset="-52"/>
              </a:rPr>
              <a:t>садов в стиле ЭКСПО-2017)</a:t>
            </a:r>
          </a:p>
        </p:txBody>
      </p:sp>
      <p:pic>
        <p:nvPicPr>
          <p:cNvPr id="10" name="Изображение 10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8130181" y="-184647"/>
            <a:ext cx="1206500" cy="1511300"/>
          </a:xfrm>
          <a:prstGeom prst="rect">
            <a:avLst/>
          </a:prstGeom>
        </p:spPr>
      </p:pic>
      <p:pic>
        <p:nvPicPr>
          <p:cNvPr id="11" name="Picture 2" descr="BI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701151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316351" y="659668"/>
            <a:ext cx="2480936" cy="4662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30" dirty="0">
                <a:solidFill>
                  <a:schemeClr val="bg1"/>
                </a:solidFill>
                <a:latin typeface="Neo Sans Pro Medium" pitchFamily="34" charset="-52"/>
              </a:rPr>
              <a:t>2014: </a:t>
            </a:r>
            <a:r>
              <a:rPr lang="en-US" sz="2430" dirty="0">
                <a:solidFill>
                  <a:schemeClr val="bg1"/>
                </a:solidFill>
                <a:latin typeface="Neo Sans Pro Light" pitchFamily="34" charset="-52"/>
              </a:rPr>
              <a:t>TOURISM</a:t>
            </a:r>
            <a:endParaRPr lang="ru-RU" sz="2430" dirty="0">
              <a:solidFill>
                <a:schemeClr val="bg1"/>
              </a:solidFill>
              <a:latin typeface="Neo Sans Pro Light" pitchFamily="34" charset="-52"/>
            </a:endParaRPr>
          </a:p>
        </p:txBody>
      </p:sp>
      <p:pic>
        <p:nvPicPr>
          <p:cNvPr id="33794" name="Picture 2" descr="C:\Users\funky_hero\Desktop\new_presa\parts\q-3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894" y="1359810"/>
            <a:ext cx="4993765" cy="1251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5" descr="C:\Users\amarat\Desktop\сыфысыыыыыы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277687"/>
            <a:ext cx="4426527" cy="6946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object 2"/>
          <p:cNvSpPr txBox="1">
            <a:spLocks/>
          </p:cNvSpPr>
          <p:nvPr/>
        </p:nvSpPr>
        <p:spPr>
          <a:xfrm>
            <a:off x="237870" y="449871"/>
            <a:ext cx="3952293" cy="307777"/>
          </a:xfrm>
          <a:prstGeom prst="rect">
            <a:avLst/>
          </a:prstGeom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ts val="2358"/>
              </a:lnSpc>
            </a:pPr>
            <a:r>
              <a:rPr lang="ru-RU" sz="2000" spc="-30" dirty="0" smtClean="0">
                <a:solidFill>
                  <a:srgbClr val="FFFFFF"/>
                </a:solidFill>
                <a:latin typeface="Trebuchet MS"/>
                <a:cs typeface="Trebuchet MS"/>
              </a:rPr>
              <a:t>Маркетинг</a:t>
            </a:r>
            <a:endParaRPr lang="ru-RU" sz="2000" dirty="0">
              <a:latin typeface="Trebuchet MS"/>
              <a:cs typeface="Trebuchet M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37555" y="2825807"/>
            <a:ext cx="545844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en-GB" spc="-30" dirty="0" err="1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Мультимедийн</a:t>
            </a:r>
            <a:r>
              <a:rPr lang="kk-KZ" spc="-30" dirty="0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ая </a:t>
            </a:r>
            <a:r>
              <a:rPr lang="en-GB" spc="-30" dirty="0" err="1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продукци</a:t>
            </a:r>
            <a:r>
              <a:rPr lang="kk-KZ" spc="-30" dirty="0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я (</a:t>
            </a:r>
            <a:r>
              <a:rPr lang="ru-RU" spc="-30" dirty="0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Фото- </a:t>
            </a:r>
            <a:r>
              <a:rPr lang="ru-RU" spc="-30" dirty="0" err="1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видеобанк</a:t>
            </a:r>
            <a:r>
              <a:rPr lang="ru-RU" spc="-30" dirty="0" smtClean="0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)</a:t>
            </a:r>
          </a:p>
          <a:p>
            <a:pPr marL="342900" indent="-342900" algn="just">
              <a:buFont typeface="+mj-lt"/>
              <a:buAutoNum type="arabicPeriod"/>
            </a:pPr>
            <a:endParaRPr lang="ru-RU" spc="-30" dirty="0">
              <a:solidFill>
                <a:schemeClr val="bg2">
                  <a:lumMod val="25000"/>
                </a:schemeClr>
              </a:solidFill>
              <a:latin typeface="Trebuchet MS"/>
              <a:ea typeface="MS PGothic" panose="020B0600070205080204" pitchFamily="34" charset="-128"/>
              <a:cs typeface="Trebuchet MS"/>
            </a:endParaRPr>
          </a:p>
          <a:p>
            <a:pPr marL="342900" lvl="0" indent="-342900" algn="just">
              <a:buFont typeface="+mj-lt"/>
              <a:buAutoNum type="arabicPeriod"/>
            </a:pPr>
            <a:r>
              <a:rPr lang="ru-RU" spc="-30" dirty="0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Исследование рынка (анкетирование, опрос</a:t>
            </a:r>
            <a:r>
              <a:rPr lang="ru-RU" spc="-30" dirty="0" smtClean="0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)</a:t>
            </a:r>
          </a:p>
          <a:p>
            <a:pPr marL="342900" lvl="0" indent="-342900" algn="just">
              <a:buFont typeface="+mj-lt"/>
              <a:buAutoNum type="arabicPeriod"/>
            </a:pPr>
            <a:endParaRPr lang="ru-RU" spc="-30" dirty="0">
              <a:solidFill>
                <a:schemeClr val="bg2">
                  <a:lumMod val="25000"/>
                </a:schemeClr>
              </a:solidFill>
              <a:latin typeface="Trebuchet MS"/>
              <a:ea typeface="MS PGothic" panose="020B0600070205080204" pitchFamily="34" charset="-128"/>
              <a:cs typeface="Trebuchet MS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ru-RU" spc="-30" dirty="0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Создание и оптимизация базы данных цифрового туризма </a:t>
            </a:r>
            <a:r>
              <a:rPr lang="ru-RU" spc="-30" dirty="0" smtClean="0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(</a:t>
            </a:r>
            <a:r>
              <a:rPr lang="en-US" spc="-30" dirty="0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CRM</a:t>
            </a:r>
            <a:r>
              <a:rPr lang="ru-RU" spc="-30" dirty="0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 Управление взаимоотношениями с клиентами)</a:t>
            </a:r>
          </a:p>
          <a:p>
            <a:pPr marL="342900" indent="-342900" algn="just">
              <a:buFont typeface="+mj-lt"/>
              <a:buAutoNum type="arabicPeriod"/>
            </a:pPr>
            <a:endParaRPr lang="ru-RU" dirty="0"/>
          </a:p>
        </p:txBody>
      </p:sp>
      <p:pic>
        <p:nvPicPr>
          <p:cNvPr id="31" name="Picture 2" descr="C:\Users\funky_hero\Desktop\new_presa\parts\q-3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0712" y="1359810"/>
            <a:ext cx="4993765" cy="1251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8546914" y="1785387"/>
            <a:ext cx="172290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spc="-30" dirty="0" smtClean="0">
                <a:solidFill>
                  <a:srgbClr val="FFFFFF"/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Туркомпании</a:t>
            </a:r>
            <a:endParaRPr lang="ru-RU" sz="1600" spc="-30" dirty="0">
              <a:solidFill>
                <a:srgbClr val="FFFFFF"/>
              </a:solidFill>
              <a:latin typeface="Trebuchet MS"/>
              <a:ea typeface="MS PGothic" panose="020B0600070205080204" pitchFamily="34" charset="-128"/>
              <a:cs typeface="Trebuchet MS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862550" y="1757051"/>
            <a:ext cx="8159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spc="-30" dirty="0" smtClean="0">
                <a:solidFill>
                  <a:srgbClr val="FFFFFF"/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МИО</a:t>
            </a:r>
            <a:endParaRPr lang="ru-RU" sz="1600" spc="-30" dirty="0">
              <a:solidFill>
                <a:srgbClr val="FFFFFF"/>
              </a:solidFill>
              <a:latin typeface="Trebuchet MS"/>
              <a:ea typeface="MS PGothic" panose="020B0600070205080204" pitchFamily="34" charset="-128"/>
              <a:cs typeface="Trebuchet MS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448106" y="2816252"/>
            <a:ext cx="545844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buFont typeface="+mj-lt"/>
              <a:buAutoNum type="arabicPeriod"/>
            </a:pPr>
            <a:r>
              <a:rPr lang="ru-RU" spc="-30" dirty="0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Сайт</a:t>
            </a:r>
          </a:p>
          <a:p>
            <a:pPr marL="342900" lvl="0" indent="-342900" algn="just">
              <a:buFont typeface="+mj-lt"/>
              <a:buAutoNum type="arabicPeriod"/>
            </a:pPr>
            <a:r>
              <a:rPr lang="ru-RU" spc="-30" dirty="0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Участие в международных туристских выставках</a:t>
            </a:r>
          </a:p>
          <a:p>
            <a:pPr marL="342900" lvl="0" indent="-342900" algn="just">
              <a:buFont typeface="+mj-lt"/>
              <a:buAutoNum type="arabicPeriod"/>
            </a:pPr>
            <a:r>
              <a:rPr lang="ru-RU" spc="-30" dirty="0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Участие в </a:t>
            </a:r>
            <a:r>
              <a:rPr lang="ru-RU" spc="-30" dirty="0" err="1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роуд</a:t>
            </a:r>
            <a:r>
              <a:rPr lang="ru-RU" spc="-30" dirty="0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-шоу, </a:t>
            </a:r>
            <a:r>
              <a:rPr lang="ru-RU" spc="-30" dirty="0" err="1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воркшопах</a:t>
            </a:r>
            <a:endParaRPr lang="ru-RU" spc="-30" dirty="0">
              <a:solidFill>
                <a:schemeClr val="bg2">
                  <a:lumMod val="25000"/>
                </a:schemeClr>
              </a:solidFill>
              <a:latin typeface="Trebuchet MS"/>
              <a:ea typeface="MS PGothic" panose="020B0600070205080204" pitchFamily="34" charset="-128"/>
              <a:cs typeface="Trebuchet MS"/>
            </a:endParaRPr>
          </a:p>
          <a:p>
            <a:pPr marL="342900" lvl="0" indent="-342900" algn="just">
              <a:buFont typeface="+mj-lt"/>
              <a:buAutoNum type="arabicPeriod"/>
            </a:pPr>
            <a:r>
              <a:rPr lang="ru-RU" spc="-30" dirty="0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Проведение тест- и </a:t>
            </a:r>
            <a:r>
              <a:rPr lang="ru-RU" spc="-30" dirty="0" err="1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инфотуров</a:t>
            </a:r>
            <a:r>
              <a:rPr lang="ru-RU" spc="-30" dirty="0">
                <a:solidFill>
                  <a:schemeClr val="bg2">
                    <a:lumMod val="2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 </a:t>
            </a:r>
          </a:p>
        </p:txBody>
      </p:sp>
      <p:pic>
        <p:nvPicPr>
          <p:cNvPr id="1026" name="Picture 2" descr="http://www.prirodasibiri.ru/links/190/id513-0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967" y="4929942"/>
            <a:ext cx="2878033" cy="191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s://encrypted-tbn2.gstatic.com/images?q=tbn:ANd9GcQDihFEtd9rnzU4UGBJXWNlbl3ZcP48jYkqrywYvJ9xsqaZFbhMCw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6346" y="4929941"/>
            <a:ext cx="2883274" cy="191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www.islamnews.ru/wp-content/uploads/2013-04/1367134816/release-hGFqeumHJR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0515" y="4939312"/>
            <a:ext cx="2558250" cy="1918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contental.ru/wp-content/uploads/2013/11/fotobanki-stoki-istochniki-kartinok-dlya-sayta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2" r="49315"/>
          <a:stretch/>
        </p:blipFill>
        <p:spPr bwMode="auto">
          <a:xfrm>
            <a:off x="165100" y="4934601"/>
            <a:ext cx="2877094" cy="1892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Изображение 10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8130181" y="-184647"/>
            <a:ext cx="1206500" cy="1511300"/>
          </a:xfrm>
          <a:prstGeom prst="rect">
            <a:avLst/>
          </a:prstGeom>
        </p:spPr>
      </p:pic>
      <p:pic>
        <p:nvPicPr>
          <p:cNvPr id="16" name="Picture 2" descr="BI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4445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C:\Users\amarat\Desktop\сыфысыыыыыы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77687"/>
            <a:ext cx="4426527" cy="6946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object 2"/>
          <p:cNvSpPr txBox="1">
            <a:spLocks/>
          </p:cNvSpPr>
          <p:nvPr/>
        </p:nvSpPr>
        <p:spPr>
          <a:xfrm>
            <a:off x="237870" y="449871"/>
            <a:ext cx="3952293" cy="307777"/>
          </a:xfrm>
          <a:prstGeom prst="rect">
            <a:avLst/>
          </a:prstGeom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ts val="2358"/>
              </a:lnSpc>
            </a:pPr>
            <a:r>
              <a:rPr lang="ru-RU" sz="2000" spc="-30" dirty="0" smtClean="0">
                <a:solidFill>
                  <a:srgbClr val="FFFFFF"/>
                </a:solidFill>
                <a:latin typeface="Trebuchet MS"/>
                <a:cs typeface="Trebuchet MS"/>
              </a:rPr>
              <a:t>Мобильные визит центры</a:t>
            </a:r>
            <a:endParaRPr lang="ru-RU" sz="2000" dirty="0">
              <a:latin typeface="Trebuchet MS"/>
              <a:cs typeface="Trebuchet MS"/>
            </a:endParaRPr>
          </a:p>
        </p:txBody>
      </p:sp>
      <p:pic>
        <p:nvPicPr>
          <p:cNvPr id="1026" name="Picture 2" descr="https://encrypted-tbn1.gstatic.com/images?q=tbn:ANd9GcRv9ICunfVo-w4Ob-QyGQ-LUSwLk2BbxflQ9Seb4k0ZzuX4BPQU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450" y="2654300"/>
            <a:ext cx="7262154" cy="3700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object 54"/>
          <p:cNvSpPr/>
          <p:nvPr/>
        </p:nvSpPr>
        <p:spPr>
          <a:xfrm>
            <a:off x="2740767" y="5419925"/>
            <a:ext cx="2609519" cy="293042"/>
          </a:xfrm>
          <a:prstGeom prst="rect">
            <a:avLst/>
          </a:prstGeom>
          <a:blipFill>
            <a:blip r:embed="rId4" cstate="print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47" name="Группа 46"/>
          <p:cNvGrpSpPr/>
          <p:nvPr/>
        </p:nvGrpSpPr>
        <p:grpSpPr>
          <a:xfrm>
            <a:off x="1687281" y="2876484"/>
            <a:ext cx="289964" cy="402307"/>
            <a:chOff x="1687281" y="2876484"/>
            <a:chExt cx="289964" cy="402307"/>
          </a:xfrm>
        </p:grpSpPr>
        <p:sp>
          <p:nvSpPr>
            <p:cNvPr id="19" name="object 16"/>
            <p:cNvSpPr/>
            <p:nvPr/>
          </p:nvSpPr>
          <p:spPr>
            <a:xfrm>
              <a:off x="1688367" y="3153035"/>
              <a:ext cx="288291" cy="42330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798"/>
            </a:p>
          </p:txBody>
        </p:sp>
        <p:sp>
          <p:nvSpPr>
            <p:cNvPr id="20" name="object 17"/>
            <p:cNvSpPr/>
            <p:nvPr/>
          </p:nvSpPr>
          <p:spPr>
            <a:xfrm>
              <a:off x="1688101" y="3250939"/>
              <a:ext cx="288835" cy="27852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798"/>
            </a:p>
          </p:txBody>
        </p:sp>
        <p:sp>
          <p:nvSpPr>
            <p:cNvPr id="21" name="object 18"/>
            <p:cNvSpPr/>
            <p:nvPr/>
          </p:nvSpPr>
          <p:spPr>
            <a:xfrm>
              <a:off x="1687281" y="3209557"/>
              <a:ext cx="289964" cy="35091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798"/>
            </a:p>
          </p:txBody>
        </p:sp>
        <p:sp>
          <p:nvSpPr>
            <p:cNvPr id="22" name="object 19"/>
            <p:cNvSpPr/>
            <p:nvPr/>
          </p:nvSpPr>
          <p:spPr>
            <a:xfrm>
              <a:off x="1799884" y="2876484"/>
              <a:ext cx="65060" cy="153762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798"/>
            </a:p>
          </p:txBody>
        </p:sp>
        <p:sp>
          <p:nvSpPr>
            <p:cNvPr id="23" name="object 20"/>
            <p:cNvSpPr/>
            <p:nvPr/>
          </p:nvSpPr>
          <p:spPr>
            <a:xfrm>
              <a:off x="1812667" y="2960697"/>
              <a:ext cx="52277" cy="69549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798"/>
            </a:p>
          </p:txBody>
        </p:sp>
        <p:sp>
          <p:nvSpPr>
            <p:cNvPr id="24" name="object 21"/>
            <p:cNvSpPr/>
            <p:nvPr/>
          </p:nvSpPr>
          <p:spPr>
            <a:xfrm>
              <a:off x="1836207" y="3029813"/>
              <a:ext cx="140692" cy="88774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798"/>
            </a:p>
          </p:txBody>
        </p:sp>
        <p:sp>
          <p:nvSpPr>
            <p:cNvPr id="25" name="object 22"/>
            <p:cNvSpPr/>
            <p:nvPr/>
          </p:nvSpPr>
          <p:spPr>
            <a:xfrm>
              <a:off x="1836207" y="3029813"/>
              <a:ext cx="48950" cy="71542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798"/>
            </a:p>
          </p:txBody>
        </p:sp>
        <p:sp>
          <p:nvSpPr>
            <p:cNvPr id="26" name="object 23"/>
            <p:cNvSpPr/>
            <p:nvPr/>
          </p:nvSpPr>
          <p:spPr>
            <a:xfrm>
              <a:off x="1688120" y="3029765"/>
              <a:ext cx="140265" cy="88732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798"/>
            </a:p>
          </p:txBody>
        </p:sp>
        <p:sp>
          <p:nvSpPr>
            <p:cNvPr id="27" name="object 24"/>
            <p:cNvSpPr/>
            <p:nvPr/>
          </p:nvSpPr>
          <p:spPr>
            <a:xfrm>
              <a:off x="1747323" y="3029765"/>
              <a:ext cx="81062" cy="37996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798"/>
            </a:p>
          </p:txBody>
        </p:sp>
      </p:grpSp>
      <p:grpSp>
        <p:nvGrpSpPr>
          <p:cNvPr id="41" name="Группа 40"/>
          <p:cNvGrpSpPr/>
          <p:nvPr/>
        </p:nvGrpSpPr>
        <p:grpSpPr>
          <a:xfrm>
            <a:off x="6743700" y="4235078"/>
            <a:ext cx="326635" cy="464367"/>
            <a:chOff x="6743700" y="4235078"/>
            <a:chExt cx="326635" cy="464367"/>
          </a:xfrm>
        </p:grpSpPr>
        <p:sp>
          <p:nvSpPr>
            <p:cNvPr id="29" name="object 16"/>
            <p:cNvSpPr/>
            <p:nvPr/>
          </p:nvSpPr>
          <p:spPr>
            <a:xfrm>
              <a:off x="6744923" y="4554290"/>
              <a:ext cx="324751" cy="48860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798"/>
            </a:p>
          </p:txBody>
        </p:sp>
        <p:sp>
          <p:nvSpPr>
            <p:cNvPr id="30" name="object 17"/>
            <p:cNvSpPr/>
            <p:nvPr/>
          </p:nvSpPr>
          <p:spPr>
            <a:xfrm>
              <a:off x="6744624" y="4667297"/>
              <a:ext cx="325363" cy="32148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798"/>
            </a:p>
          </p:txBody>
        </p:sp>
        <p:sp>
          <p:nvSpPr>
            <p:cNvPr id="31" name="object 18"/>
            <p:cNvSpPr/>
            <p:nvPr/>
          </p:nvSpPr>
          <p:spPr>
            <a:xfrm>
              <a:off x="6743700" y="4619531"/>
              <a:ext cx="326635" cy="40504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798"/>
            </a:p>
          </p:txBody>
        </p:sp>
        <p:sp>
          <p:nvSpPr>
            <p:cNvPr id="32" name="object 19"/>
            <p:cNvSpPr/>
            <p:nvPr/>
          </p:nvSpPr>
          <p:spPr>
            <a:xfrm>
              <a:off x="6870543" y="4235078"/>
              <a:ext cx="73288" cy="177482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798"/>
            </a:p>
          </p:txBody>
        </p:sp>
        <p:sp>
          <p:nvSpPr>
            <p:cNvPr id="33" name="object 20"/>
            <p:cNvSpPr/>
            <p:nvPr/>
          </p:nvSpPr>
          <p:spPr>
            <a:xfrm>
              <a:off x="6884943" y="4332282"/>
              <a:ext cx="58889" cy="80278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798"/>
            </a:p>
          </p:txBody>
        </p:sp>
        <p:sp>
          <p:nvSpPr>
            <p:cNvPr id="34" name="object 21"/>
            <p:cNvSpPr/>
            <p:nvPr/>
          </p:nvSpPr>
          <p:spPr>
            <a:xfrm>
              <a:off x="6911460" y="4412059"/>
              <a:ext cx="158485" cy="102469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798"/>
            </a:p>
          </p:txBody>
        </p:sp>
        <p:sp>
          <p:nvSpPr>
            <p:cNvPr id="35" name="object 22"/>
            <p:cNvSpPr/>
            <p:nvPr/>
          </p:nvSpPr>
          <p:spPr>
            <a:xfrm>
              <a:off x="6911460" y="4412059"/>
              <a:ext cx="55141" cy="82578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798"/>
            </a:p>
          </p:txBody>
        </p:sp>
        <p:sp>
          <p:nvSpPr>
            <p:cNvPr id="36" name="object 23"/>
            <p:cNvSpPr/>
            <p:nvPr/>
          </p:nvSpPr>
          <p:spPr>
            <a:xfrm>
              <a:off x="6744645" y="4412004"/>
              <a:ext cx="158004" cy="102420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798"/>
            </a:p>
          </p:txBody>
        </p:sp>
        <p:sp>
          <p:nvSpPr>
            <p:cNvPr id="37" name="object 24"/>
            <p:cNvSpPr/>
            <p:nvPr/>
          </p:nvSpPr>
          <p:spPr>
            <a:xfrm>
              <a:off x="6811335" y="4412004"/>
              <a:ext cx="91314" cy="43857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798"/>
            </a:p>
          </p:txBody>
        </p:sp>
      </p:grpSp>
      <p:sp>
        <p:nvSpPr>
          <p:cNvPr id="38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1592995" y="2876484"/>
            <a:ext cx="2895600" cy="365125"/>
          </a:xfrm>
        </p:spPr>
        <p:txBody>
          <a:bodyPr/>
          <a:lstStyle/>
          <a:p>
            <a:r>
              <a:rPr lang="en-US" sz="1400" dirty="0" smtClean="0">
                <a:solidFill>
                  <a:schemeClr val="accent3">
                    <a:lumMod val="50000"/>
                  </a:schemeClr>
                </a:solidFill>
              </a:rPr>
              <a:t>www.expo2017astana.com</a:t>
            </a:r>
            <a:endParaRPr lang="ru-RU" sz="1400" dirty="0">
              <a:solidFill>
                <a:schemeClr val="accent3">
                  <a:lumMod val="50000"/>
                </a:schemeClr>
              </a:solidFill>
            </a:endParaRPr>
          </a:p>
        </p:txBody>
      </p:sp>
      <p:pic>
        <p:nvPicPr>
          <p:cNvPr id="1028" name="Picture 4" descr="http://thumbs.dreamstime.com/t/%D0%B3%D0%BE%D1%80%D0%B8%D0%B7%D0%BE%D0%BD%D1%82-%D0%B0%D1%81%D1%82%D0%B0%D0%BD%D1%8B-50578491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0766" y="4588913"/>
            <a:ext cx="2609519" cy="79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7716570" y="2853835"/>
            <a:ext cx="4057521" cy="255454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spc="-30" dirty="0" smtClean="0">
                <a:solidFill>
                  <a:schemeClr val="accent3">
                    <a:lumMod val="7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Громкоговоритель</a:t>
            </a:r>
          </a:p>
          <a:p>
            <a:r>
              <a:rPr lang="ru-RU" sz="2000" spc="-30" dirty="0" smtClean="0">
                <a:solidFill>
                  <a:schemeClr val="accent3">
                    <a:lumMod val="7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Монитором </a:t>
            </a:r>
            <a:r>
              <a:rPr lang="ru-RU" sz="2000" spc="-30" dirty="0">
                <a:solidFill>
                  <a:schemeClr val="accent3">
                    <a:lumMod val="7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для транслирования</a:t>
            </a:r>
          </a:p>
          <a:p>
            <a:r>
              <a:rPr lang="ru-RU" sz="2000" spc="-30" dirty="0" smtClean="0">
                <a:solidFill>
                  <a:schemeClr val="accent3">
                    <a:lumMod val="7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видео </a:t>
            </a:r>
            <a:r>
              <a:rPr lang="ru-RU" sz="2000" spc="-30" dirty="0">
                <a:solidFill>
                  <a:schemeClr val="accent3">
                    <a:lumMod val="7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материалов и презентаций</a:t>
            </a:r>
          </a:p>
          <a:p>
            <a:r>
              <a:rPr lang="ru-RU" sz="2000" spc="-30" dirty="0" smtClean="0">
                <a:solidFill>
                  <a:schemeClr val="accent3">
                    <a:lumMod val="7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Столик для промо материалов</a:t>
            </a:r>
          </a:p>
          <a:p>
            <a:r>
              <a:rPr lang="ru-RU" sz="2000" spc="-30" dirty="0" smtClean="0">
                <a:solidFill>
                  <a:schemeClr val="accent3">
                    <a:lumMod val="7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Планшеты</a:t>
            </a:r>
            <a:endParaRPr lang="ru-RU" sz="2000" spc="-30" dirty="0">
              <a:solidFill>
                <a:schemeClr val="accent3">
                  <a:lumMod val="75000"/>
                </a:schemeClr>
              </a:solidFill>
              <a:latin typeface="Trebuchet MS"/>
              <a:ea typeface="MS PGothic" panose="020B0600070205080204" pitchFamily="34" charset="-128"/>
              <a:cs typeface="Trebuchet MS"/>
            </a:endParaRPr>
          </a:p>
          <a:p>
            <a:r>
              <a:rPr lang="ru-RU" sz="2000" spc="-30" dirty="0">
                <a:solidFill>
                  <a:schemeClr val="accent3">
                    <a:lumMod val="7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Аудиогиды</a:t>
            </a:r>
          </a:p>
          <a:p>
            <a:r>
              <a:rPr lang="ru-RU" sz="2000" spc="-30" dirty="0" smtClean="0">
                <a:solidFill>
                  <a:schemeClr val="accent3">
                    <a:lumMod val="7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Календарь мероприятий</a:t>
            </a:r>
          </a:p>
          <a:p>
            <a:r>
              <a:rPr lang="ru-RU" sz="2000" spc="-30" dirty="0" smtClean="0">
                <a:solidFill>
                  <a:schemeClr val="accent3">
                    <a:lumMod val="7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Карта </a:t>
            </a:r>
            <a:r>
              <a:rPr lang="ru-RU" sz="2000" spc="-30" dirty="0">
                <a:solidFill>
                  <a:schemeClr val="accent3">
                    <a:lumMod val="7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города</a:t>
            </a:r>
          </a:p>
        </p:txBody>
      </p:sp>
      <p:pic>
        <p:nvPicPr>
          <p:cNvPr id="44" name="Picture 2" descr="C:\Users\funky_hero\Desktop\new_presa\parts\q-68.png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40" t="818" r="2229" b="75128"/>
          <a:stretch/>
        </p:blipFill>
        <p:spPr bwMode="auto">
          <a:xfrm>
            <a:off x="6667910" y="1884878"/>
            <a:ext cx="4693147" cy="1582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" descr="C:\Users\funky_hero\Desktop\new_presa\parts\q-68.png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007" t="32155" r="2343" b="46880"/>
          <a:stretch/>
        </p:blipFill>
        <p:spPr bwMode="auto">
          <a:xfrm>
            <a:off x="3145876" y="1750138"/>
            <a:ext cx="3439885" cy="1378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" descr="C:\Users\funky_hero\Desktop\new_presa\parts\q-68.png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09" t="70581" r="1960" b="22798"/>
          <a:stretch/>
        </p:blipFill>
        <p:spPr bwMode="auto">
          <a:xfrm>
            <a:off x="5229249" y="5183700"/>
            <a:ext cx="6603804" cy="435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TextBox 39"/>
          <p:cNvSpPr txBox="1"/>
          <p:nvPr/>
        </p:nvSpPr>
        <p:spPr>
          <a:xfrm>
            <a:off x="7691855" y="1884878"/>
            <a:ext cx="414119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spc="-30" dirty="0">
                <a:solidFill>
                  <a:schemeClr val="accent3">
                    <a:lumMod val="7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Водитель – работник визит центра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3729413" y="1594068"/>
            <a:ext cx="301428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spc="-30" dirty="0" err="1" smtClean="0">
                <a:solidFill>
                  <a:schemeClr val="accent3">
                    <a:lumMod val="7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Брендинг</a:t>
            </a:r>
            <a:r>
              <a:rPr lang="ru-RU" sz="2000" spc="-30" dirty="0" smtClean="0">
                <a:solidFill>
                  <a:schemeClr val="accent3">
                    <a:lumMod val="7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: </a:t>
            </a:r>
          </a:p>
          <a:p>
            <a:r>
              <a:rPr lang="ru-RU" sz="2000" spc="-30" dirty="0" smtClean="0">
                <a:solidFill>
                  <a:schemeClr val="accent3">
                    <a:lumMod val="75000"/>
                  </a:schemeClr>
                </a:solidFill>
                <a:latin typeface="Trebuchet MS"/>
                <a:ea typeface="MS PGothic" panose="020B0600070205080204" pitchFamily="34" charset="-128"/>
                <a:cs typeface="Trebuchet MS"/>
              </a:rPr>
              <a:t>Казахстан и ЭКСПО-2017</a:t>
            </a:r>
            <a:endParaRPr lang="ru-RU" sz="2000" spc="-30" dirty="0">
              <a:solidFill>
                <a:schemeClr val="accent3">
                  <a:lumMod val="75000"/>
                </a:schemeClr>
              </a:solidFill>
              <a:latin typeface="Trebuchet MS"/>
              <a:ea typeface="MS PGothic" panose="020B0600070205080204" pitchFamily="34" charset="-128"/>
              <a:cs typeface="Trebuchet MS"/>
            </a:endParaRPr>
          </a:p>
        </p:txBody>
      </p:sp>
      <p:pic>
        <p:nvPicPr>
          <p:cNvPr id="39" name="Изображение 10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8130181" y="-184647"/>
            <a:ext cx="1206500" cy="1511300"/>
          </a:xfrm>
          <a:prstGeom prst="rect">
            <a:avLst/>
          </a:prstGeom>
        </p:spPr>
      </p:pic>
      <p:pic>
        <p:nvPicPr>
          <p:cNvPr id="42" name="Picture 2" descr="BIE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525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bject 25"/>
          <p:cNvSpPr/>
          <p:nvPr/>
        </p:nvSpPr>
        <p:spPr>
          <a:xfrm>
            <a:off x="159118" y="3060493"/>
            <a:ext cx="10662989" cy="193164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798"/>
          </a:p>
        </p:txBody>
      </p:sp>
      <p:sp>
        <p:nvSpPr>
          <p:cNvPr id="26" name="object 26"/>
          <p:cNvSpPr/>
          <p:nvPr/>
        </p:nvSpPr>
        <p:spPr>
          <a:xfrm>
            <a:off x="378653" y="3400012"/>
            <a:ext cx="9904331" cy="103937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798"/>
          </a:p>
        </p:txBody>
      </p:sp>
      <p:sp>
        <p:nvSpPr>
          <p:cNvPr id="27" name="object 27"/>
          <p:cNvSpPr/>
          <p:nvPr/>
        </p:nvSpPr>
        <p:spPr>
          <a:xfrm>
            <a:off x="6779" y="3216231"/>
            <a:ext cx="430069" cy="134210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798"/>
          </a:p>
        </p:txBody>
      </p:sp>
      <p:sp>
        <p:nvSpPr>
          <p:cNvPr id="28" name="object 28"/>
          <p:cNvSpPr/>
          <p:nvPr/>
        </p:nvSpPr>
        <p:spPr>
          <a:xfrm>
            <a:off x="159118" y="2117175"/>
            <a:ext cx="8799554" cy="193346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798"/>
          </a:p>
        </p:txBody>
      </p:sp>
      <p:sp>
        <p:nvSpPr>
          <p:cNvPr id="29" name="object 29"/>
          <p:cNvSpPr/>
          <p:nvPr/>
        </p:nvSpPr>
        <p:spPr>
          <a:xfrm>
            <a:off x="378653" y="2456686"/>
            <a:ext cx="8040744" cy="103938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798"/>
          </a:p>
        </p:txBody>
      </p:sp>
      <p:sp>
        <p:nvSpPr>
          <p:cNvPr id="30" name="object 30"/>
          <p:cNvSpPr/>
          <p:nvPr/>
        </p:nvSpPr>
        <p:spPr>
          <a:xfrm>
            <a:off x="172473" y="1079117"/>
            <a:ext cx="7441554" cy="1933466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798"/>
          </a:p>
        </p:txBody>
      </p:sp>
      <p:sp>
        <p:nvSpPr>
          <p:cNvPr id="31" name="object 31"/>
          <p:cNvSpPr/>
          <p:nvPr/>
        </p:nvSpPr>
        <p:spPr>
          <a:xfrm>
            <a:off x="433981" y="1447756"/>
            <a:ext cx="6670698" cy="101971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798"/>
          </a:p>
        </p:txBody>
      </p:sp>
      <p:sp>
        <p:nvSpPr>
          <p:cNvPr id="34" name="object 34"/>
          <p:cNvSpPr/>
          <p:nvPr/>
        </p:nvSpPr>
        <p:spPr>
          <a:xfrm>
            <a:off x="6779" y="2272906"/>
            <a:ext cx="430069" cy="125000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798"/>
          </a:p>
        </p:txBody>
      </p:sp>
      <p:sp>
        <p:nvSpPr>
          <p:cNvPr id="35" name="object 35"/>
          <p:cNvSpPr/>
          <p:nvPr/>
        </p:nvSpPr>
        <p:spPr>
          <a:xfrm>
            <a:off x="6779" y="1250021"/>
            <a:ext cx="430069" cy="1207235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798"/>
          </a:p>
        </p:txBody>
      </p:sp>
      <p:pic>
        <p:nvPicPr>
          <p:cNvPr id="59" name="Picture 5" descr="C:\Users\amarat\Desktop\сыфысыыыыыы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287310"/>
            <a:ext cx="4421921" cy="6939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Прямоугольник 59"/>
          <p:cNvSpPr/>
          <p:nvPr/>
        </p:nvSpPr>
        <p:spPr>
          <a:xfrm>
            <a:off x="159118" y="321740"/>
            <a:ext cx="404617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674"/>
            <a:r>
              <a:rPr lang="ru-RU" spc="-110" dirty="0" smtClean="0">
                <a:solidFill>
                  <a:srgbClr val="FFFFFF"/>
                </a:solidFill>
                <a:latin typeface="Arial"/>
                <a:cs typeface="Arial"/>
              </a:rPr>
              <a:t>Требования к официальным </a:t>
            </a:r>
            <a:r>
              <a:rPr lang="ru-RU" spc="-110" dirty="0" err="1" smtClean="0">
                <a:solidFill>
                  <a:srgbClr val="FFFFFF"/>
                </a:solidFill>
                <a:latin typeface="Arial"/>
                <a:cs typeface="Arial"/>
              </a:rPr>
              <a:t>реселерам</a:t>
            </a:r>
            <a:r>
              <a:rPr lang="ru-RU" spc="-110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</a:p>
          <a:p>
            <a:pPr marL="12674"/>
            <a:r>
              <a:rPr lang="ru-RU" i="1" spc="-110" dirty="0" smtClean="0">
                <a:solidFill>
                  <a:srgbClr val="FFFFFF"/>
                </a:solidFill>
                <a:latin typeface="Arial"/>
                <a:cs typeface="Arial"/>
              </a:rPr>
              <a:t>(в </a:t>
            </a:r>
            <a:r>
              <a:rPr lang="ru-RU" i="1" spc="-110" dirty="0" err="1" smtClean="0">
                <a:solidFill>
                  <a:srgbClr val="FFFFFF"/>
                </a:solidFill>
                <a:latin typeface="Arial"/>
                <a:cs typeface="Arial"/>
              </a:rPr>
              <a:t>т.ч</a:t>
            </a:r>
            <a:r>
              <a:rPr lang="ru-RU" i="1" spc="-110" dirty="0" smtClean="0">
                <a:solidFill>
                  <a:srgbClr val="FFFFFF"/>
                </a:solidFill>
                <a:latin typeface="Arial"/>
                <a:cs typeface="Arial"/>
              </a:rPr>
              <a:t>. туроператорам)</a:t>
            </a:r>
            <a:endParaRPr lang="ru-RU" i="1" spc="-11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2" name="object 61"/>
          <p:cNvSpPr txBox="1"/>
          <p:nvPr/>
        </p:nvSpPr>
        <p:spPr>
          <a:xfrm>
            <a:off x="679015" y="1585214"/>
            <a:ext cx="6222049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74"/>
            <a:r>
              <a:rPr lang="ru-RU" sz="2400" spc="-110" dirty="0" smtClean="0">
                <a:solidFill>
                  <a:srgbClr val="FFFFFF"/>
                </a:solidFill>
                <a:latin typeface="Arial"/>
                <a:cs typeface="Arial"/>
              </a:rPr>
              <a:t>Г</a:t>
            </a:r>
            <a:r>
              <a:rPr lang="ru-RU" sz="2400" spc="10" dirty="0" smtClean="0">
                <a:solidFill>
                  <a:srgbClr val="FFFFFF"/>
                </a:solidFill>
                <a:latin typeface="Arial"/>
                <a:cs typeface="Arial"/>
              </a:rPr>
              <a:t>арантированный</a:t>
            </a:r>
            <a:r>
              <a:rPr lang="ru-RU" sz="2400" spc="-55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ru-RU" sz="2400" spc="-35" dirty="0" smtClean="0">
                <a:solidFill>
                  <a:srgbClr val="FFFFFF"/>
                </a:solidFill>
                <a:latin typeface="Arial"/>
                <a:cs typeface="Arial"/>
              </a:rPr>
              <a:t>объем</a:t>
            </a:r>
            <a:r>
              <a:rPr lang="ru-RU" sz="2400" spc="-55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</a:p>
          <a:p>
            <a:pPr marL="12674"/>
            <a:r>
              <a:rPr lang="ru-RU" sz="2400" spc="5" dirty="0" smtClean="0">
                <a:solidFill>
                  <a:srgbClr val="FFFFFF"/>
                </a:solidFill>
                <a:latin typeface="Arial"/>
                <a:cs typeface="Arial"/>
              </a:rPr>
              <a:t>пр</a:t>
            </a:r>
            <a:r>
              <a:rPr lang="ru-RU" sz="2400" spc="-40" dirty="0" smtClean="0">
                <a:solidFill>
                  <a:srgbClr val="FFFFFF"/>
                </a:solidFill>
                <a:latin typeface="Arial"/>
                <a:cs typeface="Arial"/>
              </a:rPr>
              <a:t>о</a:t>
            </a:r>
            <a:r>
              <a:rPr lang="ru-RU" sz="2400" spc="-20" dirty="0" smtClean="0">
                <a:solidFill>
                  <a:srgbClr val="FFFFFF"/>
                </a:solidFill>
                <a:latin typeface="Arial"/>
                <a:cs typeface="Arial"/>
              </a:rPr>
              <a:t>д</a:t>
            </a:r>
            <a:r>
              <a:rPr lang="ru-RU" sz="2400" spc="50" dirty="0" smtClean="0">
                <a:solidFill>
                  <a:srgbClr val="FFFFFF"/>
                </a:solidFill>
                <a:latin typeface="Arial"/>
                <a:cs typeface="Arial"/>
              </a:rPr>
              <a:t>аж:</a:t>
            </a:r>
            <a:r>
              <a:rPr sz="2400" spc="-55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ru-RU" sz="2400" spc="10" dirty="0" smtClean="0">
                <a:solidFill>
                  <a:srgbClr val="FFFFFF"/>
                </a:solidFill>
                <a:latin typeface="Arial"/>
                <a:cs typeface="Arial"/>
              </a:rPr>
              <a:t>не менее 5000 билетов</a:t>
            </a:r>
            <a:endParaRPr sz="2400" dirty="0">
              <a:latin typeface="Arial"/>
              <a:cs typeface="Arial"/>
            </a:endParaRPr>
          </a:p>
        </p:txBody>
      </p:sp>
      <p:sp>
        <p:nvSpPr>
          <p:cNvPr id="64" name="object 69"/>
          <p:cNvSpPr txBox="1"/>
          <p:nvPr/>
        </p:nvSpPr>
        <p:spPr>
          <a:xfrm>
            <a:off x="656383" y="2456686"/>
            <a:ext cx="7637681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74"/>
            <a:r>
              <a:rPr sz="2400" spc="105" dirty="0" err="1">
                <a:solidFill>
                  <a:srgbClr val="FFFFFF"/>
                </a:solidFill>
                <a:latin typeface="Arial"/>
                <a:cs typeface="Arial"/>
              </a:rPr>
              <a:t>Маркетинг</a:t>
            </a:r>
            <a:r>
              <a:rPr lang="ru-RU" sz="2400" spc="105" dirty="0" err="1">
                <a:solidFill>
                  <a:srgbClr val="FFFFFF"/>
                </a:solidFill>
                <a:latin typeface="Arial"/>
                <a:cs typeface="Arial"/>
              </a:rPr>
              <a:t>ове</a:t>
            </a:r>
            <a:r>
              <a:rPr lang="ru-RU" sz="2400" spc="105" dirty="0">
                <a:solidFill>
                  <a:srgbClr val="FFFFFF"/>
                </a:solidFill>
                <a:latin typeface="Arial"/>
                <a:cs typeface="Arial"/>
              </a:rPr>
              <a:t> вложения: </a:t>
            </a:r>
            <a:r>
              <a:rPr lang="ru-RU" sz="2400" spc="105" dirty="0" smtClean="0">
                <a:solidFill>
                  <a:srgbClr val="FFFFFF"/>
                </a:solidFill>
                <a:latin typeface="Arial"/>
                <a:cs typeface="Arial"/>
              </a:rPr>
              <a:t>сайт, раздаточные материалы, карты на нескольких языках </a:t>
            </a:r>
          </a:p>
          <a:p>
            <a:pPr marL="12674"/>
            <a:r>
              <a:rPr lang="ru-RU" spc="105" dirty="0" smtClean="0">
                <a:solidFill>
                  <a:srgbClr val="FFFFFF"/>
                </a:solidFill>
                <a:latin typeface="Arial"/>
                <a:cs typeface="Arial"/>
              </a:rPr>
              <a:t>(казахский, русский, английский, немецкий, японский, фарси)</a:t>
            </a:r>
            <a:endParaRPr dirty="0">
              <a:latin typeface="Arial"/>
              <a:cs typeface="Arial"/>
            </a:endParaRPr>
          </a:p>
        </p:txBody>
      </p:sp>
      <p:sp>
        <p:nvSpPr>
          <p:cNvPr id="65" name="object 70"/>
          <p:cNvSpPr txBox="1"/>
          <p:nvPr/>
        </p:nvSpPr>
        <p:spPr>
          <a:xfrm>
            <a:off x="656383" y="3796733"/>
            <a:ext cx="9114717" cy="4376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74"/>
            <a:r>
              <a:rPr lang="ru-RU" sz="2844" spc="-125" dirty="0" smtClean="0">
                <a:solidFill>
                  <a:srgbClr val="FFFFFF"/>
                </a:solidFill>
                <a:latin typeface="Arial"/>
                <a:cs typeface="Arial"/>
              </a:rPr>
              <a:t>Пакетирование </a:t>
            </a:r>
            <a:r>
              <a:rPr lang="ru-RU" sz="2400" spc="-125" dirty="0" smtClean="0">
                <a:solidFill>
                  <a:srgbClr val="FFFFFF"/>
                </a:solidFill>
                <a:latin typeface="Arial"/>
                <a:cs typeface="Arial"/>
              </a:rPr>
              <a:t>(договорные отношения с билетным оператором)</a:t>
            </a:r>
            <a:endParaRPr sz="2400" spc="-125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9" name="object 29"/>
          <p:cNvSpPr/>
          <p:nvPr/>
        </p:nvSpPr>
        <p:spPr>
          <a:xfrm>
            <a:off x="53730" y="4726230"/>
            <a:ext cx="2287274" cy="1306421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798"/>
          </a:p>
        </p:txBody>
      </p:sp>
      <p:sp>
        <p:nvSpPr>
          <p:cNvPr id="40" name="object 30"/>
          <p:cNvSpPr/>
          <p:nvPr/>
        </p:nvSpPr>
        <p:spPr>
          <a:xfrm>
            <a:off x="53730" y="6131824"/>
            <a:ext cx="2041582" cy="511151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798"/>
          </a:p>
        </p:txBody>
      </p:sp>
      <p:sp>
        <p:nvSpPr>
          <p:cNvPr id="41" name="object 31"/>
          <p:cNvSpPr txBox="1"/>
          <p:nvPr/>
        </p:nvSpPr>
        <p:spPr>
          <a:xfrm>
            <a:off x="283163" y="6279677"/>
            <a:ext cx="114636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87">
              <a:spcBef>
                <a:spcPts val="5"/>
              </a:spcBef>
            </a:pPr>
            <a:r>
              <a:rPr lang="ru-RU" sz="1400" i="1" spc="-125" dirty="0" smtClean="0">
                <a:solidFill>
                  <a:srgbClr val="FFFFFF"/>
                </a:solidFill>
                <a:latin typeface="Arial"/>
                <a:cs typeface="Arial"/>
              </a:rPr>
              <a:t>Т</a:t>
            </a:r>
            <a:r>
              <a:rPr sz="1400" i="1" spc="-125" dirty="0" err="1" smtClean="0">
                <a:solidFill>
                  <a:srgbClr val="FFFFFF"/>
                </a:solidFill>
                <a:latin typeface="Arial"/>
                <a:cs typeface="Arial"/>
              </a:rPr>
              <a:t>урпа</a:t>
            </a:r>
            <a:r>
              <a:rPr sz="1400" i="1" spc="-155" dirty="0" err="1" smtClean="0">
                <a:solidFill>
                  <a:srgbClr val="FFFFFF"/>
                </a:solidFill>
                <a:latin typeface="Arial"/>
                <a:cs typeface="Arial"/>
              </a:rPr>
              <a:t>к</a:t>
            </a:r>
            <a:r>
              <a:rPr sz="1400" i="1" spc="-105" dirty="0" err="1" smtClean="0">
                <a:solidFill>
                  <a:srgbClr val="FFFFFF"/>
                </a:solidFill>
                <a:latin typeface="Arial"/>
                <a:cs typeface="Arial"/>
              </a:rPr>
              <a:t>е</a:t>
            </a:r>
            <a:r>
              <a:rPr sz="1400" i="1" spc="-250" dirty="0" err="1" smtClean="0">
                <a:solidFill>
                  <a:srgbClr val="FFFFFF"/>
                </a:solidFill>
                <a:latin typeface="Arial"/>
                <a:cs typeface="Arial"/>
              </a:rPr>
              <a:t>ты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42" name="object 26"/>
          <p:cNvSpPr/>
          <p:nvPr/>
        </p:nvSpPr>
        <p:spPr>
          <a:xfrm>
            <a:off x="4952369" y="4717660"/>
            <a:ext cx="2287261" cy="1306421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798"/>
          </a:p>
        </p:txBody>
      </p:sp>
      <p:sp>
        <p:nvSpPr>
          <p:cNvPr id="43" name="object 27"/>
          <p:cNvSpPr/>
          <p:nvPr/>
        </p:nvSpPr>
        <p:spPr>
          <a:xfrm>
            <a:off x="4952369" y="6123254"/>
            <a:ext cx="2041569" cy="511151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798"/>
          </a:p>
        </p:txBody>
      </p:sp>
      <p:sp>
        <p:nvSpPr>
          <p:cNvPr id="44" name="object 28"/>
          <p:cNvSpPr txBox="1"/>
          <p:nvPr/>
        </p:nvSpPr>
        <p:spPr>
          <a:xfrm>
            <a:off x="5167747" y="6286376"/>
            <a:ext cx="1748873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87">
              <a:spcBef>
                <a:spcPts val="5"/>
              </a:spcBef>
            </a:pPr>
            <a:r>
              <a:rPr sz="1400" i="1" spc="-15" dirty="0" smtClean="0">
                <a:solidFill>
                  <a:srgbClr val="FFFFFF"/>
                </a:solidFill>
                <a:latin typeface="Arial"/>
                <a:cs typeface="Arial"/>
              </a:rPr>
              <a:t>Ж/д</a:t>
            </a:r>
            <a:r>
              <a:rPr sz="1400" i="1" spc="-80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ru-RU" sz="1400" i="1" spc="-80" dirty="0" smtClean="0">
                <a:solidFill>
                  <a:srgbClr val="FFFFFF"/>
                </a:solidFill>
                <a:latin typeface="Arial"/>
                <a:cs typeface="Arial"/>
              </a:rPr>
              <a:t>+ </a:t>
            </a:r>
            <a:r>
              <a:rPr lang="ru-RU" sz="1400" i="1" spc="-65" dirty="0" smtClean="0">
                <a:solidFill>
                  <a:srgbClr val="FFFFFF"/>
                </a:solidFill>
                <a:latin typeface="Arial"/>
                <a:cs typeface="Arial"/>
              </a:rPr>
              <a:t>ЭКСПО-2017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45" name="object 32"/>
          <p:cNvSpPr/>
          <p:nvPr/>
        </p:nvSpPr>
        <p:spPr>
          <a:xfrm>
            <a:off x="2488476" y="4717660"/>
            <a:ext cx="2287274" cy="1306421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798"/>
          </a:p>
        </p:txBody>
      </p:sp>
      <p:sp>
        <p:nvSpPr>
          <p:cNvPr id="46" name="object 33"/>
          <p:cNvSpPr/>
          <p:nvPr/>
        </p:nvSpPr>
        <p:spPr>
          <a:xfrm>
            <a:off x="2488476" y="6123254"/>
            <a:ext cx="2055538" cy="511151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798"/>
          </a:p>
        </p:txBody>
      </p:sp>
      <p:sp>
        <p:nvSpPr>
          <p:cNvPr id="47" name="object 34"/>
          <p:cNvSpPr txBox="1"/>
          <p:nvPr/>
        </p:nvSpPr>
        <p:spPr>
          <a:xfrm>
            <a:off x="2665095" y="6278841"/>
            <a:ext cx="169749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87">
              <a:spcBef>
                <a:spcPts val="5"/>
              </a:spcBef>
            </a:pPr>
            <a:r>
              <a:rPr sz="1400" i="1" spc="-60" dirty="0" err="1" smtClean="0">
                <a:solidFill>
                  <a:srgbClr val="FFFFFF"/>
                </a:solidFill>
                <a:latin typeface="Arial"/>
                <a:cs typeface="Arial"/>
              </a:rPr>
              <a:t>Авиа</a:t>
            </a:r>
            <a:r>
              <a:rPr sz="1400" i="1" spc="-80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ru-RU" sz="1400" i="1" spc="-65" dirty="0" smtClean="0">
                <a:solidFill>
                  <a:srgbClr val="FFFFFF"/>
                </a:solidFill>
                <a:latin typeface="Arial"/>
                <a:cs typeface="Arial"/>
              </a:rPr>
              <a:t>+ ЭКСПО-2017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48" name="object 23"/>
          <p:cNvSpPr/>
          <p:nvPr/>
        </p:nvSpPr>
        <p:spPr>
          <a:xfrm>
            <a:off x="7416249" y="4726230"/>
            <a:ext cx="2287274" cy="1306421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798"/>
          </a:p>
        </p:txBody>
      </p:sp>
      <p:sp>
        <p:nvSpPr>
          <p:cNvPr id="49" name="object 24"/>
          <p:cNvSpPr/>
          <p:nvPr/>
        </p:nvSpPr>
        <p:spPr>
          <a:xfrm>
            <a:off x="7416261" y="6131824"/>
            <a:ext cx="2061754" cy="511151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798"/>
          </a:p>
        </p:txBody>
      </p:sp>
      <p:sp>
        <p:nvSpPr>
          <p:cNvPr id="50" name="object 25"/>
          <p:cNvSpPr txBox="1"/>
          <p:nvPr/>
        </p:nvSpPr>
        <p:spPr>
          <a:xfrm>
            <a:off x="7608992" y="6264040"/>
            <a:ext cx="167629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87">
              <a:spcBef>
                <a:spcPts val="5"/>
              </a:spcBef>
            </a:pPr>
            <a:r>
              <a:rPr lang="ru-RU" sz="1400" i="1" spc="-90" dirty="0" smtClean="0">
                <a:solidFill>
                  <a:srgbClr val="FFFFFF"/>
                </a:solidFill>
                <a:latin typeface="Arial"/>
                <a:cs typeface="Arial"/>
              </a:rPr>
              <a:t>Отель+ЭКСПО-2017</a:t>
            </a:r>
            <a:endParaRPr sz="1400" dirty="0">
              <a:latin typeface="Arial"/>
              <a:cs typeface="Arial"/>
            </a:endParaRPr>
          </a:p>
        </p:txBody>
      </p:sp>
      <p:pic>
        <p:nvPicPr>
          <p:cNvPr id="1026" name="Picture 2" descr="https://i.ytimg.com/vi/KmLnSZHNzXg/maxresdefault.jpg"/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30" t="1045" r="16427" b="21162"/>
          <a:stretch/>
        </p:blipFill>
        <p:spPr bwMode="auto">
          <a:xfrm>
            <a:off x="9906694" y="4715317"/>
            <a:ext cx="2234848" cy="1284322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noFill/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object 24"/>
          <p:cNvSpPr/>
          <p:nvPr/>
        </p:nvSpPr>
        <p:spPr>
          <a:xfrm>
            <a:off x="9887137" y="6098729"/>
            <a:ext cx="2061754" cy="511151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798"/>
          </a:p>
        </p:txBody>
      </p:sp>
      <p:sp>
        <p:nvSpPr>
          <p:cNvPr id="52" name="object 25"/>
          <p:cNvSpPr txBox="1"/>
          <p:nvPr/>
        </p:nvSpPr>
        <p:spPr>
          <a:xfrm>
            <a:off x="10079868" y="6230945"/>
            <a:ext cx="167629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87">
              <a:spcBef>
                <a:spcPts val="5"/>
              </a:spcBef>
            </a:pPr>
            <a:r>
              <a:rPr lang="ru-RU" sz="1400" i="1" spc="-90" dirty="0" smtClean="0">
                <a:solidFill>
                  <a:srgbClr val="FFFFFF"/>
                </a:solidFill>
                <a:latin typeface="Arial"/>
                <a:cs typeface="Arial"/>
              </a:rPr>
              <a:t>Мобильные пакеты</a:t>
            </a:r>
            <a:endParaRPr sz="1400" dirty="0">
              <a:latin typeface="Arial"/>
              <a:cs typeface="Arial"/>
            </a:endParaRPr>
          </a:p>
        </p:txBody>
      </p:sp>
      <p:pic>
        <p:nvPicPr>
          <p:cNvPr id="53" name="Изображение 10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8130181" y="-184647"/>
            <a:ext cx="1206500" cy="1511300"/>
          </a:xfrm>
          <a:prstGeom prst="rect">
            <a:avLst/>
          </a:prstGeom>
        </p:spPr>
      </p:pic>
      <p:pic>
        <p:nvPicPr>
          <p:cNvPr id="54" name="Picture 2" descr="BIE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9559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Picture 2" descr="F:\сергей\expo\№3 преза_видео\work22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57043"/>
            <a:ext cx="12192000" cy="6915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" name="Рисунок 11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897" y="2251094"/>
            <a:ext cx="8265523" cy="3116362"/>
          </a:xfrm>
          <a:prstGeom prst="rect">
            <a:avLst/>
          </a:prstGeom>
        </p:spPr>
      </p:pic>
      <p:cxnSp>
        <p:nvCxnSpPr>
          <p:cNvPr id="118" name="Прямая соединительная линия 117"/>
          <p:cNvCxnSpPr/>
          <p:nvPr/>
        </p:nvCxnSpPr>
        <p:spPr>
          <a:xfrm>
            <a:off x="3258148" y="4843667"/>
            <a:ext cx="220" cy="51184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Прямая соединительная линия 118"/>
          <p:cNvCxnSpPr/>
          <p:nvPr/>
        </p:nvCxnSpPr>
        <p:spPr>
          <a:xfrm flipH="1">
            <a:off x="10539805" y="3402480"/>
            <a:ext cx="2615" cy="1957825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единительная линия 119"/>
          <p:cNvCxnSpPr/>
          <p:nvPr/>
        </p:nvCxnSpPr>
        <p:spPr>
          <a:xfrm>
            <a:off x="1954231" y="4486113"/>
            <a:ext cx="2035" cy="869632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Прямоугольник 126"/>
          <p:cNvSpPr/>
          <p:nvPr/>
        </p:nvSpPr>
        <p:spPr>
          <a:xfrm>
            <a:off x="1498543" y="4020591"/>
            <a:ext cx="922047" cy="4976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/>
              </a:rPr>
              <a:t>Астраханская </a:t>
            </a:r>
          </a:p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/>
              </a:rPr>
              <a:t>область</a:t>
            </a:r>
          </a:p>
          <a:p>
            <a:pPr algn="ctr"/>
            <a:r>
              <a:rPr lang="ru-RU" sz="878" u="sng" kern="1000" dirty="0">
                <a:solidFill>
                  <a:schemeClr val="bg1"/>
                </a:solidFill>
                <a:latin typeface="Neo Sans Pro" panose="020B0504030504040204"/>
              </a:rPr>
              <a:t>1 млн. чел.</a:t>
            </a:r>
          </a:p>
        </p:txBody>
      </p:sp>
      <p:sp>
        <p:nvSpPr>
          <p:cNvPr id="128" name="Прямоугольник 127"/>
          <p:cNvSpPr/>
          <p:nvPr/>
        </p:nvSpPr>
        <p:spPr>
          <a:xfrm>
            <a:off x="1938142" y="3112144"/>
            <a:ext cx="968535" cy="4976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Волгоградская </a:t>
            </a:r>
          </a:p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область</a:t>
            </a:r>
          </a:p>
          <a:p>
            <a:pPr algn="ctr"/>
            <a:r>
              <a:rPr lang="ru-RU" sz="878" u="sng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2,5 млн. чел.</a:t>
            </a:r>
          </a:p>
        </p:txBody>
      </p:sp>
      <p:sp>
        <p:nvSpPr>
          <p:cNvPr id="129" name="Прямоугольник 128"/>
          <p:cNvSpPr/>
          <p:nvPr/>
        </p:nvSpPr>
        <p:spPr>
          <a:xfrm>
            <a:off x="2831108" y="2615915"/>
            <a:ext cx="830677" cy="4976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Саратовская</a:t>
            </a:r>
          </a:p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область</a:t>
            </a:r>
          </a:p>
          <a:p>
            <a:pPr algn="ctr"/>
            <a:r>
              <a:rPr lang="ru-RU" sz="878" u="sng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2,5 млн. чел.</a:t>
            </a:r>
          </a:p>
        </p:txBody>
      </p:sp>
      <p:cxnSp>
        <p:nvCxnSpPr>
          <p:cNvPr id="130" name="Прямая соединительная линия 129"/>
          <p:cNvCxnSpPr/>
          <p:nvPr/>
        </p:nvCxnSpPr>
        <p:spPr>
          <a:xfrm flipH="1">
            <a:off x="4741532" y="2438975"/>
            <a:ext cx="2441" cy="99632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Прямоугольник 130"/>
          <p:cNvSpPr/>
          <p:nvPr/>
        </p:nvSpPr>
        <p:spPr>
          <a:xfrm>
            <a:off x="3582984" y="2188153"/>
            <a:ext cx="830677" cy="4976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Самарская</a:t>
            </a:r>
          </a:p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область</a:t>
            </a:r>
          </a:p>
          <a:p>
            <a:pPr algn="ctr"/>
            <a:r>
              <a:rPr lang="ru-RU" sz="878" u="sng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3,2 млн. чел.</a:t>
            </a:r>
          </a:p>
        </p:txBody>
      </p:sp>
      <p:sp>
        <p:nvSpPr>
          <p:cNvPr id="132" name="Прямоугольник 131"/>
          <p:cNvSpPr/>
          <p:nvPr/>
        </p:nvSpPr>
        <p:spPr>
          <a:xfrm>
            <a:off x="4275771" y="2013377"/>
            <a:ext cx="901209" cy="4976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Оренбургская</a:t>
            </a:r>
          </a:p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область</a:t>
            </a:r>
          </a:p>
          <a:p>
            <a:pPr algn="ctr"/>
            <a:r>
              <a:rPr lang="ru-RU" sz="878" u="sng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2 млн. чел.</a:t>
            </a:r>
          </a:p>
        </p:txBody>
      </p:sp>
      <p:sp>
        <p:nvSpPr>
          <p:cNvPr id="133" name="Прямоугольник 132"/>
          <p:cNvSpPr/>
          <p:nvPr/>
        </p:nvSpPr>
        <p:spPr>
          <a:xfrm>
            <a:off x="6290089" y="1634328"/>
            <a:ext cx="930681" cy="4976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Курганская</a:t>
            </a:r>
          </a:p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область</a:t>
            </a:r>
          </a:p>
          <a:p>
            <a:pPr algn="ctr"/>
            <a:r>
              <a:rPr lang="ru-RU" sz="878" u="sng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0,9 млн. чел.</a:t>
            </a:r>
          </a:p>
        </p:txBody>
      </p:sp>
      <p:sp>
        <p:nvSpPr>
          <p:cNvPr id="134" name="Прямоугольник 133"/>
          <p:cNvSpPr/>
          <p:nvPr/>
        </p:nvSpPr>
        <p:spPr>
          <a:xfrm>
            <a:off x="7008176" y="1869425"/>
            <a:ext cx="930681" cy="4976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Тюменская</a:t>
            </a:r>
          </a:p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область</a:t>
            </a:r>
          </a:p>
          <a:p>
            <a:pPr algn="ctr"/>
            <a:r>
              <a:rPr lang="ru-RU" sz="878" u="sng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1,4 млн. чел.</a:t>
            </a:r>
          </a:p>
        </p:txBody>
      </p:sp>
      <p:cxnSp>
        <p:nvCxnSpPr>
          <p:cNvPr id="135" name="Прямая соединительная линия 134"/>
          <p:cNvCxnSpPr/>
          <p:nvPr/>
        </p:nvCxnSpPr>
        <p:spPr>
          <a:xfrm flipH="1">
            <a:off x="8205883" y="2426303"/>
            <a:ext cx="191" cy="533914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Прямоугольник 135"/>
          <p:cNvSpPr/>
          <p:nvPr/>
        </p:nvSpPr>
        <p:spPr>
          <a:xfrm>
            <a:off x="7734191" y="1996814"/>
            <a:ext cx="930681" cy="4976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Омская</a:t>
            </a:r>
          </a:p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область</a:t>
            </a:r>
          </a:p>
          <a:p>
            <a:pPr algn="ctr"/>
            <a:r>
              <a:rPr lang="ru-RU" sz="878" u="sng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1,9 млн. чел.</a:t>
            </a:r>
          </a:p>
        </p:txBody>
      </p:sp>
      <p:cxnSp>
        <p:nvCxnSpPr>
          <p:cNvPr id="137" name="Прямая соединительная линия 136"/>
          <p:cNvCxnSpPr/>
          <p:nvPr/>
        </p:nvCxnSpPr>
        <p:spPr>
          <a:xfrm>
            <a:off x="9747828" y="3087744"/>
            <a:ext cx="1183" cy="488828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Прямоугольник 137"/>
          <p:cNvSpPr/>
          <p:nvPr/>
        </p:nvSpPr>
        <p:spPr>
          <a:xfrm>
            <a:off x="9317647" y="2631210"/>
            <a:ext cx="930681" cy="4976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Алтайский</a:t>
            </a:r>
          </a:p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край</a:t>
            </a:r>
          </a:p>
          <a:p>
            <a:pPr algn="ctr"/>
            <a:r>
              <a:rPr lang="ru-RU" sz="878" u="sng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2,3 млн. чел.</a:t>
            </a:r>
          </a:p>
        </p:txBody>
      </p:sp>
      <p:sp>
        <p:nvSpPr>
          <p:cNvPr id="139" name="Прямоугольник 138"/>
          <p:cNvSpPr/>
          <p:nvPr/>
        </p:nvSpPr>
        <p:spPr>
          <a:xfrm>
            <a:off x="8389511" y="2418025"/>
            <a:ext cx="1126920" cy="4976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Новосибирская</a:t>
            </a:r>
          </a:p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область</a:t>
            </a:r>
          </a:p>
          <a:p>
            <a:pPr algn="ctr"/>
            <a:r>
              <a:rPr lang="ru-RU" sz="878" u="sng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2,7 млн. чел.</a:t>
            </a:r>
          </a:p>
        </p:txBody>
      </p:sp>
      <p:sp>
        <p:nvSpPr>
          <p:cNvPr id="140" name="Прямоугольник 139"/>
          <p:cNvSpPr/>
          <p:nvPr/>
        </p:nvSpPr>
        <p:spPr>
          <a:xfrm>
            <a:off x="10074465" y="2960218"/>
            <a:ext cx="930681" cy="4976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Республика Алтай</a:t>
            </a:r>
          </a:p>
          <a:p>
            <a:pPr algn="ctr"/>
            <a:r>
              <a:rPr lang="ru-RU" sz="878" u="sng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0,2 млн. чел.</a:t>
            </a:r>
          </a:p>
        </p:txBody>
      </p:sp>
      <p:sp>
        <p:nvSpPr>
          <p:cNvPr id="141" name="Прямоугольник 140"/>
          <p:cNvSpPr/>
          <p:nvPr/>
        </p:nvSpPr>
        <p:spPr>
          <a:xfrm>
            <a:off x="4983656" y="1567264"/>
            <a:ext cx="857928" cy="4976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Челябинская</a:t>
            </a:r>
          </a:p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область</a:t>
            </a:r>
          </a:p>
          <a:p>
            <a:pPr algn="ctr"/>
            <a:r>
              <a:rPr lang="ru-RU" sz="878" u="sng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3,5 млн. чел.</a:t>
            </a:r>
          </a:p>
        </p:txBody>
      </p:sp>
      <p:cxnSp>
        <p:nvCxnSpPr>
          <p:cNvPr id="142" name="Прямая соединительная линия 141"/>
          <p:cNvCxnSpPr/>
          <p:nvPr/>
        </p:nvCxnSpPr>
        <p:spPr>
          <a:xfrm>
            <a:off x="3263830" y="3107879"/>
            <a:ext cx="386" cy="39465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Прямая соединительная линия 142"/>
          <p:cNvCxnSpPr/>
          <p:nvPr/>
        </p:nvCxnSpPr>
        <p:spPr>
          <a:xfrm flipH="1">
            <a:off x="4007477" y="2653133"/>
            <a:ext cx="3097" cy="728702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Прямая соединительная линия 143"/>
          <p:cNvCxnSpPr/>
          <p:nvPr/>
        </p:nvCxnSpPr>
        <p:spPr>
          <a:xfrm flipH="1" flipV="1">
            <a:off x="4741448" y="5045958"/>
            <a:ext cx="2022" cy="310811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Прямая соединительная линия 144"/>
          <p:cNvCxnSpPr/>
          <p:nvPr/>
        </p:nvCxnSpPr>
        <p:spPr>
          <a:xfrm>
            <a:off x="2538939" y="3595423"/>
            <a:ext cx="3031" cy="61224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Прямая соединительная линия 145"/>
          <p:cNvCxnSpPr/>
          <p:nvPr/>
        </p:nvCxnSpPr>
        <p:spPr>
          <a:xfrm flipH="1">
            <a:off x="5387642" y="2063600"/>
            <a:ext cx="2932" cy="1317398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Прямая соединительная линия 146"/>
          <p:cNvCxnSpPr/>
          <p:nvPr/>
        </p:nvCxnSpPr>
        <p:spPr>
          <a:xfrm>
            <a:off x="6056758" y="4964794"/>
            <a:ext cx="2549" cy="385383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Прямая соединительная линия 147"/>
          <p:cNvCxnSpPr/>
          <p:nvPr/>
        </p:nvCxnSpPr>
        <p:spPr>
          <a:xfrm flipH="1">
            <a:off x="7469648" y="2282543"/>
            <a:ext cx="3019" cy="532135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Прямая соединительная линия 148"/>
          <p:cNvCxnSpPr/>
          <p:nvPr/>
        </p:nvCxnSpPr>
        <p:spPr>
          <a:xfrm>
            <a:off x="7477701" y="3734408"/>
            <a:ext cx="3019" cy="163508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Прямая соединительная линия 149"/>
          <p:cNvCxnSpPr/>
          <p:nvPr/>
        </p:nvCxnSpPr>
        <p:spPr>
          <a:xfrm flipH="1">
            <a:off x="8933059" y="2782843"/>
            <a:ext cx="254" cy="429619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Прямая соединительная линия 150"/>
          <p:cNvCxnSpPr/>
          <p:nvPr/>
        </p:nvCxnSpPr>
        <p:spPr>
          <a:xfrm flipH="1">
            <a:off x="8934726" y="4773639"/>
            <a:ext cx="425" cy="594867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4" name="Picture 2" descr="http://www.krassotkin.ru/sites/itlibitum.org/MAP/EARTH/COUNTRY/RUSSIA/SVERDLOVSKAYA%20OBLAST'/MAP%20-%20EARTH%20-%20COUNTRY%20-%20RUSSIA%20-%20SVERDLOVSKAYA%20OBLAST'%20-%20www.itlibitum.ru%20-%20002.jpg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rgbClr val="FFD5D6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67" b="99433" l="705" r="9947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633" y="2060514"/>
            <a:ext cx="994255" cy="1152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5" name="Прямая соединительная линия 164"/>
          <p:cNvCxnSpPr/>
          <p:nvPr/>
        </p:nvCxnSpPr>
        <p:spPr>
          <a:xfrm>
            <a:off x="6064096" y="1659608"/>
            <a:ext cx="1183" cy="488828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Прямоугольник 165"/>
          <p:cNvSpPr/>
          <p:nvPr/>
        </p:nvSpPr>
        <p:spPr>
          <a:xfrm>
            <a:off x="5567508" y="1142712"/>
            <a:ext cx="1056985" cy="4976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78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Свердловская область</a:t>
            </a:r>
          </a:p>
          <a:p>
            <a:pPr algn="ctr"/>
            <a:r>
              <a:rPr lang="ru-RU" sz="878" u="sng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4,3 млн. чел.</a:t>
            </a:r>
          </a:p>
        </p:txBody>
      </p:sp>
      <p:cxnSp>
        <p:nvCxnSpPr>
          <p:cNvPr id="167" name="Прямая соединительная линия 166"/>
          <p:cNvCxnSpPr/>
          <p:nvPr/>
        </p:nvCxnSpPr>
        <p:spPr>
          <a:xfrm>
            <a:off x="6746314" y="2075889"/>
            <a:ext cx="5130" cy="950351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Прямоугольник 167"/>
          <p:cNvSpPr/>
          <p:nvPr/>
        </p:nvSpPr>
        <p:spPr>
          <a:xfrm>
            <a:off x="5926915" y="2699503"/>
            <a:ext cx="745717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540" b="1" kern="1000" dirty="0">
                <a:solidFill>
                  <a:schemeClr val="tx1">
                    <a:lumMod val="50000"/>
                    <a:lumOff val="50000"/>
                  </a:schemeClr>
                </a:solidFill>
                <a:latin typeface="Neo Sans Pro" panose="020B0504030504040204" pitchFamily="34" charset="-52"/>
              </a:rPr>
              <a:t>СВЕРДЛОВСКАЯ </a:t>
            </a:r>
          </a:p>
          <a:p>
            <a:pPr algn="ctr"/>
            <a:r>
              <a:rPr lang="ru-RU" sz="540" b="1" kern="1000" dirty="0">
                <a:solidFill>
                  <a:schemeClr val="tx1">
                    <a:lumMod val="50000"/>
                    <a:lumOff val="50000"/>
                  </a:schemeClr>
                </a:solidFill>
                <a:latin typeface="Neo Sans Pro" panose="020B0504030504040204" pitchFamily="34" charset="-52"/>
              </a:rPr>
              <a:t>ОБЛАСТЬ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606639" y="5358270"/>
            <a:ext cx="10978724" cy="642169"/>
            <a:chOff x="-2801" y="7938178"/>
            <a:chExt cx="16264777" cy="799355"/>
          </a:xfrm>
        </p:grpSpPr>
        <p:sp>
          <p:nvSpPr>
            <p:cNvPr id="121" name="Прямоугольник 120"/>
            <p:cNvSpPr/>
            <p:nvPr/>
          </p:nvSpPr>
          <p:spPr>
            <a:xfrm>
              <a:off x="1998106" y="7941191"/>
              <a:ext cx="1936245" cy="484643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15" dirty="0">
                  <a:solidFill>
                    <a:schemeClr val="bg1"/>
                  </a:solidFill>
                </a:rPr>
                <a:t>III </a:t>
              </a:r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декада </a:t>
              </a:r>
            </a:p>
            <a:p>
              <a:pPr algn="ctr"/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мая </a:t>
              </a:r>
              <a:r>
                <a:rPr lang="ru-RU" sz="1215" dirty="0" err="1">
                  <a:solidFill>
                    <a:schemeClr val="bg1"/>
                  </a:solidFill>
                  <a:latin typeface="Neo Sans Pro" panose="020B0504030504040204"/>
                </a:rPr>
                <a:t>т.г</a:t>
              </a:r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. </a:t>
              </a:r>
            </a:p>
          </p:txBody>
        </p:sp>
        <p:sp>
          <p:nvSpPr>
            <p:cNvPr id="122" name="Прямоугольник 121"/>
            <p:cNvSpPr/>
            <p:nvPr/>
          </p:nvSpPr>
          <p:spPr>
            <a:xfrm>
              <a:off x="3929602" y="7941191"/>
              <a:ext cx="2195073" cy="484643"/>
            </a:xfrm>
            <a:prstGeom prst="rect">
              <a:avLst/>
            </a:prstGeom>
            <a:solidFill>
              <a:srgbClr val="92D050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15" dirty="0">
                  <a:solidFill>
                    <a:schemeClr val="bg1"/>
                  </a:solidFill>
                </a:rPr>
                <a:t>I</a:t>
              </a:r>
              <a:r>
                <a:rPr lang="en-US" sz="1620" dirty="0">
                  <a:solidFill>
                    <a:schemeClr val="bg1"/>
                  </a:solidFill>
                </a:rPr>
                <a:t> </a:t>
              </a:r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декада </a:t>
              </a:r>
            </a:p>
            <a:p>
              <a:pPr algn="ctr"/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июня </a:t>
              </a:r>
              <a:r>
                <a:rPr lang="ru-RU" sz="1215" dirty="0" err="1">
                  <a:solidFill>
                    <a:schemeClr val="bg1"/>
                  </a:solidFill>
                  <a:latin typeface="Neo Sans Pro" panose="020B0504030504040204"/>
                </a:rPr>
                <a:t>т.г</a:t>
              </a:r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. </a:t>
              </a:r>
            </a:p>
          </p:txBody>
        </p:sp>
        <p:sp>
          <p:nvSpPr>
            <p:cNvPr id="123" name="Прямоугольник 122"/>
            <p:cNvSpPr/>
            <p:nvPr/>
          </p:nvSpPr>
          <p:spPr>
            <a:xfrm>
              <a:off x="6122967" y="7945718"/>
              <a:ext cx="1948482" cy="484643"/>
            </a:xfrm>
            <a:prstGeom prst="rect">
              <a:avLst/>
            </a:prstGeom>
            <a:solidFill>
              <a:srgbClr val="92D050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15" dirty="0">
                  <a:solidFill>
                    <a:schemeClr val="bg1"/>
                  </a:solidFill>
                </a:rPr>
                <a:t>II </a:t>
              </a:r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декада </a:t>
              </a:r>
            </a:p>
            <a:p>
              <a:pPr algn="ctr"/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июня </a:t>
              </a:r>
              <a:r>
                <a:rPr lang="ru-RU" sz="1215" dirty="0" err="1">
                  <a:solidFill>
                    <a:schemeClr val="bg1"/>
                  </a:solidFill>
                  <a:latin typeface="Neo Sans Pro" panose="020B0504030504040204"/>
                </a:rPr>
                <a:t>т.г</a:t>
              </a:r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. </a:t>
              </a:r>
            </a:p>
          </p:txBody>
        </p:sp>
        <p:sp>
          <p:nvSpPr>
            <p:cNvPr id="124" name="Прямоугольник 123"/>
            <p:cNvSpPr/>
            <p:nvPr/>
          </p:nvSpPr>
          <p:spPr>
            <a:xfrm>
              <a:off x="8075892" y="7945717"/>
              <a:ext cx="2098599" cy="484644"/>
            </a:xfrm>
            <a:prstGeom prst="rect">
              <a:avLst/>
            </a:prstGeom>
            <a:solidFill>
              <a:srgbClr val="92D050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15" dirty="0">
                  <a:solidFill>
                    <a:schemeClr val="bg1"/>
                  </a:solidFill>
                </a:rPr>
                <a:t>III </a:t>
              </a:r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декада </a:t>
              </a:r>
            </a:p>
            <a:p>
              <a:pPr algn="ctr"/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июня </a:t>
              </a:r>
              <a:r>
                <a:rPr lang="ru-RU" sz="1215" dirty="0" err="1">
                  <a:solidFill>
                    <a:schemeClr val="bg1"/>
                  </a:solidFill>
                  <a:latin typeface="Neo Sans Pro" panose="020B0504030504040204"/>
                </a:rPr>
                <a:t>т.г</a:t>
              </a:r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. </a:t>
              </a:r>
            </a:p>
          </p:txBody>
        </p:sp>
        <p:sp>
          <p:nvSpPr>
            <p:cNvPr id="125" name="Прямоугольник 124"/>
            <p:cNvSpPr/>
            <p:nvPr/>
          </p:nvSpPr>
          <p:spPr>
            <a:xfrm>
              <a:off x="10174492" y="7947272"/>
              <a:ext cx="2161245" cy="484645"/>
            </a:xfrm>
            <a:prstGeom prst="rect">
              <a:avLst/>
            </a:prstGeom>
            <a:solidFill>
              <a:srgbClr val="00B0F0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15" dirty="0">
                  <a:solidFill>
                    <a:schemeClr val="bg1"/>
                  </a:solidFill>
                </a:rPr>
                <a:t>I </a:t>
              </a:r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декада </a:t>
              </a:r>
            </a:p>
            <a:p>
              <a:pPr algn="ctr"/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июля </a:t>
              </a:r>
              <a:r>
                <a:rPr lang="ru-RU" sz="1215" dirty="0" err="1">
                  <a:solidFill>
                    <a:schemeClr val="bg1"/>
                  </a:solidFill>
                  <a:latin typeface="Neo Sans Pro" panose="020B0504030504040204"/>
                </a:rPr>
                <a:t>т.г</a:t>
              </a:r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. </a:t>
              </a:r>
            </a:p>
          </p:txBody>
        </p:sp>
        <p:sp>
          <p:nvSpPr>
            <p:cNvPr id="126" name="Прямоугольник 125"/>
            <p:cNvSpPr/>
            <p:nvPr/>
          </p:nvSpPr>
          <p:spPr>
            <a:xfrm>
              <a:off x="12332637" y="7947325"/>
              <a:ext cx="2380366" cy="484645"/>
            </a:xfrm>
            <a:prstGeom prst="rect">
              <a:avLst/>
            </a:prstGeom>
            <a:solidFill>
              <a:srgbClr val="00B0F0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215">
                  <a:solidFill>
                    <a:schemeClr val="bg1"/>
                  </a:solidFill>
                </a:rPr>
                <a:t>II </a:t>
              </a:r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декада </a:t>
              </a:r>
            </a:p>
            <a:p>
              <a:pPr algn="ctr"/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июля </a:t>
              </a:r>
              <a:r>
                <a:rPr lang="ru-RU" sz="1215" dirty="0" err="1">
                  <a:solidFill>
                    <a:schemeClr val="bg1"/>
                  </a:solidFill>
                  <a:latin typeface="Neo Sans Pro" panose="020B0504030504040204"/>
                </a:rPr>
                <a:t>т.г</a:t>
              </a:r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. </a:t>
              </a:r>
            </a:p>
          </p:txBody>
        </p:sp>
        <p:sp>
          <p:nvSpPr>
            <p:cNvPr id="152" name="Прямоугольник 151"/>
            <p:cNvSpPr/>
            <p:nvPr/>
          </p:nvSpPr>
          <p:spPr>
            <a:xfrm>
              <a:off x="0" y="7938178"/>
              <a:ext cx="1996046" cy="48464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350" dirty="0">
                <a:solidFill>
                  <a:schemeClr val="bg1"/>
                </a:solidFill>
              </a:endParaRPr>
            </a:p>
          </p:txBody>
        </p:sp>
        <p:sp>
          <p:nvSpPr>
            <p:cNvPr id="154" name="Прямоугольник 153"/>
            <p:cNvSpPr/>
            <p:nvPr/>
          </p:nvSpPr>
          <p:spPr>
            <a:xfrm>
              <a:off x="1993632" y="8426308"/>
              <a:ext cx="1942173" cy="311225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1 группа</a:t>
              </a:r>
            </a:p>
          </p:txBody>
        </p:sp>
        <p:sp>
          <p:nvSpPr>
            <p:cNvPr id="155" name="Прямоугольник 154"/>
            <p:cNvSpPr/>
            <p:nvPr/>
          </p:nvSpPr>
          <p:spPr>
            <a:xfrm>
              <a:off x="3931335" y="8426308"/>
              <a:ext cx="2193340" cy="311225"/>
            </a:xfrm>
            <a:prstGeom prst="rect">
              <a:avLst/>
            </a:prstGeom>
            <a:solidFill>
              <a:srgbClr val="92D050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2 группа</a:t>
              </a:r>
            </a:p>
          </p:txBody>
        </p:sp>
        <p:sp>
          <p:nvSpPr>
            <p:cNvPr id="156" name="Прямоугольник 155"/>
            <p:cNvSpPr/>
            <p:nvPr/>
          </p:nvSpPr>
          <p:spPr>
            <a:xfrm>
              <a:off x="6126408" y="8424135"/>
              <a:ext cx="1945042" cy="311225"/>
            </a:xfrm>
            <a:prstGeom prst="rect">
              <a:avLst/>
            </a:prstGeom>
            <a:solidFill>
              <a:srgbClr val="92D050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3 группа</a:t>
              </a:r>
            </a:p>
          </p:txBody>
        </p:sp>
        <p:sp>
          <p:nvSpPr>
            <p:cNvPr id="157" name="Прямоугольник 156"/>
            <p:cNvSpPr/>
            <p:nvPr/>
          </p:nvSpPr>
          <p:spPr>
            <a:xfrm>
              <a:off x="8071450" y="8424134"/>
              <a:ext cx="2103041" cy="311226"/>
            </a:xfrm>
            <a:prstGeom prst="rect">
              <a:avLst/>
            </a:prstGeom>
            <a:solidFill>
              <a:srgbClr val="92D050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1 группа</a:t>
              </a:r>
            </a:p>
          </p:txBody>
        </p:sp>
        <p:sp>
          <p:nvSpPr>
            <p:cNvPr id="158" name="Прямоугольник 157"/>
            <p:cNvSpPr/>
            <p:nvPr/>
          </p:nvSpPr>
          <p:spPr>
            <a:xfrm>
              <a:off x="10174491" y="8424133"/>
              <a:ext cx="2161246" cy="311227"/>
            </a:xfrm>
            <a:prstGeom prst="rect">
              <a:avLst/>
            </a:prstGeom>
            <a:solidFill>
              <a:srgbClr val="00B0F0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2 группа</a:t>
              </a:r>
            </a:p>
          </p:txBody>
        </p:sp>
        <p:sp>
          <p:nvSpPr>
            <p:cNvPr id="159" name="Прямоугольник 158"/>
            <p:cNvSpPr/>
            <p:nvPr/>
          </p:nvSpPr>
          <p:spPr>
            <a:xfrm>
              <a:off x="12332637" y="8424133"/>
              <a:ext cx="2380366" cy="311227"/>
            </a:xfrm>
            <a:prstGeom prst="rect">
              <a:avLst/>
            </a:prstGeom>
            <a:solidFill>
              <a:srgbClr val="00B0F0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215" dirty="0">
                  <a:solidFill>
                    <a:schemeClr val="bg1"/>
                  </a:solidFill>
                  <a:latin typeface="Neo Sans Pro" panose="020B0504030504040204"/>
                </a:rPr>
                <a:t>3 группа</a:t>
              </a:r>
            </a:p>
          </p:txBody>
        </p:sp>
        <p:sp>
          <p:nvSpPr>
            <p:cNvPr id="160" name="Прямоугольник 159"/>
            <p:cNvSpPr/>
            <p:nvPr/>
          </p:nvSpPr>
          <p:spPr>
            <a:xfrm>
              <a:off x="-2801" y="8424373"/>
              <a:ext cx="2000240" cy="30150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350" dirty="0">
                <a:solidFill>
                  <a:schemeClr val="bg1"/>
                </a:solidFill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14724477" y="7945718"/>
              <a:ext cx="1534698" cy="48464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350" dirty="0">
                <a:solidFill>
                  <a:schemeClr val="bg1"/>
                </a:solidFill>
              </a:endParaRPr>
            </a:p>
          </p:txBody>
        </p:sp>
        <p:sp>
          <p:nvSpPr>
            <p:cNvPr id="60" name="Прямоугольник 59"/>
            <p:cNvSpPr/>
            <p:nvPr/>
          </p:nvSpPr>
          <p:spPr>
            <a:xfrm>
              <a:off x="14713002" y="8431913"/>
              <a:ext cx="1548974" cy="29396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350" dirty="0">
                <a:solidFill>
                  <a:schemeClr val="bg1"/>
                </a:solidFill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1808152" y="6381188"/>
            <a:ext cx="8575697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20" b="1" dirty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Охват: 500 туроператоров с общей клиентской базой 10 млн. туристов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374157" y="1355512"/>
            <a:ext cx="3902092" cy="8402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92881" indent="-192881">
              <a:buFont typeface="Wingdings" panose="05000000000000000000" pitchFamily="2" charset="2"/>
              <a:buChar char="q"/>
            </a:pPr>
            <a:r>
              <a:rPr lang="it-IT" sz="1620" dirty="0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1</a:t>
            </a:r>
            <a:r>
              <a:rPr lang="ru-RU" sz="1620" dirty="0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3</a:t>
            </a:r>
            <a:r>
              <a:rPr lang="it-IT" sz="1620" dirty="0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 </a:t>
            </a:r>
            <a:r>
              <a:rPr lang="ru-RU" sz="1620" dirty="0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ключевых регионов</a:t>
            </a:r>
            <a:endParaRPr lang="it-IT" sz="1620" dirty="0">
              <a:solidFill>
                <a:schemeClr val="bg1"/>
              </a:solidFill>
              <a:latin typeface="Neo Sans Pro"/>
              <a:ea typeface="Microsoft JhengHei UI Light" panose="020B0304030504040204" pitchFamily="34" charset="-120"/>
            </a:endParaRPr>
          </a:p>
          <a:p>
            <a:r>
              <a:rPr lang="ru-RU" sz="1620" dirty="0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с общим населением </a:t>
            </a:r>
          </a:p>
          <a:p>
            <a:r>
              <a:rPr lang="ru-RU" sz="1620" dirty="0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28,4 млн. человек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606639" y="240927"/>
            <a:ext cx="5195653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700" b="1" u="sng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График поездок </a:t>
            </a:r>
          </a:p>
          <a:p>
            <a:r>
              <a:rPr lang="ru-RU" sz="2700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по приграничным регионам РФ</a:t>
            </a:r>
            <a:endParaRPr lang="ru-RU" sz="2700" dirty="0">
              <a:solidFill>
                <a:schemeClr val="bg1"/>
              </a:solidFill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9317647" y="207083"/>
            <a:ext cx="2641563" cy="1412546"/>
            <a:chOff x="11890214" y="550455"/>
            <a:chExt cx="3913427" cy="2092660"/>
          </a:xfrm>
        </p:grpSpPr>
        <p:pic>
          <p:nvPicPr>
            <p:cNvPr id="61" name="Picture 60" descr="F:\сергей\expo\№3 преза_видео\work22-02.png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234"/>
            <a:stretch/>
          </p:blipFill>
          <p:spPr bwMode="auto">
            <a:xfrm>
              <a:off x="11890214" y="550455"/>
              <a:ext cx="1485910" cy="209266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 xmlns:lc="http://schemas.openxmlformats.org/drawingml/2006/lockedCanvas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61" descr="C:\Users\1\Desktop\DTP use\Logo BIE JPG files\Logo_BIE_CMYK.jp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3818219" y="975544"/>
              <a:ext cx="1985422" cy="749281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182673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" name="Picture 2" descr="F:\сергей\expo\№3 преза_видео\work22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57043"/>
            <a:ext cx="12192000" cy="6915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8" name="Freeform 3"/>
          <p:cNvSpPr/>
          <p:nvPr/>
        </p:nvSpPr>
        <p:spPr>
          <a:xfrm>
            <a:off x="689184" y="5701487"/>
            <a:ext cx="9312689" cy="0"/>
          </a:xfrm>
          <a:custGeom>
            <a:avLst/>
            <a:gdLst>
              <a:gd name="connsiteX0" fmla="*/ 0 w 15326537"/>
              <a:gd name="connsiteY0" fmla="*/ 0 h 0"/>
              <a:gd name="connsiteX1" fmla="*/ 15326538 w 15326537"/>
              <a:gd name="connsiteY1" fmla="*/ 0 h 0"/>
              <a:gd name="connsiteX2" fmla="*/ 0 w 15326537"/>
              <a:gd name="connsiteY2" fmla="*/ 0 h 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</a:cxnLst>
            <a:rect l="l" t="t" r="r" b="b"/>
            <a:pathLst>
              <a:path w="15326537">
                <a:moveTo>
                  <a:pt x="0" y="0"/>
                </a:moveTo>
                <a:lnTo>
                  <a:pt x="15326538" y="0"/>
                </a:lnTo>
                <a:lnTo>
                  <a:pt x="0" y="0"/>
                </a:lnTo>
              </a:path>
            </a:pathLst>
          </a:custGeom>
          <a:solidFill>
            <a:srgbClr val="FFFF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80">
              <a:latin typeface="Neo Sans Pro" pitchFamily="34" charset="-52"/>
            </a:endParaRPr>
          </a:p>
        </p:txBody>
      </p:sp>
      <p:sp>
        <p:nvSpPr>
          <p:cNvPr id="1060" name="Freeform 3"/>
          <p:cNvSpPr/>
          <p:nvPr/>
        </p:nvSpPr>
        <p:spPr>
          <a:xfrm>
            <a:off x="709500" y="5697629"/>
            <a:ext cx="9280110" cy="14646"/>
          </a:xfrm>
          <a:custGeom>
            <a:avLst/>
            <a:gdLst>
              <a:gd name="connsiteX0" fmla="*/ 6350 w 15272918"/>
              <a:gd name="connsiteY0" fmla="*/ 6350 h 24104"/>
              <a:gd name="connsiteX1" fmla="*/ 15266568 w 15272918"/>
              <a:gd name="connsiteY1" fmla="*/ 6350 h 2410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5272918" h="24104">
                <a:moveTo>
                  <a:pt x="6350" y="6350"/>
                </a:moveTo>
                <a:lnTo>
                  <a:pt x="15266568" y="6350"/>
                </a:lnTo>
              </a:path>
            </a:pathLst>
          </a:custGeom>
          <a:ln w="12700">
            <a:solidFill>
              <a:srgbClr val="FFFFFF">
                <a:alpha val="10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080">
              <a:latin typeface="Neo Sans Pro" pitchFamily="34" charset="-52"/>
            </a:endParaRPr>
          </a:p>
        </p:txBody>
      </p:sp>
      <p:sp>
        <p:nvSpPr>
          <p:cNvPr id="1061" name="Freeform 3"/>
          <p:cNvSpPr/>
          <p:nvPr/>
        </p:nvSpPr>
        <p:spPr>
          <a:xfrm>
            <a:off x="7320132" y="5962175"/>
            <a:ext cx="15780" cy="14646"/>
          </a:xfrm>
          <a:custGeom>
            <a:avLst/>
            <a:gdLst>
              <a:gd name="connsiteX0" fmla="*/ 6350 w 25971"/>
              <a:gd name="connsiteY0" fmla="*/ 6350 h 24104"/>
              <a:gd name="connsiteX1" fmla="*/ 19622 w 25971"/>
              <a:gd name="connsiteY1" fmla="*/ 6350 h 2410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25971" h="24104">
                <a:moveTo>
                  <a:pt x="6350" y="6350"/>
                </a:moveTo>
                <a:lnTo>
                  <a:pt x="19622" y="6350"/>
                </a:lnTo>
              </a:path>
            </a:pathLst>
          </a:custGeom>
          <a:ln w="12700">
            <a:solidFill>
              <a:srgbClr val="FFFFFF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080">
              <a:latin typeface="Neo Sans Pro" pitchFamily="34" charset="-52"/>
            </a:endParaRPr>
          </a:p>
        </p:txBody>
      </p:sp>
      <p:sp>
        <p:nvSpPr>
          <p:cNvPr id="1062" name="Freeform 3"/>
          <p:cNvSpPr/>
          <p:nvPr/>
        </p:nvSpPr>
        <p:spPr>
          <a:xfrm>
            <a:off x="689184" y="5958712"/>
            <a:ext cx="9312689" cy="0"/>
          </a:xfrm>
          <a:custGeom>
            <a:avLst/>
            <a:gdLst>
              <a:gd name="connsiteX0" fmla="*/ 0 w 15326537"/>
              <a:gd name="connsiteY0" fmla="*/ 0 h 0"/>
              <a:gd name="connsiteX1" fmla="*/ 15326538 w 15326537"/>
              <a:gd name="connsiteY1" fmla="*/ 0 h 0"/>
              <a:gd name="connsiteX2" fmla="*/ 0 w 15326537"/>
              <a:gd name="connsiteY2" fmla="*/ 0 h 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</a:cxnLst>
            <a:rect l="l" t="t" r="r" b="b"/>
            <a:pathLst>
              <a:path w="15326537">
                <a:moveTo>
                  <a:pt x="0" y="0"/>
                </a:moveTo>
                <a:lnTo>
                  <a:pt x="15326538" y="0"/>
                </a:lnTo>
                <a:lnTo>
                  <a:pt x="0" y="0"/>
                </a:lnTo>
              </a:path>
            </a:pathLst>
          </a:custGeom>
          <a:solidFill>
            <a:srgbClr val="FFFF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80">
              <a:latin typeface="Neo Sans Pro" pitchFamily="34" charset="-52"/>
            </a:endParaRPr>
          </a:p>
        </p:txBody>
      </p:sp>
      <p:sp>
        <p:nvSpPr>
          <p:cNvPr id="1064" name="Freeform 3"/>
          <p:cNvSpPr/>
          <p:nvPr/>
        </p:nvSpPr>
        <p:spPr>
          <a:xfrm>
            <a:off x="709500" y="5954854"/>
            <a:ext cx="9280110" cy="14646"/>
          </a:xfrm>
          <a:custGeom>
            <a:avLst/>
            <a:gdLst>
              <a:gd name="connsiteX0" fmla="*/ 6350 w 15272918"/>
              <a:gd name="connsiteY0" fmla="*/ 6350 h 24104"/>
              <a:gd name="connsiteX1" fmla="*/ 15266568 w 15272918"/>
              <a:gd name="connsiteY1" fmla="*/ 6350 h 2410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5272918" h="24104">
                <a:moveTo>
                  <a:pt x="6350" y="6350"/>
                </a:moveTo>
                <a:lnTo>
                  <a:pt x="15266568" y="6350"/>
                </a:lnTo>
              </a:path>
            </a:pathLst>
          </a:custGeom>
          <a:ln w="12700">
            <a:solidFill>
              <a:srgbClr val="FFFFFF">
                <a:alpha val="10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080">
              <a:latin typeface="Neo Sans Pro" pitchFamily="34" charset="-52"/>
            </a:endParaRPr>
          </a:p>
        </p:txBody>
      </p:sp>
      <p:sp>
        <p:nvSpPr>
          <p:cNvPr id="1065" name="Freeform 3"/>
          <p:cNvSpPr/>
          <p:nvPr/>
        </p:nvSpPr>
        <p:spPr>
          <a:xfrm>
            <a:off x="7320132" y="6219400"/>
            <a:ext cx="15780" cy="14646"/>
          </a:xfrm>
          <a:custGeom>
            <a:avLst/>
            <a:gdLst>
              <a:gd name="connsiteX0" fmla="*/ 6350 w 25971"/>
              <a:gd name="connsiteY0" fmla="*/ 6350 h 24104"/>
              <a:gd name="connsiteX1" fmla="*/ 19622 w 25971"/>
              <a:gd name="connsiteY1" fmla="*/ 6350 h 2410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25971" h="24104">
                <a:moveTo>
                  <a:pt x="6350" y="6350"/>
                </a:moveTo>
                <a:lnTo>
                  <a:pt x="19622" y="6350"/>
                </a:lnTo>
              </a:path>
            </a:pathLst>
          </a:custGeom>
          <a:ln w="12700">
            <a:solidFill>
              <a:srgbClr val="FFFFFF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080">
              <a:latin typeface="Neo Sans Pro" pitchFamily="34" charset="-52"/>
            </a:endParaRPr>
          </a:p>
        </p:txBody>
      </p:sp>
      <p:sp>
        <p:nvSpPr>
          <p:cNvPr id="1066" name="Freeform 3"/>
          <p:cNvSpPr/>
          <p:nvPr/>
        </p:nvSpPr>
        <p:spPr>
          <a:xfrm>
            <a:off x="689184" y="6233302"/>
            <a:ext cx="9312689" cy="0"/>
          </a:xfrm>
          <a:custGeom>
            <a:avLst/>
            <a:gdLst>
              <a:gd name="connsiteX0" fmla="*/ 0 w 15326537"/>
              <a:gd name="connsiteY0" fmla="*/ 0 h 0"/>
              <a:gd name="connsiteX1" fmla="*/ 15326538 w 15326537"/>
              <a:gd name="connsiteY1" fmla="*/ 0 h 0"/>
              <a:gd name="connsiteX2" fmla="*/ 0 w 15326537"/>
              <a:gd name="connsiteY2" fmla="*/ 0 h 0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  <a:cxn ang="2">
                <a:pos x="connsiteX2" y="connsiteY2"/>
              </a:cxn>
            </a:cxnLst>
            <a:rect l="l" t="t" r="r" b="b"/>
            <a:pathLst>
              <a:path w="15326537">
                <a:moveTo>
                  <a:pt x="0" y="0"/>
                </a:moveTo>
                <a:lnTo>
                  <a:pt x="15326538" y="0"/>
                </a:lnTo>
                <a:lnTo>
                  <a:pt x="0" y="0"/>
                </a:lnTo>
              </a:path>
            </a:pathLst>
          </a:custGeom>
          <a:solidFill>
            <a:srgbClr val="FFFFFF">
              <a:alpha val="100000"/>
            </a:srgbClr>
          </a:solidFill>
          <a:ln w="12700">
            <a:solidFill>
              <a:srgbClr val="000000">
                <a:alpha val="0"/>
              </a:srgb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80">
              <a:latin typeface="Neo Sans Pro" pitchFamily="34" charset="-52"/>
            </a:endParaRPr>
          </a:p>
        </p:txBody>
      </p:sp>
      <p:sp>
        <p:nvSpPr>
          <p:cNvPr id="1068" name="Freeform 3"/>
          <p:cNvSpPr/>
          <p:nvPr/>
        </p:nvSpPr>
        <p:spPr>
          <a:xfrm>
            <a:off x="709500" y="6229444"/>
            <a:ext cx="9280110" cy="14646"/>
          </a:xfrm>
          <a:custGeom>
            <a:avLst/>
            <a:gdLst>
              <a:gd name="connsiteX0" fmla="*/ 6350 w 15272918"/>
              <a:gd name="connsiteY0" fmla="*/ 6350 h 24104"/>
              <a:gd name="connsiteX1" fmla="*/ 15266568 w 15272918"/>
              <a:gd name="connsiteY1" fmla="*/ 6350 h 2410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15272918" h="24104">
                <a:moveTo>
                  <a:pt x="6350" y="6350"/>
                </a:moveTo>
                <a:lnTo>
                  <a:pt x="15266568" y="6350"/>
                </a:lnTo>
              </a:path>
            </a:pathLst>
          </a:custGeom>
          <a:ln w="12700">
            <a:solidFill>
              <a:srgbClr val="FFFFFF">
                <a:alpha val="100000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080">
              <a:latin typeface="Neo Sans Pro" pitchFamily="34" charset="-52"/>
            </a:endParaRPr>
          </a:p>
        </p:txBody>
      </p:sp>
      <p:sp>
        <p:nvSpPr>
          <p:cNvPr id="1069" name="Freeform 3"/>
          <p:cNvSpPr/>
          <p:nvPr/>
        </p:nvSpPr>
        <p:spPr>
          <a:xfrm>
            <a:off x="7320132" y="6493990"/>
            <a:ext cx="15780" cy="14646"/>
          </a:xfrm>
          <a:custGeom>
            <a:avLst/>
            <a:gdLst>
              <a:gd name="connsiteX0" fmla="*/ 6350 w 25971"/>
              <a:gd name="connsiteY0" fmla="*/ 6350 h 24104"/>
              <a:gd name="connsiteX1" fmla="*/ 19622 w 25971"/>
              <a:gd name="connsiteY1" fmla="*/ 6350 h 24104"/>
            </a:gdLst>
            <a:ahLst/>
            <a:cxnLst>
              <a:cxn ang="0">
                <a:pos x="connsiteX0" y="connsiteY0"/>
              </a:cxn>
              <a:cxn ang="1">
                <a:pos x="connsiteX1" y="connsiteY1"/>
              </a:cxn>
            </a:cxnLst>
            <a:rect l="l" t="t" r="r" b="b"/>
            <a:pathLst>
              <a:path w="25971" h="24104">
                <a:moveTo>
                  <a:pt x="6350" y="6350"/>
                </a:moveTo>
                <a:lnTo>
                  <a:pt x="19622" y="6350"/>
                </a:lnTo>
              </a:path>
            </a:pathLst>
          </a:custGeom>
          <a:ln w="12700">
            <a:solidFill>
              <a:srgbClr val="FFFFFF">
                <a:alpha val="10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1080">
              <a:latin typeface="Neo Sans Pro" pitchFamily="34" charset="-52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652948" y="4735341"/>
            <a:ext cx="140955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20" dirty="0">
                <a:solidFill>
                  <a:schemeClr val="bg1"/>
                </a:solidFill>
                <a:latin typeface="Neo Sans Pro" pitchFamily="34" charset="-52"/>
              </a:rPr>
              <a:t>Факт</a:t>
            </a:r>
          </a:p>
          <a:p>
            <a:pPr algn="ctr"/>
            <a:r>
              <a:rPr lang="ru-RU" sz="1080" dirty="0">
                <a:solidFill>
                  <a:schemeClr val="bg1"/>
                </a:solidFill>
                <a:latin typeface="Neo Sans Pro" pitchFamily="34" charset="-52"/>
              </a:rPr>
              <a:t>(тыс. пассажиров)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6229619" y="4735341"/>
            <a:ext cx="143686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20" dirty="0">
                <a:solidFill>
                  <a:schemeClr val="bg1"/>
                </a:solidFill>
                <a:latin typeface="Neo Sans Pro" pitchFamily="34" charset="-52"/>
              </a:rPr>
              <a:t>2017</a:t>
            </a:r>
          </a:p>
          <a:p>
            <a:pPr algn="ctr"/>
            <a:r>
              <a:rPr lang="ru-RU" sz="1080" dirty="0">
                <a:solidFill>
                  <a:schemeClr val="bg1"/>
                </a:solidFill>
                <a:latin typeface="Neo Sans Pro" pitchFamily="34" charset="-52"/>
              </a:rPr>
              <a:t>(тыс. пассажиров)</a:t>
            </a:r>
            <a:endParaRPr lang="ru-RU" sz="2160" dirty="0">
              <a:solidFill>
                <a:schemeClr val="bg1"/>
              </a:solidFill>
              <a:latin typeface="Neo Sans Pro" pitchFamily="34" charset="-52"/>
            </a:endParaRPr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>
            <a:off x="6146061" y="4759000"/>
            <a:ext cx="14085" cy="2023773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/>
          <p:nvPr/>
        </p:nvCxnSpPr>
        <p:spPr>
          <a:xfrm>
            <a:off x="4652948" y="5234584"/>
            <a:ext cx="2937589" cy="3023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Box 152"/>
          <p:cNvSpPr txBox="1"/>
          <p:nvPr/>
        </p:nvSpPr>
        <p:spPr>
          <a:xfrm>
            <a:off x="5168338" y="5281869"/>
            <a:ext cx="49725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350" dirty="0">
                <a:solidFill>
                  <a:schemeClr val="bg1"/>
                </a:solidFill>
                <a:latin typeface="Neo Sans Pro" pitchFamily="34" charset="-52"/>
              </a:rPr>
              <a:t>810</a:t>
            </a:r>
          </a:p>
        </p:txBody>
      </p:sp>
      <p:sp>
        <p:nvSpPr>
          <p:cNvPr id="154" name="TextBox 153"/>
          <p:cNvSpPr txBox="1"/>
          <p:nvPr/>
        </p:nvSpPr>
        <p:spPr>
          <a:xfrm>
            <a:off x="5138443" y="5678158"/>
            <a:ext cx="64472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50" dirty="0">
                <a:solidFill>
                  <a:schemeClr val="bg1"/>
                </a:solidFill>
                <a:latin typeface="Neo Sans Pro" pitchFamily="34" charset="-52"/>
              </a:rPr>
              <a:t>1 000</a:t>
            </a:r>
          </a:p>
        </p:txBody>
      </p:sp>
      <p:sp>
        <p:nvSpPr>
          <p:cNvPr id="155" name="TextBox 154"/>
          <p:cNvSpPr txBox="1"/>
          <p:nvPr/>
        </p:nvSpPr>
        <p:spPr>
          <a:xfrm>
            <a:off x="5188754" y="6034574"/>
            <a:ext cx="49725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50" dirty="0">
                <a:solidFill>
                  <a:schemeClr val="bg1"/>
                </a:solidFill>
                <a:latin typeface="Neo Sans Pro" pitchFamily="34" charset="-52"/>
              </a:rPr>
              <a:t>482</a:t>
            </a:r>
          </a:p>
        </p:txBody>
      </p:sp>
      <p:sp>
        <p:nvSpPr>
          <p:cNvPr id="159" name="TextBox 158"/>
          <p:cNvSpPr txBox="1"/>
          <p:nvPr/>
        </p:nvSpPr>
        <p:spPr>
          <a:xfrm>
            <a:off x="6629353" y="5281869"/>
            <a:ext cx="64472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50" dirty="0">
                <a:solidFill>
                  <a:schemeClr val="bg1"/>
                </a:solidFill>
                <a:latin typeface="Neo Sans Pro" pitchFamily="34" charset="-52"/>
              </a:rPr>
              <a:t>1 620</a:t>
            </a:r>
          </a:p>
        </p:txBody>
      </p:sp>
      <p:sp>
        <p:nvSpPr>
          <p:cNvPr id="160" name="TextBox 159"/>
          <p:cNvSpPr txBox="1"/>
          <p:nvPr/>
        </p:nvSpPr>
        <p:spPr>
          <a:xfrm>
            <a:off x="6598708" y="5677639"/>
            <a:ext cx="64472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350" dirty="0">
                <a:solidFill>
                  <a:schemeClr val="bg1"/>
                </a:solidFill>
                <a:latin typeface="Neo Sans Pro" pitchFamily="34" charset="-52"/>
              </a:rPr>
              <a:t>4 600</a:t>
            </a:r>
          </a:p>
        </p:txBody>
      </p:sp>
      <p:sp>
        <p:nvSpPr>
          <p:cNvPr id="161" name="TextBox 160"/>
          <p:cNvSpPr txBox="1"/>
          <p:nvPr/>
        </p:nvSpPr>
        <p:spPr>
          <a:xfrm>
            <a:off x="6725654" y="6034574"/>
            <a:ext cx="49725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50" dirty="0">
                <a:solidFill>
                  <a:schemeClr val="bg1"/>
                </a:solidFill>
                <a:latin typeface="Neo Sans Pro" pitchFamily="34" charset="-52"/>
              </a:rPr>
              <a:t>499</a:t>
            </a:r>
          </a:p>
        </p:txBody>
      </p:sp>
      <p:grpSp>
        <p:nvGrpSpPr>
          <p:cNvPr id="164" name="Группа 163"/>
          <p:cNvGrpSpPr/>
          <p:nvPr/>
        </p:nvGrpSpPr>
        <p:grpSpPr>
          <a:xfrm>
            <a:off x="3058099" y="776865"/>
            <a:ext cx="6695873" cy="3771725"/>
            <a:chOff x="5737245" y="436856"/>
            <a:chExt cx="6342890" cy="4413803"/>
          </a:xfrm>
        </p:grpSpPr>
        <p:pic>
          <p:nvPicPr>
            <p:cNvPr id="165" name="Picture 2" descr="L:\Нурлан\computer 2\Map\All\Коридоры\Основа кор.tif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37245" y="436856"/>
              <a:ext cx="6342890" cy="441380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6" name="AutoShape 19"/>
            <p:cNvSpPr>
              <a:spLocks noChangeArrowheads="1"/>
            </p:cNvSpPr>
            <p:nvPr/>
          </p:nvSpPr>
          <p:spPr bwMode="auto">
            <a:xfrm>
              <a:off x="9283797" y="1882753"/>
              <a:ext cx="1071581" cy="399933"/>
            </a:xfrm>
            <a:prstGeom prst="roundRect">
              <a:avLst>
                <a:gd name="adj" fmla="val 16667"/>
              </a:avLst>
            </a:prstGeom>
            <a:solidFill>
              <a:schemeClr val="accent1">
                <a:alpha val="87843"/>
              </a:schemeClr>
            </a:solidFill>
            <a:ln w="317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92" tIns="15384" rIns="7692" bIns="15384" anchor="ctr"/>
            <a:lstStyle/>
            <a:p>
              <a:pPr algn="ctr">
                <a:defRPr/>
              </a:pPr>
              <a:r>
                <a:rPr lang="ru-RU" sz="945" dirty="0">
                  <a:solidFill>
                    <a:schemeClr val="bg1"/>
                  </a:solidFill>
                  <a:latin typeface="Franklin Gothic Medium Cond" pitchFamily="34" charset="0"/>
                  <a:cs typeface="Arial" pitchFamily="34" charset="0"/>
                </a:rPr>
                <a:t>АСТАНА: 600 тыс.</a:t>
              </a:r>
            </a:p>
          </p:txBody>
        </p:sp>
        <p:sp>
          <p:nvSpPr>
            <p:cNvPr id="167" name="AutoShape 19"/>
            <p:cNvSpPr>
              <a:spLocks noChangeArrowheads="1"/>
            </p:cNvSpPr>
            <p:nvPr/>
          </p:nvSpPr>
          <p:spPr bwMode="auto">
            <a:xfrm>
              <a:off x="9184064" y="2386753"/>
              <a:ext cx="1040024" cy="383148"/>
            </a:xfrm>
            <a:prstGeom prst="roundRect">
              <a:avLst>
                <a:gd name="adj" fmla="val 16667"/>
              </a:avLst>
            </a:prstGeom>
            <a:solidFill>
              <a:srgbClr val="92D050">
                <a:alpha val="87843"/>
              </a:srgbClr>
            </a:solidFill>
            <a:ln w="317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92" tIns="15384" rIns="7692" bIns="15384" anchor="ctr"/>
            <a:lstStyle/>
            <a:p>
              <a:pPr algn="ctr">
                <a:defRPr/>
              </a:pPr>
              <a:r>
                <a:rPr lang="ru-RU" sz="945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Карагандинская обл.: 200 </a:t>
              </a:r>
              <a:r>
                <a:rPr lang="ru-RU" sz="945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тыс</a:t>
              </a:r>
              <a:endParaRPr lang="ru-RU" sz="945" dirty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endParaRPr>
            </a:p>
          </p:txBody>
        </p:sp>
        <p:sp>
          <p:nvSpPr>
            <p:cNvPr id="168" name="AutoShape 19"/>
            <p:cNvSpPr>
              <a:spLocks noChangeArrowheads="1"/>
            </p:cNvSpPr>
            <p:nvPr/>
          </p:nvSpPr>
          <p:spPr bwMode="auto">
            <a:xfrm>
              <a:off x="10914903" y="2070562"/>
              <a:ext cx="911975" cy="334183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alpha val="87843"/>
              </a:schemeClr>
            </a:solidFill>
            <a:ln w="317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92" tIns="15384" rIns="7692" bIns="15384" anchor="ctr"/>
            <a:lstStyle/>
            <a:p>
              <a:pPr algn="ctr">
                <a:defRPr/>
              </a:pPr>
              <a:r>
                <a:rPr lang="ru-RU" sz="945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ВКО: 100 тыс.</a:t>
              </a:r>
            </a:p>
          </p:txBody>
        </p:sp>
        <p:sp>
          <p:nvSpPr>
            <p:cNvPr id="169" name="AutoShape 19"/>
            <p:cNvSpPr>
              <a:spLocks noChangeArrowheads="1"/>
            </p:cNvSpPr>
            <p:nvPr/>
          </p:nvSpPr>
          <p:spPr bwMode="auto">
            <a:xfrm>
              <a:off x="6083867" y="2272877"/>
              <a:ext cx="901377" cy="404410"/>
            </a:xfrm>
            <a:prstGeom prst="roundRect">
              <a:avLst>
                <a:gd name="adj" fmla="val 16667"/>
              </a:avLst>
            </a:prstGeom>
            <a:solidFill>
              <a:srgbClr val="FFFF00">
                <a:alpha val="87843"/>
              </a:srgbClr>
            </a:solidFill>
            <a:ln w="317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92" tIns="15384" rIns="7692" bIns="15384" anchor="ctr"/>
            <a:lstStyle/>
            <a:p>
              <a:pPr algn="ctr">
                <a:defRPr/>
              </a:pPr>
              <a:r>
                <a:rPr lang="ru-RU" sz="945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Атырауская</a:t>
              </a:r>
              <a:r>
                <a:rPr lang="ru-RU" sz="945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 обл.: 65тыс.</a:t>
              </a:r>
            </a:p>
          </p:txBody>
        </p:sp>
        <p:sp>
          <p:nvSpPr>
            <p:cNvPr id="170" name="AutoShape 19"/>
            <p:cNvSpPr>
              <a:spLocks noChangeArrowheads="1"/>
            </p:cNvSpPr>
            <p:nvPr/>
          </p:nvSpPr>
          <p:spPr bwMode="auto">
            <a:xfrm>
              <a:off x="10207715" y="1267293"/>
              <a:ext cx="917176" cy="402483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alpha val="87843"/>
              </a:schemeClr>
            </a:solidFill>
            <a:ln w="317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92" tIns="15384" rIns="7692" bIns="15384" anchor="ctr"/>
            <a:lstStyle/>
            <a:p>
              <a:pPr algn="ctr">
                <a:defRPr/>
              </a:pPr>
              <a:r>
                <a:rPr lang="ru-RU" sz="945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Павлодарская обл.: 100 тыс.</a:t>
              </a:r>
            </a:p>
          </p:txBody>
        </p:sp>
        <p:sp>
          <p:nvSpPr>
            <p:cNvPr id="171" name="AutoShape 19"/>
            <p:cNvSpPr>
              <a:spLocks noChangeArrowheads="1"/>
            </p:cNvSpPr>
            <p:nvPr/>
          </p:nvSpPr>
          <p:spPr bwMode="auto">
            <a:xfrm>
              <a:off x="6300068" y="1558665"/>
              <a:ext cx="786433" cy="282180"/>
            </a:xfrm>
            <a:prstGeom prst="roundRect">
              <a:avLst>
                <a:gd name="adj" fmla="val 16667"/>
              </a:avLst>
            </a:prstGeom>
            <a:solidFill>
              <a:srgbClr val="FFFF00">
                <a:alpha val="87843"/>
              </a:srgbClr>
            </a:solidFill>
            <a:ln w="317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92" tIns="15384" rIns="7692" bIns="15384" anchor="ctr"/>
            <a:lstStyle/>
            <a:p>
              <a:pPr algn="ctr">
                <a:defRPr/>
              </a:pPr>
              <a:r>
                <a:rPr lang="ru-RU" sz="945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ЗКО: 65 тыс.</a:t>
              </a:r>
            </a:p>
          </p:txBody>
        </p:sp>
        <p:sp>
          <p:nvSpPr>
            <p:cNvPr id="172" name="AutoShape 19"/>
            <p:cNvSpPr>
              <a:spLocks noChangeArrowheads="1"/>
            </p:cNvSpPr>
            <p:nvPr/>
          </p:nvSpPr>
          <p:spPr bwMode="auto">
            <a:xfrm>
              <a:off x="8823477" y="798906"/>
              <a:ext cx="789752" cy="303900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alpha val="87843"/>
              </a:schemeClr>
            </a:solidFill>
            <a:ln w="317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92" tIns="15384" rIns="7692" bIns="15384" anchor="ctr"/>
            <a:lstStyle/>
            <a:p>
              <a:pPr algn="ctr">
                <a:defRPr/>
              </a:pPr>
              <a:r>
                <a:rPr lang="ru-RU" sz="945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СКО: 100 тыс.</a:t>
              </a:r>
            </a:p>
          </p:txBody>
        </p:sp>
        <p:sp>
          <p:nvSpPr>
            <p:cNvPr id="173" name="AutoShape 19"/>
            <p:cNvSpPr>
              <a:spLocks noChangeArrowheads="1"/>
            </p:cNvSpPr>
            <p:nvPr/>
          </p:nvSpPr>
          <p:spPr bwMode="auto">
            <a:xfrm>
              <a:off x="9036162" y="1329952"/>
              <a:ext cx="866634" cy="405932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alpha val="87843"/>
              </a:schemeClr>
            </a:solidFill>
            <a:ln w="317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92" tIns="15384" rIns="7692" bIns="15384" anchor="ctr"/>
            <a:lstStyle/>
            <a:p>
              <a:pPr algn="ctr">
                <a:defRPr/>
              </a:pPr>
              <a:r>
                <a:rPr lang="ru-RU" sz="945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Акмолинская</a:t>
              </a:r>
              <a:r>
                <a:rPr lang="ru-RU" sz="945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 </a:t>
              </a:r>
              <a:r>
                <a:rPr lang="ru-RU" sz="945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обл</a:t>
              </a:r>
              <a:r>
                <a:rPr lang="ru-RU" sz="945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: 100 тыс.</a:t>
              </a:r>
            </a:p>
          </p:txBody>
        </p:sp>
        <p:sp>
          <p:nvSpPr>
            <p:cNvPr id="174" name="AutoShape 19"/>
            <p:cNvSpPr>
              <a:spLocks noChangeArrowheads="1"/>
            </p:cNvSpPr>
            <p:nvPr/>
          </p:nvSpPr>
          <p:spPr bwMode="auto">
            <a:xfrm>
              <a:off x="10352363" y="3212801"/>
              <a:ext cx="865095" cy="389962"/>
            </a:xfrm>
            <a:prstGeom prst="roundRect">
              <a:avLst>
                <a:gd name="adj" fmla="val 16667"/>
              </a:avLst>
            </a:prstGeom>
            <a:solidFill>
              <a:srgbClr val="92D050">
                <a:alpha val="87843"/>
              </a:srgbClr>
            </a:solidFill>
            <a:ln w="317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92" tIns="15384" rIns="7692" bIns="15384" anchor="ctr"/>
            <a:lstStyle/>
            <a:p>
              <a:pPr algn="ctr">
                <a:defRPr/>
              </a:pPr>
              <a:r>
                <a:rPr lang="ru-RU" sz="945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Алматинская</a:t>
              </a:r>
              <a:r>
                <a:rPr lang="ru-RU" sz="945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 обл.: 150 тыс.</a:t>
              </a:r>
            </a:p>
          </p:txBody>
        </p:sp>
        <p:sp>
          <p:nvSpPr>
            <p:cNvPr id="175" name="AutoShape 19"/>
            <p:cNvSpPr>
              <a:spLocks noChangeArrowheads="1"/>
            </p:cNvSpPr>
            <p:nvPr/>
          </p:nvSpPr>
          <p:spPr bwMode="auto">
            <a:xfrm>
              <a:off x="8025438" y="3349769"/>
              <a:ext cx="1051124" cy="417043"/>
            </a:xfrm>
            <a:prstGeom prst="roundRect">
              <a:avLst>
                <a:gd name="adj" fmla="val 16667"/>
              </a:avLst>
            </a:prstGeom>
            <a:solidFill>
              <a:srgbClr val="FFFF00">
                <a:alpha val="87843"/>
              </a:srgbClr>
            </a:solidFill>
            <a:ln w="317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92" tIns="15384" rIns="7692" bIns="15384" anchor="ctr"/>
            <a:lstStyle/>
            <a:p>
              <a:pPr algn="ctr">
                <a:defRPr/>
              </a:pPr>
              <a:r>
                <a:rPr lang="ru-RU" sz="945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Кызылординская</a:t>
              </a:r>
              <a:r>
                <a:rPr lang="ru-RU" sz="945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 обл.: 75 тыс.</a:t>
              </a:r>
            </a:p>
          </p:txBody>
        </p:sp>
        <p:sp>
          <p:nvSpPr>
            <p:cNvPr id="176" name="AutoShape 19"/>
            <p:cNvSpPr>
              <a:spLocks noChangeArrowheads="1"/>
            </p:cNvSpPr>
            <p:nvPr/>
          </p:nvSpPr>
          <p:spPr bwMode="auto">
            <a:xfrm>
              <a:off x="10352363" y="3712177"/>
              <a:ext cx="1088255" cy="330923"/>
            </a:xfrm>
            <a:prstGeom prst="roundRect">
              <a:avLst>
                <a:gd name="adj" fmla="val 16667"/>
              </a:avLst>
            </a:prstGeom>
            <a:solidFill>
              <a:schemeClr val="accent1">
                <a:alpha val="87843"/>
              </a:schemeClr>
            </a:solidFill>
            <a:ln w="317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92" tIns="15384" rIns="7692" bIns="15384" anchor="ctr"/>
            <a:lstStyle/>
            <a:p>
              <a:pPr algn="ctr">
                <a:defRPr/>
              </a:pPr>
              <a:r>
                <a:rPr lang="ru-RU" sz="945" dirty="0">
                  <a:solidFill>
                    <a:schemeClr val="bg1"/>
                  </a:solidFill>
                  <a:latin typeface="Franklin Gothic Medium Cond" pitchFamily="34" charset="0"/>
                  <a:cs typeface="Arial" pitchFamily="34" charset="0"/>
                </a:rPr>
                <a:t>АЛМАТЫ: 400 тыс.</a:t>
              </a:r>
            </a:p>
          </p:txBody>
        </p:sp>
        <p:sp>
          <p:nvSpPr>
            <p:cNvPr id="177" name="AutoShape 19"/>
            <p:cNvSpPr>
              <a:spLocks noChangeArrowheads="1"/>
            </p:cNvSpPr>
            <p:nvPr/>
          </p:nvSpPr>
          <p:spPr bwMode="auto">
            <a:xfrm>
              <a:off x="7195214" y="1967557"/>
              <a:ext cx="830224" cy="419196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alpha val="87843"/>
              </a:schemeClr>
            </a:solidFill>
            <a:ln w="317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92" tIns="15384" rIns="7692" bIns="15384" anchor="ctr"/>
            <a:lstStyle/>
            <a:p>
              <a:pPr algn="ctr">
                <a:defRPr/>
              </a:pPr>
              <a:r>
                <a:rPr lang="ru-RU" sz="945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Актюбинская обл.: 100 тыс.</a:t>
              </a:r>
            </a:p>
          </p:txBody>
        </p:sp>
        <p:sp>
          <p:nvSpPr>
            <p:cNvPr id="178" name="AutoShape 19"/>
            <p:cNvSpPr>
              <a:spLocks noChangeArrowheads="1"/>
            </p:cNvSpPr>
            <p:nvPr/>
          </p:nvSpPr>
          <p:spPr bwMode="auto">
            <a:xfrm>
              <a:off x="6101745" y="3430093"/>
              <a:ext cx="984757" cy="369670"/>
            </a:xfrm>
            <a:prstGeom prst="roundRect">
              <a:avLst>
                <a:gd name="adj" fmla="val 16667"/>
              </a:avLst>
            </a:prstGeom>
            <a:solidFill>
              <a:srgbClr val="FFFF00">
                <a:alpha val="87843"/>
              </a:srgbClr>
            </a:solidFill>
            <a:ln w="317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92" tIns="15384" rIns="7692" bIns="15384" anchor="ctr"/>
            <a:lstStyle/>
            <a:p>
              <a:pPr algn="ctr">
                <a:defRPr/>
              </a:pPr>
              <a:r>
                <a:rPr lang="ru-RU" sz="945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Мангистауская</a:t>
              </a:r>
              <a:r>
                <a:rPr lang="ru-RU" sz="945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 обл.: 65 тыс.</a:t>
              </a:r>
            </a:p>
          </p:txBody>
        </p:sp>
        <p:sp>
          <p:nvSpPr>
            <p:cNvPr id="179" name="AutoShape 19"/>
            <p:cNvSpPr>
              <a:spLocks noChangeArrowheads="1"/>
            </p:cNvSpPr>
            <p:nvPr/>
          </p:nvSpPr>
          <p:spPr bwMode="auto">
            <a:xfrm>
              <a:off x="7794330" y="1167394"/>
              <a:ext cx="936249" cy="446083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alpha val="87843"/>
              </a:schemeClr>
            </a:solidFill>
            <a:ln w="317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92" tIns="15384" rIns="7692" bIns="15384" anchor="ctr"/>
            <a:lstStyle/>
            <a:p>
              <a:pPr algn="ctr">
                <a:defRPr/>
              </a:pPr>
              <a:r>
                <a:rPr lang="ru-RU" sz="945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Костанайская</a:t>
              </a:r>
              <a:r>
                <a:rPr lang="ru-RU" sz="945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 обл.: 100 тыс.</a:t>
              </a:r>
            </a:p>
          </p:txBody>
        </p:sp>
        <p:sp>
          <p:nvSpPr>
            <p:cNvPr id="180" name="AutoShape 19"/>
            <p:cNvSpPr>
              <a:spLocks noChangeArrowheads="1"/>
            </p:cNvSpPr>
            <p:nvPr/>
          </p:nvSpPr>
          <p:spPr bwMode="auto">
            <a:xfrm>
              <a:off x="8613171" y="4182328"/>
              <a:ext cx="969566" cy="331584"/>
            </a:xfrm>
            <a:prstGeom prst="roundRect">
              <a:avLst>
                <a:gd name="adj" fmla="val 16667"/>
              </a:avLst>
            </a:prstGeom>
            <a:solidFill>
              <a:srgbClr val="92D050">
                <a:alpha val="87843"/>
              </a:srgbClr>
            </a:solidFill>
            <a:ln w="317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92" tIns="15384" rIns="7692" bIns="15384" anchor="ctr"/>
            <a:lstStyle/>
            <a:p>
              <a:pPr algn="ctr">
                <a:defRPr/>
              </a:pPr>
              <a:r>
                <a:rPr lang="ru-RU" sz="945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ЮКО: 150 тыс.</a:t>
              </a:r>
            </a:p>
          </p:txBody>
        </p:sp>
        <p:sp>
          <p:nvSpPr>
            <p:cNvPr id="181" name="AutoShape 19"/>
            <p:cNvSpPr>
              <a:spLocks noChangeArrowheads="1"/>
            </p:cNvSpPr>
            <p:nvPr/>
          </p:nvSpPr>
          <p:spPr bwMode="auto">
            <a:xfrm>
              <a:off x="9374694" y="3712175"/>
              <a:ext cx="833021" cy="423337"/>
            </a:xfrm>
            <a:prstGeom prst="roundRect">
              <a:avLst>
                <a:gd name="adj" fmla="val 16667"/>
              </a:avLst>
            </a:prstGeom>
            <a:solidFill>
              <a:schemeClr val="accent6">
                <a:alpha val="87843"/>
              </a:schemeClr>
            </a:solidFill>
            <a:ln w="317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692" tIns="15384" rIns="7692" bIns="15384" anchor="ctr"/>
            <a:lstStyle/>
            <a:p>
              <a:pPr algn="ctr">
                <a:defRPr/>
              </a:pPr>
              <a:r>
                <a:rPr lang="ru-RU" sz="945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Жамбылская</a:t>
              </a:r>
              <a:r>
                <a:rPr lang="ru-RU" sz="945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 </a:t>
              </a:r>
              <a:r>
                <a:rPr lang="ru-RU" sz="945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обл</a:t>
              </a:r>
              <a:r>
                <a:rPr lang="ru-RU" sz="945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Franklin Gothic Medium Cond" pitchFamily="34" charset="0"/>
                  <a:cs typeface="Arial" pitchFamily="34" charset="0"/>
                </a:rPr>
                <a:t>: 100 тыс.</a:t>
              </a:r>
            </a:p>
          </p:txBody>
        </p:sp>
      </p:grpSp>
      <p:sp>
        <p:nvSpPr>
          <p:cNvPr id="162" name="TextBox 161"/>
          <p:cNvSpPr txBox="1"/>
          <p:nvPr/>
        </p:nvSpPr>
        <p:spPr>
          <a:xfrm>
            <a:off x="5143272" y="6510497"/>
            <a:ext cx="67839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50" b="1" u="sng" dirty="0">
                <a:solidFill>
                  <a:srgbClr val="92D050"/>
                </a:solidFill>
                <a:latin typeface="Neo Sans Pro" pitchFamily="34" charset="-52"/>
              </a:rPr>
              <a:t>2 292</a:t>
            </a:r>
          </a:p>
        </p:txBody>
      </p:sp>
      <p:sp>
        <p:nvSpPr>
          <p:cNvPr id="163" name="TextBox 162"/>
          <p:cNvSpPr txBox="1"/>
          <p:nvPr/>
        </p:nvSpPr>
        <p:spPr>
          <a:xfrm>
            <a:off x="6644210" y="6519754"/>
            <a:ext cx="67839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50" b="1" u="sng" dirty="0">
                <a:solidFill>
                  <a:srgbClr val="92D050"/>
                </a:solidFill>
                <a:latin typeface="Neo Sans Pro" pitchFamily="34" charset="-52"/>
              </a:rPr>
              <a:t>6 719</a:t>
            </a:r>
          </a:p>
        </p:txBody>
      </p:sp>
      <p:grpSp>
        <p:nvGrpSpPr>
          <p:cNvPr id="184" name="Группа 183"/>
          <p:cNvGrpSpPr/>
          <p:nvPr/>
        </p:nvGrpSpPr>
        <p:grpSpPr>
          <a:xfrm>
            <a:off x="1460501" y="4140201"/>
            <a:ext cx="4684966" cy="2679636"/>
            <a:chOff x="3612295" y="5893418"/>
            <a:chExt cx="6745110" cy="3809014"/>
          </a:xfrm>
        </p:grpSpPr>
        <p:sp>
          <p:nvSpPr>
            <p:cNvPr id="185" name="TextBox 184"/>
            <p:cNvSpPr txBox="1"/>
            <p:nvPr/>
          </p:nvSpPr>
          <p:spPr>
            <a:xfrm>
              <a:off x="5981311" y="6614292"/>
              <a:ext cx="2088233" cy="11216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20" dirty="0">
                  <a:solidFill>
                    <a:schemeClr val="bg1"/>
                  </a:solidFill>
                  <a:latin typeface="Neo Sans Pro" pitchFamily="34" charset="-52"/>
                </a:rPr>
                <a:t>Потребность</a:t>
              </a:r>
            </a:p>
            <a:p>
              <a:pPr algn="ctr"/>
              <a:r>
                <a:rPr lang="en-US" sz="1080" dirty="0">
                  <a:solidFill>
                    <a:schemeClr val="bg1"/>
                  </a:solidFill>
                  <a:latin typeface="Neo Sans Pro" pitchFamily="34" charset="-52"/>
                </a:rPr>
                <a:t>(</a:t>
              </a:r>
              <a:r>
                <a:rPr lang="ru-RU" sz="1080" dirty="0">
                  <a:solidFill>
                    <a:schemeClr val="bg1"/>
                  </a:solidFill>
                  <a:latin typeface="Neo Sans Pro" pitchFamily="34" charset="-52"/>
                </a:rPr>
                <a:t>тыс. чел.)</a:t>
              </a:r>
            </a:p>
          </p:txBody>
        </p:sp>
        <p:sp>
          <p:nvSpPr>
            <p:cNvPr id="187" name="Прямоугольник 186"/>
            <p:cNvSpPr/>
            <p:nvPr/>
          </p:nvSpPr>
          <p:spPr>
            <a:xfrm>
              <a:off x="5926403" y="5893418"/>
              <a:ext cx="4431002" cy="6907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350" b="1" dirty="0">
                  <a:solidFill>
                    <a:schemeClr val="bg1"/>
                  </a:solidFill>
                  <a:latin typeface="Neo Sans Pro" pitchFamily="34" charset="-52"/>
                  <a:ea typeface="Calibri" panose="020F0502020204030204" pitchFamily="34" charset="0"/>
                </a:rPr>
                <a:t>Транспортные сообщения</a:t>
              </a:r>
            </a:p>
            <a:p>
              <a:pPr algn="ctr"/>
              <a:r>
                <a:rPr lang="ru-RU" sz="1080" b="1" dirty="0">
                  <a:solidFill>
                    <a:schemeClr val="bg1"/>
                  </a:solidFill>
                  <a:latin typeface="Neo Sans Pro" pitchFamily="34" charset="-52"/>
                  <a:ea typeface="Calibri" panose="020F0502020204030204" pitchFamily="34" charset="0"/>
                </a:rPr>
                <a:t>10 июня - 10 сентября </a:t>
              </a:r>
              <a:endParaRPr lang="ru-RU" sz="1080" b="1" dirty="0">
                <a:solidFill>
                  <a:schemeClr val="bg1"/>
                </a:solidFill>
                <a:latin typeface="Neo Sans Pro" pitchFamily="34" charset="-52"/>
              </a:endParaRPr>
            </a:p>
          </p:txBody>
        </p:sp>
        <p:cxnSp>
          <p:nvCxnSpPr>
            <p:cNvPr id="188" name="Прямая соединительная линия 187"/>
            <p:cNvCxnSpPr/>
            <p:nvPr/>
          </p:nvCxnSpPr>
          <p:spPr>
            <a:xfrm flipH="1">
              <a:off x="8099946" y="6649342"/>
              <a:ext cx="9413" cy="2998182"/>
            </a:xfrm>
            <a:prstGeom prst="line">
              <a:avLst/>
            </a:prstGeom>
            <a:ln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Прямая соединительная линия 189"/>
            <p:cNvCxnSpPr/>
            <p:nvPr/>
          </p:nvCxnSpPr>
          <p:spPr>
            <a:xfrm>
              <a:off x="3653763" y="7943269"/>
              <a:ext cx="4455596" cy="111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1" name="Прямая соединительная линия 190"/>
            <p:cNvCxnSpPr/>
            <p:nvPr/>
          </p:nvCxnSpPr>
          <p:spPr>
            <a:xfrm>
              <a:off x="3612295" y="8516123"/>
              <a:ext cx="4517292" cy="9953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2" name="Прямая соединительная линия 191"/>
            <p:cNvCxnSpPr/>
            <p:nvPr/>
          </p:nvCxnSpPr>
          <p:spPr>
            <a:xfrm>
              <a:off x="3612295" y="9071460"/>
              <a:ext cx="4528687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3" name="Прямая соединительная линия 192"/>
            <p:cNvCxnSpPr/>
            <p:nvPr/>
          </p:nvCxnSpPr>
          <p:spPr>
            <a:xfrm flipH="1">
              <a:off x="5945112" y="6628773"/>
              <a:ext cx="4007" cy="301875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4" name="TextBox 193"/>
            <p:cNvSpPr txBox="1"/>
            <p:nvPr/>
          </p:nvSpPr>
          <p:spPr>
            <a:xfrm>
              <a:off x="4145088" y="8590603"/>
              <a:ext cx="809908" cy="4445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350" dirty="0">
                  <a:solidFill>
                    <a:schemeClr val="bg1"/>
                  </a:solidFill>
                  <a:latin typeface="Neo Sans Pro" pitchFamily="34" charset="-52"/>
                </a:rPr>
                <a:t>авто</a:t>
              </a:r>
            </a:p>
          </p:txBody>
        </p:sp>
        <p:sp>
          <p:nvSpPr>
            <p:cNvPr id="195" name="TextBox 194"/>
            <p:cNvSpPr txBox="1"/>
            <p:nvPr/>
          </p:nvSpPr>
          <p:spPr>
            <a:xfrm>
              <a:off x="4159205" y="7958686"/>
              <a:ext cx="715295" cy="4445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350" dirty="0">
                  <a:solidFill>
                    <a:schemeClr val="bg1"/>
                  </a:solidFill>
                  <a:latin typeface="Neo Sans Pro" pitchFamily="34" charset="-52"/>
                </a:rPr>
                <a:t>ж/д</a:t>
              </a:r>
            </a:p>
          </p:txBody>
        </p:sp>
        <p:sp>
          <p:nvSpPr>
            <p:cNvPr id="196" name="TextBox 195"/>
            <p:cNvSpPr txBox="1"/>
            <p:nvPr/>
          </p:nvSpPr>
          <p:spPr>
            <a:xfrm>
              <a:off x="4145088" y="7388101"/>
              <a:ext cx="829287" cy="4445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350" dirty="0">
                  <a:solidFill>
                    <a:schemeClr val="bg1"/>
                  </a:solidFill>
                  <a:latin typeface="Neo Sans Pro" pitchFamily="34" charset="-52"/>
                </a:rPr>
                <a:t>авиа</a:t>
              </a:r>
            </a:p>
          </p:txBody>
        </p:sp>
        <p:sp>
          <p:nvSpPr>
            <p:cNvPr id="197" name="TextBox 196"/>
            <p:cNvSpPr txBox="1"/>
            <p:nvPr/>
          </p:nvSpPr>
          <p:spPr>
            <a:xfrm>
              <a:off x="6545168" y="7423963"/>
              <a:ext cx="945653" cy="4445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350" dirty="0">
                  <a:solidFill>
                    <a:schemeClr val="bg1"/>
                  </a:solidFill>
                  <a:latin typeface="Neo Sans Pro" pitchFamily="34" charset="-52"/>
                </a:rPr>
                <a:t>347,3</a:t>
              </a:r>
              <a:endParaRPr lang="ru-RU" sz="1350" dirty="0">
                <a:solidFill>
                  <a:schemeClr val="bg1"/>
                </a:solidFill>
                <a:latin typeface="Neo Sans Pro" pitchFamily="34" charset="-52"/>
              </a:endParaRPr>
            </a:p>
          </p:txBody>
        </p:sp>
        <p:sp>
          <p:nvSpPr>
            <p:cNvPr id="198" name="TextBox 197"/>
            <p:cNvSpPr txBox="1"/>
            <p:nvPr/>
          </p:nvSpPr>
          <p:spPr>
            <a:xfrm>
              <a:off x="6616591" y="8011058"/>
              <a:ext cx="945653" cy="4445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dirty="0">
                  <a:solidFill>
                    <a:schemeClr val="bg1"/>
                  </a:solidFill>
                  <a:latin typeface="Neo Sans Pro" pitchFamily="34" charset="-52"/>
                </a:rPr>
                <a:t>981,5</a:t>
              </a:r>
              <a:endParaRPr lang="ru-RU" sz="1350" dirty="0">
                <a:solidFill>
                  <a:schemeClr val="bg1"/>
                </a:solidFill>
                <a:latin typeface="Neo Sans Pro" pitchFamily="34" charset="-52"/>
              </a:endParaRPr>
            </a:p>
          </p:txBody>
        </p:sp>
        <p:sp>
          <p:nvSpPr>
            <p:cNvPr id="199" name="TextBox 198"/>
            <p:cNvSpPr txBox="1"/>
            <p:nvPr/>
          </p:nvSpPr>
          <p:spPr>
            <a:xfrm>
              <a:off x="6587428" y="8554526"/>
              <a:ext cx="945653" cy="4445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dirty="0">
                  <a:solidFill>
                    <a:schemeClr val="bg1"/>
                  </a:solidFill>
                  <a:latin typeface="Neo Sans Pro" pitchFamily="34" charset="-52"/>
                </a:rPr>
                <a:t>490,4</a:t>
              </a:r>
              <a:endParaRPr lang="ru-RU" sz="1350" dirty="0">
                <a:solidFill>
                  <a:schemeClr val="bg1"/>
                </a:solidFill>
                <a:latin typeface="Neo Sans Pro" pitchFamily="34" charset="-52"/>
              </a:endParaRPr>
            </a:p>
          </p:txBody>
        </p:sp>
        <p:sp>
          <p:nvSpPr>
            <p:cNvPr id="203" name="TextBox 202"/>
            <p:cNvSpPr txBox="1"/>
            <p:nvPr/>
          </p:nvSpPr>
          <p:spPr>
            <a:xfrm>
              <a:off x="6572937" y="9257866"/>
              <a:ext cx="1308613" cy="4445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350" b="1" u="sng" dirty="0">
                  <a:solidFill>
                    <a:srgbClr val="92D050"/>
                  </a:solidFill>
                  <a:latin typeface="Neo Sans Pro" pitchFamily="34" charset="-52"/>
                </a:rPr>
                <a:t>1 820</a:t>
              </a:r>
            </a:p>
          </p:txBody>
        </p:sp>
      </p:grpSp>
      <p:cxnSp>
        <p:nvCxnSpPr>
          <p:cNvPr id="210" name="Прямая соединительная линия 209"/>
          <p:cNvCxnSpPr/>
          <p:nvPr/>
        </p:nvCxnSpPr>
        <p:spPr>
          <a:xfrm>
            <a:off x="1627335" y="5236112"/>
            <a:ext cx="3007527" cy="75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 стрелкой 70"/>
          <p:cNvCxnSpPr/>
          <p:nvPr/>
        </p:nvCxnSpPr>
        <p:spPr>
          <a:xfrm>
            <a:off x="4652948" y="5645622"/>
            <a:ext cx="2937589" cy="1528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 стрелкой 71"/>
          <p:cNvCxnSpPr/>
          <p:nvPr/>
        </p:nvCxnSpPr>
        <p:spPr>
          <a:xfrm>
            <a:off x="4652948" y="6017549"/>
            <a:ext cx="2937589" cy="1528"/>
          </a:xfrm>
          <a:prstGeom prst="straightConnector1">
            <a:avLst/>
          </a:prstGeom>
          <a:ln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 стрелкой 93"/>
          <p:cNvCxnSpPr/>
          <p:nvPr/>
        </p:nvCxnSpPr>
        <p:spPr>
          <a:xfrm>
            <a:off x="4649381" y="6393930"/>
            <a:ext cx="2937589" cy="1528"/>
          </a:xfrm>
          <a:prstGeom prst="straightConnector1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/>
          <p:cNvSpPr/>
          <p:nvPr/>
        </p:nvSpPr>
        <p:spPr>
          <a:xfrm>
            <a:off x="4725873" y="6017232"/>
            <a:ext cx="2866037" cy="37500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>
              <a:latin typeface="Neo Sans Pro" pitchFamily="34" charset="-52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 rot="5400000">
            <a:off x="6602585" y="5526330"/>
            <a:ext cx="2459253" cy="536"/>
          </a:xfrm>
          <a:prstGeom prst="line">
            <a:avLst/>
          </a:prstGeom>
          <a:ln>
            <a:solidFill>
              <a:schemeClr val="bg1"/>
            </a:solidFill>
            <a:prstDash val="dashDot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78" name="Прямоугольник 77"/>
          <p:cNvSpPr/>
          <p:nvPr/>
        </p:nvSpPr>
        <p:spPr>
          <a:xfrm>
            <a:off x="8651694" y="4296972"/>
            <a:ext cx="2353130" cy="4662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15" b="1" dirty="0">
                <a:solidFill>
                  <a:schemeClr val="bg1"/>
                </a:solidFill>
                <a:latin typeface="Neo Sans Pro" pitchFamily="34" charset="-52"/>
                <a:ea typeface="Calibri" panose="020F0502020204030204" pitchFamily="34" charset="0"/>
              </a:rPr>
              <a:t>Места размещения</a:t>
            </a:r>
          </a:p>
          <a:p>
            <a:pPr algn="ctr"/>
            <a:r>
              <a:rPr lang="ru-RU" sz="1215" dirty="0">
                <a:solidFill>
                  <a:schemeClr val="bg1"/>
                </a:solidFill>
                <a:latin typeface="Neo Sans Pro" pitchFamily="34" charset="-52"/>
              </a:rPr>
              <a:t>(койко-места)</a:t>
            </a:r>
            <a:endParaRPr lang="ru-RU" sz="945" dirty="0">
              <a:solidFill>
                <a:schemeClr val="bg1"/>
              </a:solidFill>
              <a:latin typeface="Neo Sans Pro" pitchFamily="34" charset="-52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9278563" y="4779178"/>
            <a:ext cx="1109075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20" dirty="0">
                <a:solidFill>
                  <a:schemeClr val="bg1"/>
                </a:solidFill>
                <a:latin typeface="Neo Sans Pro" pitchFamily="34" charset="-52"/>
              </a:rPr>
              <a:t>Факт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10435858" y="4779178"/>
            <a:ext cx="954731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20" dirty="0">
                <a:solidFill>
                  <a:schemeClr val="bg1"/>
                </a:solidFill>
                <a:latin typeface="Neo Sans Pro" pitchFamily="34" charset="-52"/>
              </a:rPr>
              <a:t>2017</a:t>
            </a:r>
          </a:p>
        </p:txBody>
      </p:sp>
      <p:cxnSp>
        <p:nvCxnSpPr>
          <p:cNvPr id="84" name="Прямая соединительная линия 83"/>
          <p:cNvCxnSpPr/>
          <p:nvPr/>
        </p:nvCxnSpPr>
        <p:spPr>
          <a:xfrm>
            <a:off x="10339417" y="4785622"/>
            <a:ext cx="14085" cy="202377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 стрелкой 84"/>
          <p:cNvCxnSpPr/>
          <p:nvPr/>
        </p:nvCxnSpPr>
        <p:spPr>
          <a:xfrm>
            <a:off x="9326784" y="5261385"/>
            <a:ext cx="2073488" cy="1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/>
          <p:cNvSpPr txBox="1"/>
          <p:nvPr/>
        </p:nvSpPr>
        <p:spPr>
          <a:xfrm>
            <a:off x="9491562" y="5308491"/>
            <a:ext cx="74892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350" dirty="0">
                <a:solidFill>
                  <a:schemeClr val="bg1"/>
                </a:solidFill>
                <a:latin typeface="Neo Sans Pro" pitchFamily="34" charset="-52"/>
              </a:rPr>
              <a:t>12 013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9537565" y="5743591"/>
            <a:ext cx="64472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50" dirty="0">
                <a:solidFill>
                  <a:schemeClr val="bg1"/>
                </a:solidFill>
                <a:latin typeface="Neo Sans Pro" pitchFamily="34" charset="-52"/>
              </a:rPr>
              <a:t>5 050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9471446" y="6100386"/>
            <a:ext cx="74892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50" dirty="0">
                <a:solidFill>
                  <a:schemeClr val="bg1"/>
                </a:solidFill>
                <a:latin typeface="Neo Sans Pro" pitchFamily="34" charset="-52"/>
              </a:rPr>
              <a:t>13 235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10562896" y="5308491"/>
            <a:ext cx="74892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50" dirty="0">
                <a:solidFill>
                  <a:schemeClr val="bg1"/>
                </a:solidFill>
                <a:latin typeface="Neo Sans Pro" pitchFamily="34" charset="-52"/>
              </a:rPr>
              <a:t>13 261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10585740" y="5743591"/>
            <a:ext cx="64472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350" dirty="0">
                <a:solidFill>
                  <a:schemeClr val="bg1"/>
                </a:solidFill>
                <a:latin typeface="Neo Sans Pro" pitchFamily="34" charset="-52"/>
              </a:rPr>
              <a:t>5 050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10532300" y="6129357"/>
            <a:ext cx="74892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50" dirty="0">
                <a:solidFill>
                  <a:schemeClr val="bg1"/>
                </a:solidFill>
                <a:latin typeface="Neo Sans Pro" pitchFamily="34" charset="-52"/>
              </a:rPr>
              <a:t>15 313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9471446" y="6515122"/>
            <a:ext cx="79060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50" b="1" u="sng" dirty="0">
                <a:solidFill>
                  <a:schemeClr val="bg1"/>
                </a:solidFill>
                <a:latin typeface="Neo Sans Pro" pitchFamily="34" charset="-52"/>
              </a:rPr>
              <a:t>30 298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10532300" y="6515122"/>
            <a:ext cx="79060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50" b="1" u="sng" dirty="0">
                <a:solidFill>
                  <a:schemeClr val="bg1"/>
                </a:solidFill>
                <a:latin typeface="Neo Sans Pro" pitchFamily="34" charset="-52"/>
              </a:rPr>
              <a:t>33 624</a:t>
            </a:r>
          </a:p>
        </p:txBody>
      </p:sp>
      <p:cxnSp>
        <p:nvCxnSpPr>
          <p:cNvPr id="112" name="Прямая со стрелкой 111"/>
          <p:cNvCxnSpPr/>
          <p:nvPr/>
        </p:nvCxnSpPr>
        <p:spPr>
          <a:xfrm>
            <a:off x="9326784" y="5647150"/>
            <a:ext cx="2073488" cy="1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Прямая со стрелкой 112"/>
          <p:cNvCxnSpPr/>
          <p:nvPr/>
        </p:nvCxnSpPr>
        <p:spPr>
          <a:xfrm>
            <a:off x="9326784" y="6032915"/>
            <a:ext cx="2073488" cy="1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Прямая со стрелкой 113"/>
          <p:cNvCxnSpPr/>
          <p:nvPr/>
        </p:nvCxnSpPr>
        <p:spPr>
          <a:xfrm>
            <a:off x="9326784" y="6418680"/>
            <a:ext cx="2073488" cy="1072"/>
          </a:xfrm>
          <a:prstGeom prst="straightConnector1">
            <a:avLst/>
          </a:prstGeom>
          <a:ln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единительная линия 114"/>
          <p:cNvCxnSpPr/>
          <p:nvPr/>
        </p:nvCxnSpPr>
        <p:spPr>
          <a:xfrm flipH="1">
            <a:off x="7880164" y="5259335"/>
            <a:ext cx="2054396" cy="0"/>
          </a:xfrm>
          <a:prstGeom prst="line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/>
          <p:cNvCxnSpPr/>
          <p:nvPr/>
        </p:nvCxnSpPr>
        <p:spPr>
          <a:xfrm flipH="1">
            <a:off x="7873337" y="5652669"/>
            <a:ext cx="2054396" cy="0"/>
          </a:xfrm>
          <a:prstGeom prst="line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 flipH="1">
            <a:off x="7887856" y="6032915"/>
            <a:ext cx="2054396" cy="0"/>
          </a:xfrm>
          <a:prstGeom prst="line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Прямая соединительная линия 117"/>
          <p:cNvCxnSpPr/>
          <p:nvPr/>
        </p:nvCxnSpPr>
        <p:spPr>
          <a:xfrm flipH="1">
            <a:off x="7898772" y="6418680"/>
            <a:ext cx="2054396" cy="0"/>
          </a:xfrm>
          <a:prstGeom prst="line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TextBox 118"/>
          <p:cNvSpPr txBox="1"/>
          <p:nvPr/>
        </p:nvSpPr>
        <p:spPr>
          <a:xfrm>
            <a:off x="8314150" y="5328855"/>
            <a:ext cx="104522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50" dirty="0">
                <a:solidFill>
                  <a:schemeClr val="bg1"/>
                </a:solidFill>
                <a:latin typeface="Neo Sans Pro" pitchFamily="34" charset="-52"/>
              </a:rPr>
              <a:t>гостиницы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8410591" y="5714620"/>
            <a:ext cx="95782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50" dirty="0">
                <a:solidFill>
                  <a:schemeClr val="bg1"/>
                </a:solidFill>
                <a:latin typeface="Neo Sans Pro" pitchFamily="34" charset="-52"/>
              </a:rPr>
              <a:t>квартиры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8271678" y="6100386"/>
            <a:ext cx="111633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50" dirty="0">
                <a:solidFill>
                  <a:schemeClr val="bg1"/>
                </a:solidFill>
                <a:latin typeface="Neo Sans Pro" pitchFamily="34" charset="-52"/>
              </a:rPr>
              <a:t>общежития</a:t>
            </a:r>
          </a:p>
        </p:txBody>
      </p:sp>
      <p:sp>
        <p:nvSpPr>
          <p:cNvPr id="122" name="TextBox 1"/>
          <p:cNvSpPr txBox="1"/>
          <p:nvPr/>
        </p:nvSpPr>
        <p:spPr>
          <a:xfrm>
            <a:off x="827474" y="451241"/>
            <a:ext cx="6174960" cy="713016"/>
          </a:xfrm>
          <a:prstGeom prst="rect">
            <a:avLst/>
          </a:prstGeom>
          <a:noFill/>
        </p:spPr>
        <p:txBody>
          <a:bodyPr wrap="none" lIns="0" tIns="0" rIns="0" rtlCol="0">
            <a:spAutoFit/>
          </a:bodyPr>
          <a:lstStyle/>
          <a:p>
            <a:pPr>
              <a:lnSpc>
                <a:spcPts val="2552"/>
              </a:lnSpc>
            </a:pPr>
            <a:r>
              <a:rPr lang="ru-RU" altLang="zh-CN" sz="2700" b="1" u="sng" dirty="0" smtClean="0">
                <a:solidFill>
                  <a:srgbClr val="FFFFFF"/>
                </a:solidFill>
                <a:latin typeface="Neo Sans Pro" panose="020B0504030504040204" pitchFamily="34" charset="-52"/>
                <a:cs typeface="Segoe UI" pitchFamily="18" charset="0"/>
              </a:rPr>
              <a:t>Посетители из регионов, логистика </a:t>
            </a:r>
            <a:endParaRPr lang="ru-RU" altLang="zh-CN" sz="2700" b="1" u="sng" dirty="0">
              <a:solidFill>
                <a:srgbClr val="FFFFFF"/>
              </a:solidFill>
              <a:latin typeface="Neo Sans Pro" panose="020B0504030504040204" pitchFamily="34" charset="-52"/>
              <a:cs typeface="Segoe UI" pitchFamily="18" charset="0"/>
            </a:endParaRPr>
          </a:p>
          <a:p>
            <a:pPr>
              <a:lnSpc>
                <a:spcPts val="2552"/>
              </a:lnSpc>
            </a:pPr>
            <a:r>
              <a:rPr lang="ru-RU" altLang="zh-CN" sz="2700" b="1" dirty="0">
                <a:solidFill>
                  <a:srgbClr val="92D050"/>
                </a:solidFill>
                <a:latin typeface="Neo Sans Pro" panose="020B0504030504040204" pitchFamily="34" charset="-52"/>
                <a:cs typeface="Segoe UI" pitchFamily="18" charset="0"/>
              </a:rPr>
              <a:t>2 470 000 человек</a:t>
            </a:r>
            <a:endParaRPr lang="en-US" altLang="zh-CN" sz="2700" dirty="0">
              <a:solidFill>
                <a:srgbClr val="92D050"/>
              </a:solidFill>
              <a:latin typeface="Neo Sans Pro" panose="020B0504030504040204" pitchFamily="34" charset="-52"/>
              <a:cs typeface="Segoe UI" pitchFamily="18" charset="0"/>
            </a:endParaRPr>
          </a:p>
        </p:txBody>
      </p:sp>
      <p:grpSp>
        <p:nvGrpSpPr>
          <p:cNvPr id="96" name="Group 95"/>
          <p:cNvGrpSpPr/>
          <p:nvPr/>
        </p:nvGrpSpPr>
        <p:grpSpPr>
          <a:xfrm>
            <a:off x="9149097" y="300936"/>
            <a:ext cx="2641563" cy="1412546"/>
            <a:chOff x="11890214" y="550455"/>
            <a:chExt cx="3913427" cy="2092660"/>
          </a:xfrm>
        </p:grpSpPr>
        <p:pic>
          <p:nvPicPr>
            <p:cNvPr id="97" name="Picture 96" descr="F:\сергей\expo\№3 преза_видео\work22-02.png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234"/>
            <a:stretch/>
          </p:blipFill>
          <p:spPr bwMode="auto">
            <a:xfrm>
              <a:off x="11890214" y="550455"/>
              <a:ext cx="1485910" cy="209266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 xmlns:lc="http://schemas.openxmlformats.org/drawingml/2006/lockedCanvas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8" name="Picture 97" descr="C:\Users\1\Desktop\DTP use\Logo BIE JPG files\Logo_BIE_CMYK.jp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3818219" y="975544"/>
              <a:ext cx="1985422" cy="749281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456551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F:\сергей\expo\№3 преза_видео\work22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57043"/>
            <a:ext cx="12192000" cy="6915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418597" y="2748524"/>
          <a:ext cx="4860540" cy="40257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77701"/>
                <a:gridCol w="1499993"/>
                <a:gridCol w="1291423"/>
                <a:gridCol w="1291423"/>
              </a:tblGrid>
              <a:tr h="340238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Страна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Город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Дата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422981">
                <a:tc rowSpan="8"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I</a:t>
                      </a:r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 этап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Великобритания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Лондон,</a:t>
                      </a:r>
                      <a:r>
                        <a:rPr lang="ru-RU" sz="120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 Эдинбург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Июль 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201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3348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Индия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Дели, Мумбаи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Июль 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201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3348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Иран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Тегеран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Июль 201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3348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Нидерланды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Амстердам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Август 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201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46809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Бельгия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Брюссель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Август 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201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3940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Швейцария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Цюрих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Август 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201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48080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Австрия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Вена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Август 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201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3888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Франция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Париж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 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Сентябрь 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201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</a:tr>
              <a:tr h="526184"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Инфотур 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№</a:t>
                      </a:r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1 </a:t>
                      </a:r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– сентябрь 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2016</a:t>
                      </a:r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 г.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5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6420782" y="2748524"/>
          <a:ext cx="4768269" cy="40295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62938"/>
                <a:gridCol w="1471518"/>
                <a:gridCol w="1561705"/>
                <a:gridCol w="972108"/>
              </a:tblGrid>
              <a:tr h="340238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 </a:t>
                      </a:r>
                      <a:endParaRPr lang="ru-RU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Страна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Города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Дата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217467">
                <a:tc rowSpan="11">
                  <a:txBody>
                    <a:bodyPr/>
                    <a:lstStyle/>
                    <a:p>
                      <a:pPr algn="ctr" rtl="0" fontAlgn="ctr"/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II</a:t>
                      </a:r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 этап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Италия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Милан, Рим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 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Октя</a:t>
                      </a:r>
                      <a:r>
                        <a:rPr lang="ru-RU" sz="120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 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201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4244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щвеция</a:t>
                      </a:r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, Норвегия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, </a:t>
                      </a:r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Дания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Стокгольм,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Копенгаген, Осло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Ноя</a:t>
                      </a:r>
                      <a:r>
                        <a:rPr lang="ru-RU" sz="120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 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201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4244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Германия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Мюнхен, Штутгарт,</a:t>
                      </a:r>
                      <a:r>
                        <a:rPr lang="ru-RU" sz="120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Франкфурт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Ноя 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201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36244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Китай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Шанхай, Гонконг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Ноя 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201</a:t>
                      </a:r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21746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Китай</a:t>
                      </a:r>
                      <a:endParaRPr lang="ru-RU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Пекин, Урумчи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Март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 201</a:t>
                      </a:r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4244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Испания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Мадрид,</a:t>
                      </a:r>
                      <a:r>
                        <a:rPr lang="ru-RU" sz="120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 Барселона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Янв</a:t>
                      </a:r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 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2017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21746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ОАЭ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                              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Дубай, Абу Даби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Янв</a:t>
                      </a:r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 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2017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21746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Турция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Стамбул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Янв</a:t>
                      </a:r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 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2017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31351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Ю. Корея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Сеул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Фев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 </a:t>
                      </a:r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2017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21746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Япония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Токио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Фев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 2017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21746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Германия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Берлин, Ганновер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Март 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2017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  <a:tr h="435340">
                <a:tc gridSpan="4">
                  <a:txBody>
                    <a:bodyPr/>
                    <a:lstStyle/>
                    <a:p>
                      <a:pPr algn="ctr" rtl="0" fontAlgn="b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Инфотур 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№</a:t>
                      </a:r>
                      <a:r>
                        <a:rPr lang="en-US" sz="1200" u="none" strike="noStrike" dirty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2 </a:t>
                      </a:r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– май 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2017</a:t>
                      </a:r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Neo Sans Pro"/>
                        </a:rPr>
                        <a:t> г.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effectLst/>
                        <a:latin typeface="Neo Sans Pro"/>
                      </a:endParaRPr>
                    </a:p>
                  </a:txBody>
                  <a:tcPr marL="6429" marR="6429" marT="6429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CasellaDiTesto 15"/>
          <p:cNvSpPr txBox="1"/>
          <p:nvPr/>
        </p:nvSpPr>
        <p:spPr>
          <a:xfrm>
            <a:off x="1349342" y="886301"/>
            <a:ext cx="8748972" cy="17754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92881" indent="-192881">
              <a:buFont typeface="Wingdings" panose="05000000000000000000" pitchFamily="2" charset="2"/>
              <a:buChar char="q"/>
            </a:pPr>
            <a:r>
              <a:rPr lang="ru-RU" sz="1823" b="1" dirty="0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 </a:t>
            </a:r>
            <a:r>
              <a:rPr lang="it-IT" sz="1823" b="1" dirty="0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1</a:t>
            </a:r>
            <a:r>
              <a:rPr lang="ru-RU" sz="1823" b="1" dirty="0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3</a:t>
            </a:r>
            <a:r>
              <a:rPr lang="it-IT" sz="1823" b="1" dirty="0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 </a:t>
            </a:r>
            <a:r>
              <a:rPr lang="ru-RU" sz="1823" b="1" dirty="0" err="1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роуд</a:t>
            </a:r>
            <a:r>
              <a:rPr lang="ru-RU" sz="1823" b="1" dirty="0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-шоу</a:t>
            </a:r>
            <a:endParaRPr lang="it-IT" sz="1823" b="1" dirty="0">
              <a:solidFill>
                <a:schemeClr val="bg1"/>
              </a:solidFill>
              <a:latin typeface="Neo Sans Pro"/>
              <a:ea typeface="Microsoft JhengHei UI Light" panose="020B0304030504040204" pitchFamily="34" charset="-120"/>
            </a:endParaRPr>
          </a:p>
          <a:p>
            <a:pPr marL="192881" indent="-192881">
              <a:buFont typeface="Wingdings" panose="05000000000000000000" pitchFamily="2" charset="2"/>
              <a:buChar char="q"/>
            </a:pPr>
            <a:r>
              <a:rPr lang="ru-RU" sz="1823" b="1" dirty="0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 </a:t>
            </a:r>
            <a:r>
              <a:rPr lang="it-IT" sz="1823" b="1" dirty="0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3</a:t>
            </a:r>
            <a:r>
              <a:rPr lang="ru-RU" sz="1823" b="1" dirty="0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0</a:t>
            </a:r>
            <a:r>
              <a:rPr lang="it-IT" sz="1823" b="1" dirty="0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 </a:t>
            </a:r>
            <a:r>
              <a:rPr lang="ru-RU" sz="1823" b="1" dirty="0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ключевых городов</a:t>
            </a:r>
            <a:endParaRPr lang="it-IT" sz="1823" b="1" dirty="0">
              <a:solidFill>
                <a:schemeClr val="bg1"/>
              </a:solidFill>
              <a:latin typeface="Neo Sans Pro"/>
              <a:ea typeface="Microsoft JhengHei UI Light" panose="020B0304030504040204" pitchFamily="34" charset="-120"/>
            </a:endParaRPr>
          </a:p>
          <a:p>
            <a:pPr marL="192881" indent="-192881">
              <a:buFont typeface="Wingdings" panose="05000000000000000000" pitchFamily="2" charset="2"/>
              <a:buChar char="q"/>
            </a:pPr>
            <a:r>
              <a:rPr lang="ru-RU" sz="1823" b="1" dirty="0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 </a:t>
            </a:r>
            <a:r>
              <a:rPr lang="it-IT" sz="1823" b="1" dirty="0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1</a:t>
            </a:r>
            <a:r>
              <a:rPr lang="ru-RU" sz="1823" b="1" dirty="0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9</a:t>
            </a:r>
            <a:r>
              <a:rPr lang="it-IT" sz="1823" b="1" dirty="0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 </a:t>
            </a:r>
            <a:r>
              <a:rPr lang="ru-RU" sz="1823" b="1" dirty="0">
                <a:solidFill>
                  <a:schemeClr val="bg1"/>
                </a:solidFill>
                <a:latin typeface="Neo Sans Pro"/>
                <a:ea typeface="Microsoft JhengHei UI Light" panose="020B0304030504040204" pitchFamily="34" charset="-120"/>
              </a:rPr>
              <a:t>целевых стран</a:t>
            </a:r>
          </a:p>
          <a:p>
            <a:r>
              <a:rPr lang="ru-RU" sz="1823" b="1" dirty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Охват: </a:t>
            </a:r>
          </a:p>
          <a:p>
            <a:r>
              <a:rPr lang="ru-RU" sz="1823" b="1" dirty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1 500 туроператоров с клиентской базой 300 млн. туристов</a:t>
            </a:r>
          </a:p>
          <a:p>
            <a:r>
              <a:rPr lang="ru-RU" sz="1823" b="1" dirty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1 500 СМИ, </a:t>
            </a:r>
            <a:r>
              <a:rPr lang="ru-RU" sz="1823" b="1" dirty="0" err="1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блогеров</a:t>
            </a:r>
            <a:r>
              <a:rPr lang="ru-RU" sz="1823" b="1" dirty="0">
                <a:solidFill>
                  <a:srgbClr val="92D050"/>
                </a:solidFill>
                <a:latin typeface="Neo Sans Pro"/>
                <a:ea typeface="Microsoft JhengHei UI Light" panose="020B0304030504040204" pitchFamily="34" charset="-120"/>
              </a:rPr>
              <a:t> с базой читателей 11 млн. человек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16539" y="346529"/>
            <a:ext cx="6464655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700" b="1" u="sng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Привлечение иностранных туристов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9202113" y="306463"/>
            <a:ext cx="2641563" cy="1412546"/>
            <a:chOff x="11890214" y="550455"/>
            <a:chExt cx="3913427" cy="2092660"/>
          </a:xfrm>
        </p:grpSpPr>
        <p:pic>
          <p:nvPicPr>
            <p:cNvPr id="10" name="Picture 9" descr="F:\сергей\expo\№3 преза_видео\work22-02.png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234"/>
            <a:stretch/>
          </p:blipFill>
          <p:spPr bwMode="auto">
            <a:xfrm>
              <a:off x="11890214" y="550455"/>
              <a:ext cx="1485910" cy="209266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 xmlns:lc="http://schemas.openxmlformats.org/drawingml/2006/lockedCanvas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0" descr="C:\Users\1\Desktop\DTP use\Logo BIE JPG files\Logo_BIE_CMYK.jp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3818219" y="975544"/>
              <a:ext cx="1985422" cy="749281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05675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316351" y="659668"/>
            <a:ext cx="2480936" cy="4662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30" dirty="0">
                <a:solidFill>
                  <a:schemeClr val="bg1"/>
                </a:solidFill>
                <a:latin typeface="Neo Sans Pro Medium" pitchFamily="34" charset="-52"/>
              </a:rPr>
              <a:t>2014: </a:t>
            </a:r>
            <a:r>
              <a:rPr lang="en-US" sz="2430" dirty="0">
                <a:solidFill>
                  <a:schemeClr val="bg1"/>
                </a:solidFill>
                <a:latin typeface="Neo Sans Pro Light" pitchFamily="34" charset="-52"/>
              </a:rPr>
              <a:t>TOURISM</a:t>
            </a:r>
            <a:endParaRPr lang="ru-RU" sz="2430" dirty="0">
              <a:solidFill>
                <a:schemeClr val="bg1"/>
              </a:solidFill>
              <a:latin typeface="Neo Sans Pro Light" pitchFamily="34" charset="-52"/>
            </a:endParaRPr>
          </a:p>
        </p:txBody>
      </p:sp>
      <p:pic>
        <p:nvPicPr>
          <p:cNvPr id="18" name="Picture 5" descr="C:\Users\amarat\Desktop\сыфысыыыыыы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277687"/>
            <a:ext cx="4426527" cy="6946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object 2"/>
          <p:cNvSpPr txBox="1">
            <a:spLocks/>
          </p:cNvSpPr>
          <p:nvPr/>
        </p:nvSpPr>
        <p:spPr>
          <a:xfrm>
            <a:off x="237870" y="449871"/>
            <a:ext cx="3952293" cy="307777"/>
          </a:xfrm>
          <a:prstGeom prst="rect">
            <a:avLst/>
          </a:prstGeom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ts val="2358"/>
              </a:lnSpc>
            </a:pPr>
            <a:r>
              <a:rPr lang="ru-RU" sz="2000" spc="-30" dirty="0" smtClean="0">
                <a:solidFill>
                  <a:srgbClr val="FFFFFF"/>
                </a:solidFill>
                <a:latin typeface="Trebuchet MS"/>
                <a:cs typeface="Trebuchet MS"/>
              </a:rPr>
              <a:t>Выставки</a:t>
            </a:r>
            <a:endParaRPr lang="ru-RU" sz="2000" dirty="0">
              <a:latin typeface="Trebuchet MS"/>
              <a:cs typeface="Trebuchet MS"/>
            </a:endParaRPr>
          </a:p>
        </p:txBody>
      </p:sp>
      <p:pic>
        <p:nvPicPr>
          <p:cNvPr id="5" name="Изображение 10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130181" y="-184647"/>
            <a:ext cx="1206500" cy="1511300"/>
          </a:xfrm>
          <a:prstGeom prst="rect">
            <a:avLst/>
          </a:prstGeom>
        </p:spPr>
      </p:pic>
      <p:pic>
        <p:nvPicPr>
          <p:cNvPr id="6" name="Picture 2" descr="BI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38" name="Picture 2" descr="https://upload.wikimedia.org/wikipedia/commons/thumb/b/b0/Logo_itb_with_claim_english.jpg/130px-Logo_itb_with_claim_english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3603" y="2199840"/>
            <a:ext cx="668084" cy="1423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0" name="Picture 4" descr="http://www.aerostar.ru/netcat_files/132/76/2aa339b9b44ad50d1c21be94982970e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1644" y="2663015"/>
            <a:ext cx="1735777" cy="682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2" name="Picture 6" descr="http://victorytour.az/wp-content/uploads/2016/01/COTTM-2015-home-page-logo-copy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5742" y="2630567"/>
            <a:ext cx="2333605" cy="562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4" name="Picture 8" descr="http://www.arabiantravelmarket.com/RXUK/RXUK_WTMLondon/2015/images/Footer/atm.png?v=63576693355531461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7366" y="3955187"/>
            <a:ext cx="1905000" cy="857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6" name="Picture 10" descr="http://img2.anpasia.com/YHA/ITE-logo-2015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4506" y="3955187"/>
            <a:ext cx="1790494" cy="775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8" name="Picture 12" descr="http://totalexpo.ru/i/8588627233852497456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1446" y="3642953"/>
            <a:ext cx="1754228" cy="1169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50" name="Picture 14" descr="http://www.pata.org/wp-content/uploads/2015/01/KITF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8944" y="5125589"/>
            <a:ext cx="1622650" cy="683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52" name="Picture 16" descr="http://www.wtmlondon.com/RXUK/RXUK_WTMLondon/2015/images/Footer/london.png?v=63576693444767550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564" y="3684673"/>
            <a:ext cx="1905000" cy="857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54" name="Picture 18" descr="https://www.jata-net.or.jp/english/shared/images/bnr_01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2704" y="4044358"/>
            <a:ext cx="1324795" cy="597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56" name="Picture 20" descr="http://www.leisure.kz/images/pages/2015/al_logo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6113" y="5125589"/>
            <a:ext cx="1798989" cy="601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58" name="Picture 22" descr="http://onlinew.com.cn/image/logo.png"/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655"/>
          <a:stretch/>
        </p:blipFill>
        <p:spPr bwMode="auto">
          <a:xfrm>
            <a:off x="2586711" y="2630567"/>
            <a:ext cx="1157792" cy="647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object 2"/>
          <p:cNvSpPr txBox="1">
            <a:spLocks/>
          </p:cNvSpPr>
          <p:nvPr/>
        </p:nvSpPr>
        <p:spPr>
          <a:xfrm>
            <a:off x="2477465" y="1624045"/>
            <a:ext cx="1376283" cy="283411"/>
          </a:xfrm>
          <a:prstGeom prst="rect">
            <a:avLst/>
          </a:prstGeom>
          <a:solidFill>
            <a:srgbClr val="92D050"/>
          </a:solidFill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ts val="2358"/>
              </a:lnSpc>
            </a:pPr>
            <a:r>
              <a:rPr lang="ru-RU" sz="1800" b="1" spc="-3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Neo Sans Pro" panose="020B0504030504040204"/>
                <a:cs typeface="Trebuchet MS"/>
              </a:rPr>
              <a:t>2016</a:t>
            </a:r>
            <a:endParaRPr lang="ru-RU" sz="1800" b="1" dirty="0">
              <a:solidFill>
                <a:schemeClr val="tx1">
                  <a:lumMod val="65000"/>
                  <a:lumOff val="35000"/>
                </a:schemeClr>
              </a:solidFill>
              <a:latin typeface="Neo Sans Pro" panose="020B0504030504040204"/>
              <a:cs typeface="Trebuchet MS"/>
            </a:endParaRPr>
          </a:p>
        </p:txBody>
      </p:sp>
      <p:sp>
        <p:nvSpPr>
          <p:cNvPr id="21" name="object 2"/>
          <p:cNvSpPr txBox="1">
            <a:spLocks/>
          </p:cNvSpPr>
          <p:nvPr/>
        </p:nvSpPr>
        <p:spPr>
          <a:xfrm>
            <a:off x="8718166" y="1624937"/>
            <a:ext cx="1376283" cy="283860"/>
          </a:xfrm>
          <a:prstGeom prst="rect">
            <a:avLst/>
          </a:prstGeom>
          <a:solidFill>
            <a:srgbClr val="92D050"/>
          </a:solidFill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ts val="2358"/>
              </a:lnSpc>
            </a:pPr>
            <a:r>
              <a:rPr lang="ru-RU" sz="1800" b="1" spc="-3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" panose="020B0504030504040204"/>
                <a:cs typeface="Trebuchet MS"/>
              </a:rPr>
              <a:t>2017</a:t>
            </a:r>
          </a:p>
        </p:txBody>
      </p:sp>
    </p:spTree>
    <p:extLst>
      <p:ext uri="{BB962C8B-B14F-4D97-AF65-F5344CB8AC3E}">
        <p14:creationId xmlns:p14="http://schemas.microsoft.com/office/powerpoint/2010/main" val="731438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2" descr="F:\сергей\expo\№3 преза_видео\work22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Прямоугольник 73"/>
          <p:cNvSpPr/>
          <p:nvPr/>
        </p:nvSpPr>
        <p:spPr>
          <a:xfrm>
            <a:off x="613166" y="6259631"/>
            <a:ext cx="2914131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20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Всего: 200 тыс. посетителей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613166" y="248764"/>
            <a:ext cx="6765763" cy="8194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700" b="1" u="sng" kern="1000" dirty="0" err="1">
                <a:solidFill>
                  <a:schemeClr val="bg1"/>
                </a:solidFill>
                <a:latin typeface="Neo Sans Pro" panose="020B0504030504040204" pitchFamily="34" charset="-52"/>
              </a:rPr>
              <a:t>Роуд</a:t>
            </a:r>
            <a:r>
              <a:rPr lang="ru-RU" sz="2700" b="1" u="sng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-шоу по регионам</a:t>
            </a:r>
          </a:p>
          <a:p>
            <a:r>
              <a:rPr lang="ru-RU" sz="2025" kern="1000" dirty="0">
                <a:solidFill>
                  <a:schemeClr val="bg1"/>
                </a:solidFill>
                <a:latin typeface="Neo Sans Pro" panose="020B0504030504040204" pitchFamily="34" charset="-52"/>
              </a:rPr>
              <a:t>ПРОГНОЗИРУЕМЫЙ ОБЪЕМ РЕАЛИЗАЦИИ ТУРПАКЕТОВ</a:t>
            </a:r>
            <a:endParaRPr lang="ru-RU" sz="2025" b="1" u="sng" kern="1000" dirty="0">
              <a:solidFill>
                <a:schemeClr val="bg1"/>
              </a:solidFill>
              <a:latin typeface="Neo Sans Pro" panose="020B0504030504040204" pitchFamily="34" charset="-52"/>
            </a:endParaRPr>
          </a:p>
        </p:txBody>
      </p:sp>
      <p:grpSp>
        <p:nvGrpSpPr>
          <p:cNvPr id="35" name="Group 34"/>
          <p:cNvGrpSpPr/>
          <p:nvPr/>
        </p:nvGrpSpPr>
        <p:grpSpPr>
          <a:xfrm>
            <a:off x="9327070" y="134924"/>
            <a:ext cx="2641563" cy="1412546"/>
            <a:chOff x="11890214" y="550455"/>
            <a:chExt cx="3913427" cy="2092660"/>
          </a:xfrm>
        </p:grpSpPr>
        <p:pic>
          <p:nvPicPr>
            <p:cNvPr id="39" name="Picture 38" descr="F:\сергей\expo\№3 преза_видео\work22-02.png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234"/>
            <a:stretch/>
          </p:blipFill>
          <p:spPr bwMode="auto">
            <a:xfrm>
              <a:off x="11890214" y="550455"/>
              <a:ext cx="1485910" cy="209266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 xmlns:lc="http://schemas.openxmlformats.org/drawingml/2006/lockedCanvas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39" descr="C:\Users\1\Desktop\DTP use\Logo BIE JPG files\Logo_BIE_CMYK.jp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3818219" y="975544"/>
              <a:ext cx="1985422" cy="749281"/>
            </a:xfrm>
            <a:prstGeom prst="rect">
              <a:avLst/>
            </a:prstGeom>
            <a:noFill/>
          </p:spPr>
        </p:pic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1248" y="1981565"/>
            <a:ext cx="7061472" cy="4042208"/>
          </a:xfrm>
          <a:prstGeom prst="rect">
            <a:avLst/>
          </a:prstGeom>
        </p:spPr>
      </p:pic>
      <p:sp>
        <p:nvSpPr>
          <p:cNvPr id="44" name="AutoShape 19"/>
          <p:cNvSpPr>
            <a:spLocks noChangeArrowheads="1"/>
          </p:cNvSpPr>
          <p:nvPr/>
        </p:nvSpPr>
        <p:spPr bwMode="auto">
          <a:xfrm>
            <a:off x="2385782" y="4710651"/>
            <a:ext cx="1508884" cy="416259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 w="3175">
            <a:solidFill>
              <a:srgbClr val="92D05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 err="1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Мангистауская</a:t>
            </a: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 область: 10 тыс.</a:t>
            </a:r>
          </a:p>
        </p:txBody>
      </p:sp>
      <p:sp>
        <p:nvSpPr>
          <p:cNvPr id="46" name="AutoShape 19"/>
          <p:cNvSpPr>
            <a:spLocks noChangeArrowheads="1"/>
          </p:cNvSpPr>
          <p:nvPr/>
        </p:nvSpPr>
        <p:spPr bwMode="auto">
          <a:xfrm>
            <a:off x="5455207" y="5049592"/>
            <a:ext cx="1572904" cy="416259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 w="3175">
            <a:solidFill>
              <a:srgbClr val="92D05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ЮКО: 15 тыс.</a:t>
            </a:r>
          </a:p>
        </p:txBody>
      </p:sp>
      <p:sp>
        <p:nvSpPr>
          <p:cNvPr id="47" name="AutoShape 19"/>
          <p:cNvSpPr>
            <a:spLocks noChangeArrowheads="1"/>
          </p:cNvSpPr>
          <p:nvPr/>
        </p:nvSpPr>
        <p:spPr bwMode="auto">
          <a:xfrm>
            <a:off x="2159934" y="3978726"/>
            <a:ext cx="1524298" cy="416259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 w="3175">
            <a:solidFill>
              <a:srgbClr val="92D05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 err="1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Атырауская</a:t>
            </a: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 область: 10 тыс.</a:t>
            </a:r>
          </a:p>
        </p:txBody>
      </p:sp>
      <p:sp>
        <p:nvSpPr>
          <p:cNvPr id="48" name="AutoShape 19"/>
          <p:cNvSpPr>
            <a:spLocks noChangeArrowheads="1"/>
          </p:cNvSpPr>
          <p:nvPr/>
        </p:nvSpPr>
        <p:spPr bwMode="auto">
          <a:xfrm>
            <a:off x="2326570" y="1541318"/>
            <a:ext cx="1572904" cy="416259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ЗКО: 5 тыс.</a:t>
            </a: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 flipV="1">
            <a:off x="3117290" y="2070109"/>
            <a:ext cx="0" cy="85244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AutoShape 19"/>
          <p:cNvSpPr>
            <a:spLocks noChangeArrowheads="1"/>
          </p:cNvSpPr>
          <p:nvPr/>
        </p:nvSpPr>
        <p:spPr bwMode="auto">
          <a:xfrm>
            <a:off x="4474084" y="4318743"/>
            <a:ext cx="1572904" cy="416259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 err="1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Кызылординская</a:t>
            </a: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 область: 25 тыс.</a:t>
            </a:r>
          </a:p>
        </p:txBody>
      </p:sp>
      <p:sp>
        <p:nvSpPr>
          <p:cNvPr id="51" name="AutoShape 19"/>
          <p:cNvSpPr>
            <a:spLocks noChangeArrowheads="1"/>
          </p:cNvSpPr>
          <p:nvPr/>
        </p:nvSpPr>
        <p:spPr bwMode="auto">
          <a:xfrm>
            <a:off x="3843287" y="3507675"/>
            <a:ext cx="1572904" cy="416259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 w="3175">
            <a:solidFill>
              <a:srgbClr val="92D05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Актюбинская область: 10 тыс.</a:t>
            </a:r>
          </a:p>
        </p:txBody>
      </p:sp>
      <p:sp>
        <p:nvSpPr>
          <p:cNvPr id="52" name="AutoShape 19"/>
          <p:cNvSpPr>
            <a:spLocks noChangeArrowheads="1"/>
          </p:cNvSpPr>
          <p:nvPr/>
        </p:nvSpPr>
        <p:spPr bwMode="auto">
          <a:xfrm>
            <a:off x="6358319" y="6035821"/>
            <a:ext cx="1572904" cy="416259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 err="1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Жамбылская</a:t>
            </a: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 область: 20 тыс.</a:t>
            </a:r>
          </a:p>
        </p:txBody>
      </p:sp>
      <p:cxnSp>
        <p:nvCxnSpPr>
          <p:cNvPr id="53" name="Прямая соединительная линия 52"/>
          <p:cNvCxnSpPr/>
          <p:nvPr/>
        </p:nvCxnSpPr>
        <p:spPr>
          <a:xfrm flipV="1">
            <a:off x="7144772" y="5154939"/>
            <a:ext cx="0" cy="85244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AutoShape 19"/>
          <p:cNvSpPr>
            <a:spLocks noChangeArrowheads="1"/>
          </p:cNvSpPr>
          <p:nvPr/>
        </p:nvSpPr>
        <p:spPr bwMode="auto">
          <a:xfrm>
            <a:off x="7939816" y="4226194"/>
            <a:ext cx="1572904" cy="416259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 w="3175">
            <a:solidFill>
              <a:srgbClr val="92D05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 err="1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Алматинская</a:t>
            </a: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 область: 10 тыс.</a:t>
            </a:r>
          </a:p>
        </p:txBody>
      </p:sp>
      <p:sp>
        <p:nvSpPr>
          <p:cNvPr id="55" name="AutoShape 19"/>
          <p:cNvSpPr>
            <a:spLocks noChangeArrowheads="1"/>
          </p:cNvSpPr>
          <p:nvPr/>
        </p:nvSpPr>
        <p:spPr bwMode="auto">
          <a:xfrm>
            <a:off x="8375214" y="6042299"/>
            <a:ext cx="1572904" cy="416259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ВКО: 5 тыс.</a:t>
            </a:r>
          </a:p>
        </p:txBody>
      </p:sp>
      <p:cxnSp>
        <p:nvCxnSpPr>
          <p:cNvPr id="56" name="Прямая соединительная линия 55"/>
          <p:cNvCxnSpPr/>
          <p:nvPr/>
        </p:nvCxnSpPr>
        <p:spPr>
          <a:xfrm flipV="1">
            <a:off x="9161667" y="5161417"/>
            <a:ext cx="0" cy="85244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AutoShape 19"/>
          <p:cNvSpPr>
            <a:spLocks noChangeArrowheads="1"/>
          </p:cNvSpPr>
          <p:nvPr/>
        </p:nvSpPr>
        <p:spPr bwMode="auto">
          <a:xfrm>
            <a:off x="4342445" y="1549367"/>
            <a:ext cx="1572904" cy="416259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 err="1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Костанайская</a:t>
            </a: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 область: 5 тыс.</a:t>
            </a:r>
          </a:p>
        </p:txBody>
      </p:sp>
      <p:sp>
        <p:nvSpPr>
          <p:cNvPr id="58" name="AutoShape 19"/>
          <p:cNvSpPr>
            <a:spLocks noChangeArrowheads="1"/>
          </p:cNvSpPr>
          <p:nvPr/>
        </p:nvSpPr>
        <p:spPr bwMode="auto">
          <a:xfrm>
            <a:off x="6358319" y="1549367"/>
            <a:ext cx="1572904" cy="416259"/>
          </a:xfrm>
          <a:prstGeom prst="roundRect">
            <a:avLst>
              <a:gd name="adj" fmla="val 16667"/>
            </a:avLst>
          </a:prstGeom>
          <a:solidFill>
            <a:schemeClr val="bg1">
              <a:lumMod val="75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СКО: 5 тыс.</a:t>
            </a:r>
          </a:p>
        </p:txBody>
      </p:sp>
      <p:cxnSp>
        <p:nvCxnSpPr>
          <p:cNvPr id="59" name="Прямая соединительная линия 58"/>
          <p:cNvCxnSpPr/>
          <p:nvPr/>
        </p:nvCxnSpPr>
        <p:spPr>
          <a:xfrm>
            <a:off x="7144771" y="2018034"/>
            <a:ext cx="0" cy="41625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AutoShape 19"/>
          <p:cNvSpPr>
            <a:spLocks noChangeArrowheads="1"/>
          </p:cNvSpPr>
          <p:nvPr/>
        </p:nvSpPr>
        <p:spPr bwMode="auto">
          <a:xfrm>
            <a:off x="6032527" y="3780020"/>
            <a:ext cx="1572904" cy="416259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 w="3175">
            <a:solidFill>
              <a:srgbClr val="92D05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Карагандинская область: 10 тыс.</a:t>
            </a:r>
          </a:p>
        </p:txBody>
      </p:sp>
      <p:sp>
        <p:nvSpPr>
          <p:cNvPr id="61" name="AutoShape 19"/>
          <p:cNvSpPr>
            <a:spLocks noChangeArrowheads="1"/>
          </p:cNvSpPr>
          <p:nvPr/>
        </p:nvSpPr>
        <p:spPr bwMode="auto">
          <a:xfrm>
            <a:off x="5532088" y="2671950"/>
            <a:ext cx="1572904" cy="416259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 w="3175">
            <a:solidFill>
              <a:srgbClr val="92D05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 err="1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Акмолинская</a:t>
            </a: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 область: 10 тыс.</a:t>
            </a:r>
          </a:p>
        </p:txBody>
      </p:sp>
      <p:sp>
        <p:nvSpPr>
          <p:cNvPr id="62" name="AutoShape 19"/>
          <p:cNvSpPr>
            <a:spLocks noChangeArrowheads="1"/>
          </p:cNvSpPr>
          <p:nvPr/>
        </p:nvSpPr>
        <p:spPr bwMode="auto">
          <a:xfrm>
            <a:off x="7841909" y="4863476"/>
            <a:ext cx="1572904" cy="416259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 w="3175">
            <a:solidFill>
              <a:srgbClr val="92D05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АЛМАТЫ: 40 тыс.</a:t>
            </a:r>
          </a:p>
        </p:txBody>
      </p:sp>
      <p:sp>
        <p:nvSpPr>
          <p:cNvPr id="63" name="AutoShape 19"/>
          <p:cNvSpPr>
            <a:spLocks noChangeArrowheads="1"/>
          </p:cNvSpPr>
          <p:nvPr/>
        </p:nvSpPr>
        <p:spPr bwMode="auto">
          <a:xfrm>
            <a:off x="7605431" y="2587648"/>
            <a:ext cx="1572904" cy="416259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 w="3175">
            <a:solidFill>
              <a:srgbClr val="92D05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Павлодарская область: 10 тыс.</a:t>
            </a:r>
          </a:p>
        </p:txBody>
      </p:sp>
      <p:sp>
        <p:nvSpPr>
          <p:cNvPr id="64" name="AutoShape 19"/>
          <p:cNvSpPr>
            <a:spLocks noChangeArrowheads="1"/>
          </p:cNvSpPr>
          <p:nvPr/>
        </p:nvSpPr>
        <p:spPr bwMode="auto">
          <a:xfrm>
            <a:off x="6761279" y="3232196"/>
            <a:ext cx="1572904" cy="416259"/>
          </a:xfrm>
          <a:prstGeom prst="roundRect">
            <a:avLst>
              <a:gd name="adj" fmla="val 16667"/>
            </a:avLst>
          </a:prstGeom>
          <a:solidFill>
            <a:srgbClr val="00B050"/>
          </a:solidFill>
          <a:ln w="3175">
            <a:solidFill>
              <a:srgbClr val="92D05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АСТАНА: 15 тыс.</a:t>
            </a:r>
          </a:p>
        </p:txBody>
      </p:sp>
      <p:cxnSp>
        <p:nvCxnSpPr>
          <p:cNvPr id="65" name="Прямая соединительная линия 64"/>
          <p:cNvCxnSpPr/>
          <p:nvPr/>
        </p:nvCxnSpPr>
        <p:spPr>
          <a:xfrm>
            <a:off x="5128896" y="2054930"/>
            <a:ext cx="0" cy="41625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4544428" y="1247388"/>
            <a:ext cx="110972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50" u="sng" dirty="0" smtClean="0">
                <a:solidFill>
                  <a:srgbClr val="EB7321"/>
                </a:solidFill>
              </a:rPr>
              <a:t>28.05.2016 </a:t>
            </a:r>
            <a:r>
              <a:rPr lang="ru-RU" sz="1350" u="sng" dirty="0">
                <a:solidFill>
                  <a:srgbClr val="EB7321"/>
                </a:solidFill>
              </a:rPr>
              <a:t>г.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6560303" y="1240994"/>
            <a:ext cx="110972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50" u="sng" dirty="0" smtClean="0">
                <a:solidFill>
                  <a:schemeClr val="bg1">
                    <a:lumMod val="85000"/>
                  </a:schemeClr>
                </a:solidFill>
              </a:rPr>
              <a:t>12.06.2016 </a:t>
            </a:r>
            <a:r>
              <a:rPr lang="ru-RU" sz="1350" u="sng" dirty="0">
                <a:solidFill>
                  <a:schemeClr val="bg1">
                    <a:lumMod val="85000"/>
                  </a:schemeClr>
                </a:solidFill>
              </a:rPr>
              <a:t>г.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6606338" y="6466877"/>
            <a:ext cx="110972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50" u="sng" dirty="0" smtClean="0">
                <a:solidFill>
                  <a:schemeClr val="bg1">
                    <a:lumMod val="85000"/>
                  </a:schemeClr>
                </a:solidFill>
              </a:rPr>
              <a:t>02.06.2016 </a:t>
            </a:r>
            <a:r>
              <a:rPr lang="ru-RU" sz="1350" u="sng" dirty="0">
                <a:solidFill>
                  <a:schemeClr val="bg1">
                    <a:lumMod val="85000"/>
                  </a:schemeClr>
                </a:solidFill>
              </a:rPr>
              <a:t>г.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8668248" y="6466877"/>
            <a:ext cx="110972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50" u="sng" dirty="0">
                <a:solidFill>
                  <a:schemeClr val="bg1">
                    <a:lumMod val="85000"/>
                  </a:schemeClr>
                </a:solidFill>
              </a:rPr>
              <a:t>03.06.2016 г.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2540903" y="1245120"/>
            <a:ext cx="1109727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50" u="sng" dirty="0">
                <a:solidFill>
                  <a:schemeClr val="bg1">
                    <a:lumMod val="85000"/>
                  </a:schemeClr>
                </a:solidFill>
              </a:rPr>
              <a:t>10.06.2016 г.</a:t>
            </a:r>
          </a:p>
        </p:txBody>
      </p:sp>
    </p:spTree>
    <p:extLst>
      <p:ext uri="{BB962C8B-B14F-4D97-AF65-F5344CB8AC3E}">
        <p14:creationId xmlns:p14="http://schemas.microsoft.com/office/powerpoint/2010/main" val="3658814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 descr="F:\сергей\expo\№3 преза_видео\work22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57043"/>
            <a:ext cx="12192000" cy="6915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4" t="133" r="116" b="14014"/>
          <a:stretch/>
        </p:blipFill>
        <p:spPr>
          <a:xfrm>
            <a:off x="-12700" y="1340310"/>
            <a:ext cx="12192000" cy="5550842"/>
          </a:xfrm>
          <a:prstGeom prst="rect">
            <a:avLst/>
          </a:prstGeom>
        </p:spPr>
      </p:pic>
      <p:sp>
        <p:nvSpPr>
          <p:cNvPr id="10" name="AutoShape 19"/>
          <p:cNvSpPr>
            <a:spLocks noChangeArrowheads="1"/>
          </p:cNvSpPr>
          <p:nvPr/>
        </p:nvSpPr>
        <p:spPr bwMode="auto">
          <a:xfrm>
            <a:off x="6929641" y="3105477"/>
            <a:ext cx="1372303" cy="280434"/>
          </a:xfrm>
          <a:prstGeom prst="roundRect">
            <a:avLst>
              <a:gd name="adj" fmla="val 16667"/>
            </a:avLst>
          </a:prstGeom>
          <a:solidFill>
            <a:schemeClr val="accent5">
              <a:lumMod val="75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Урумчи: 107 тыс.</a:t>
            </a:r>
          </a:p>
        </p:txBody>
      </p:sp>
      <p:sp>
        <p:nvSpPr>
          <p:cNvPr id="11" name="AutoShape 19"/>
          <p:cNvSpPr>
            <a:spLocks noChangeArrowheads="1"/>
          </p:cNvSpPr>
          <p:nvPr/>
        </p:nvSpPr>
        <p:spPr bwMode="auto">
          <a:xfrm>
            <a:off x="8558494" y="3666062"/>
            <a:ext cx="1202275" cy="245145"/>
          </a:xfrm>
          <a:prstGeom prst="roundRect">
            <a:avLst>
              <a:gd name="adj" fmla="val 16667"/>
            </a:avLst>
          </a:prstGeom>
          <a:solidFill>
            <a:schemeClr val="accent5">
              <a:lumMod val="75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 err="1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Сиань</a:t>
            </a: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:  45 тыс.</a:t>
            </a:r>
          </a:p>
        </p:txBody>
      </p:sp>
      <p:sp>
        <p:nvSpPr>
          <p:cNvPr id="12" name="AutoShape 19"/>
          <p:cNvSpPr>
            <a:spLocks noChangeArrowheads="1"/>
          </p:cNvSpPr>
          <p:nvPr/>
        </p:nvSpPr>
        <p:spPr bwMode="auto">
          <a:xfrm>
            <a:off x="8261324" y="3407176"/>
            <a:ext cx="1111276" cy="244092"/>
          </a:xfrm>
          <a:prstGeom prst="roundRect">
            <a:avLst>
              <a:gd name="adj" fmla="val 16667"/>
            </a:avLst>
          </a:prstGeom>
          <a:solidFill>
            <a:schemeClr val="accent5">
              <a:lumMod val="75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 smtClean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Пекин:47 тыс.</a:t>
            </a:r>
            <a:endParaRPr lang="ru-RU" sz="1080" dirty="0">
              <a:solidFill>
                <a:schemeClr val="bg1"/>
              </a:solidFill>
              <a:latin typeface="Neo Sans Pro" panose="020B0504030504040204"/>
              <a:cs typeface="Arial" pitchFamily="34" charset="0"/>
            </a:endParaRPr>
          </a:p>
        </p:txBody>
      </p:sp>
      <p:sp>
        <p:nvSpPr>
          <p:cNvPr id="13" name="AutoShape 19"/>
          <p:cNvSpPr>
            <a:spLocks noChangeArrowheads="1"/>
          </p:cNvSpPr>
          <p:nvPr/>
        </p:nvSpPr>
        <p:spPr bwMode="auto">
          <a:xfrm>
            <a:off x="4142495" y="2222066"/>
            <a:ext cx="969034" cy="197126"/>
          </a:xfrm>
          <a:prstGeom prst="roundRect">
            <a:avLst>
              <a:gd name="adj" fmla="val 16667"/>
            </a:avLst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Лондон</a:t>
            </a:r>
          </a:p>
        </p:txBody>
      </p:sp>
      <p:sp>
        <p:nvSpPr>
          <p:cNvPr id="15" name="AutoShape 19"/>
          <p:cNvSpPr>
            <a:spLocks noChangeArrowheads="1"/>
          </p:cNvSpPr>
          <p:nvPr/>
        </p:nvSpPr>
        <p:spPr bwMode="auto">
          <a:xfrm>
            <a:off x="6668640" y="1853130"/>
            <a:ext cx="1372303" cy="280434"/>
          </a:xfrm>
          <a:prstGeom prst="roundRect">
            <a:avLst>
              <a:gd name="adj" fmla="val 16667"/>
            </a:avLst>
          </a:prstGeom>
          <a:solidFill>
            <a:schemeClr val="accent5">
              <a:lumMod val="75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Москва: 23 тыс.</a:t>
            </a:r>
          </a:p>
        </p:txBody>
      </p:sp>
      <p:sp>
        <p:nvSpPr>
          <p:cNvPr id="16" name="AutoShape 19"/>
          <p:cNvSpPr>
            <a:spLocks noChangeArrowheads="1"/>
          </p:cNvSpPr>
          <p:nvPr/>
        </p:nvSpPr>
        <p:spPr bwMode="auto">
          <a:xfrm>
            <a:off x="7099834" y="3568785"/>
            <a:ext cx="751637" cy="208819"/>
          </a:xfrm>
          <a:prstGeom prst="roundRect">
            <a:avLst>
              <a:gd name="adj" fmla="val 16667"/>
            </a:avLst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Дели</a:t>
            </a:r>
          </a:p>
        </p:txBody>
      </p:sp>
      <p:sp>
        <p:nvSpPr>
          <p:cNvPr id="18" name="AutoShape 19"/>
          <p:cNvSpPr>
            <a:spLocks noChangeArrowheads="1"/>
          </p:cNvSpPr>
          <p:nvPr/>
        </p:nvSpPr>
        <p:spPr bwMode="auto">
          <a:xfrm>
            <a:off x="4448648" y="2524934"/>
            <a:ext cx="934855" cy="215515"/>
          </a:xfrm>
          <a:prstGeom prst="roundRect">
            <a:avLst>
              <a:gd name="adj" fmla="val 16667"/>
            </a:avLst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Амстердам</a:t>
            </a:r>
          </a:p>
        </p:txBody>
      </p:sp>
      <p:sp>
        <p:nvSpPr>
          <p:cNvPr id="19" name="AutoShape 19"/>
          <p:cNvSpPr>
            <a:spLocks noChangeArrowheads="1"/>
          </p:cNvSpPr>
          <p:nvPr/>
        </p:nvSpPr>
        <p:spPr bwMode="auto">
          <a:xfrm>
            <a:off x="7394230" y="2750703"/>
            <a:ext cx="986224" cy="218626"/>
          </a:xfrm>
          <a:prstGeom prst="roundRect">
            <a:avLst>
              <a:gd name="adj" fmla="val 16667"/>
            </a:avLst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Бишкек</a:t>
            </a:r>
          </a:p>
        </p:txBody>
      </p:sp>
      <p:sp>
        <p:nvSpPr>
          <p:cNvPr id="20" name="AutoShape 19"/>
          <p:cNvSpPr>
            <a:spLocks noChangeArrowheads="1"/>
          </p:cNvSpPr>
          <p:nvPr/>
        </p:nvSpPr>
        <p:spPr bwMode="auto">
          <a:xfrm>
            <a:off x="9150317" y="2912582"/>
            <a:ext cx="826292" cy="186314"/>
          </a:xfrm>
          <a:prstGeom prst="roundRect">
            <a:avLst>
              <a:gd name="adj" fmla="val 16667"/>
            </a:avLst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Сеул</a:t>
            </a:r>
          </a:p>
        </p:txBody>
      </p:sp>
      <p:sp>
        <p:nvSpPr>
          <p:cNvPr id="21" name="AutoShape 19"/>
          <p:cNvSpPr>
            <a:spLocks noChangeArrowheads="1"/>
          </p:cNvSpPr>
          <p:nvPr/>
        </p:nvSpPr>
        <p:spPr bwMode="auto">
          <a:xfrm>
            <a:off x="9462442" y="3234578"/>
            <a:ext cx="849558" cy="194422"/>
          </a:xfrm>
          <a:prstGeom prst="roundRect">
            <a:avLst>
              <a:gd name="adj" fmla="val 16667"/>
            </a:avLst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Токио</a:t>
            </a:r>
          </a:p>
        </p:txBody>
      </p:sp>
      <p:sp>
        <p:nvSpPr>
          <p:cNvPr id="23" name="AutoShape 19"/>
          <p:cNvSpPr>
            <a:spLocks noChangeArrowheads="1"/>
          </p:cNvSpPr>
          <p:nvPr/>
        </p:nvSpPr>
        <p:spPr bwMode="auto">
          <a:xfrm>
            <a:off x="6113913" y="2830330"/>
            <a:ext cx="1003834" cy="212630"/>
          </a:xfrm>
          <a:prstGeom prst="roundRect">
            <a:avLst>
              <a:gd name="adj" fmla="val 16667"/>
            </a:avLst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Ташкент</a:t>
            </a:r>
          </a:p>
        </p:txBody>
      </p:sp>
      <p:sp>
        <p:nvSpPr>
          <p:cNvPr id="25" name="AutoShape 19"/>
          <p:cNvSpPr>
            <a:spLocks noChangeArrowheads="1"/>
          </p:cNvSpPr>
          <p:nvPr/>
        </p:nvSpPr>
        <p:spPr bwMode="auto">
          <a:xfrm>
            <a:off x="5611996" y="1812821"/>
            <a:ext cx="1003834" cy="212630"/>
          </a:xfrm>
          <a:prstGeom prst="roundRect">
            <a:avLst>
              <a:gd name="adj" fmla="val 16667"/>
            </a:avLst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 err="1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Спб</a:t>
            </a:r>
            <a:endParaRPr lang="ru-RU" sz="1080" dirty="0">
              <a:solidFill>
                <a:schemeClr val="bg1"/>
              </a:solidFill>
              <a:latin typeface="Neo Sans Pro" panose="020B0504030504040204"/>
              <a:cs typeface="Arial" pitchFamily="34" charset="0"/>
            </a:endParaRPr>
          </a:p>
        </p:txBody>
      </p:sp>
      <p:sp>
        <p:nvSpPr>
          <p:cNvPr id="26" name="AutoShape 19"/>
          <p:cNvSpPr>
            <a:spLocks noChangeArrowheads="1"/>
          </p:cNvSpPr>
          <p:nvPr/>
        </p:nvSpPr>
        <p:spPr bwMode="auto">
          <a:xfrm>
            <a:off x="6733404" y="2224615"/>
            <a:ext cx="1321652" cy="249724"/>
          </a:xfrm>
          <a:prstGeom prst="roundRect">
            <a:avLst>
              <a:gd name="adj" fmla="val 16667"/>
            </a:avLst>
          </a:prstGeom>
          <a:solidFill>
            <a:schemeClr val="accent5">
              <a:lumMod val="75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Казань: 18 тыс. </a:t>
            </a:r>
          </a:p>
        </p:txBody>
      </p:sp>
      <p:sp>
        <p:nvSpPr>
          <p:cNvPr id="27" name="AutoShape 19"/>
          <p:cNvSpPr>
            <a:spLocks noChangeArrowheads="1"/>
          </p:cNvSpPr>
          <p:nvPr/>
        </p:nvSpPr>
        <p:spPr bwMode="auto">
          <a:xfrm>
            <a:off x="5428339" y="2538938"/>
            <a:ext cx="1321652" cy="249724"/>
          </a:xfrm>
          <a:prstGeom prst="roundRect">
            <a:avLst>
              <a:gd name="adj" fmla="val 16667"/>
            </a:avLst>
          </a:prstGeom>
          <a:solidFill>
            <a:schemeClr val="accent5">
              <a:lumMod val="75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Киев: </a:t>
            </a:r>
            <a:r>
              <a:rPr lang="en-US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61</a:t>
            </a: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 тыс.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480868" y="6515121"/>
            <a:ext cx="3407408" cy="341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2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" panose="020B0504030504040204"/>
              </a:rPr>
              <a:t>Итого охват:</a:t>
            </a:r>
            <a:r>
              <a:rPr lang="en-US" sz="1620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" panose="020B0504030504040204"/>
              </a:rPr>
              <a:t> </a:t>
            </a:r>
            <a:r>
              <a:rPr lang="ru-RU" sz="1620" b="1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" panose="020B0504030504040204"/>
              </a:rPr>
              <a:t>300</a:t>
            </a:r>
            <a:r>
              <a:rPr lang="en-US" sz="1620" b="1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" panose="020B0504030504040204"/>
              </a:rPr>
              <a:t> </a:t>
            </a:r>
            <a:r>
              <a:rPr lang="ru-RU" sz="1620" b="1" dirty="0">
                <a:solidFill>
                  <a:schemeClr val="tx1">
                    <a:lumMod val="65000"/>
                    <a:lumOff val="35000"/>
                  </a:schemeClr>
                </a:solidFill>
                <a:latin typeface="Neo Sans Pro" panose="020B0504030504040204"/>
              </a:rPr>
              <a:t>тысяч человек</a:t>
            </a:r>
          </a:p>
        </p:txBody>
      </p:sp>
      <p:sp>
        <p:nvSpPr>
          <p:cNvPr id="28" name="AutoShape 19"/>
          <p:cNvSpPr>
            <a:spLocks noChangeArrowheads="1"/>
          </p:cNvSpPr>
          <p:nvPr/>
        </p:nvSpPr>
        <p:spPr bwMode="auto">
          <a:xfrm>
            <a:off x="936391" y="5840033"/>
            <a:ext cx="1372303" cy="361375"/>
          </a:xfrm>
          <a:prstGeom prst="roundRect">
            <a:avLst>
              <a:gd name="adj" fmla="val 16667"/>
            </a:avLst>
          </a:prstGeom>
          <a:solidFill>
            <a:schemeClr val="accent5">
              <a:lumMod val="75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проведенные</a:t>
            </a:r>
          </a:p>
        </p:txBody>
      </p:sp>
      <p:sp>
        <p:nvSpPr>
          <p:cNvPr id="31" name="AutoShape 19"/>
          <p:cNvSpPr>
            <a:spLocks noChangeArrowheads="1"/>
          </p:cNvSpPr>
          <p:nvPr/>
        </p:nvSpPr>
        <p:spPr bwMode="auto">
          <a:xfrm>
            <a:off x="939401" y="6322239"/>
            <a:ext cx="1372303" cy="325070"/>
          </a:xfrm>
          <a:prstGeom prst="roundRect">
            <a:avLst>
              <a:gd name="adj" fmla="val 16667"/>
            </a:avLst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планируемые</a:t>
            </a:r>
          </a:p>
        </p:txBody>
      </p:sp>
      <p:sp>
        <p:nvSpPr>
          <p:cNvPr id="34" name="AutoShape 19"/>
          <p:cNvSpPr>
            <a:spLocks noChangeArrowheads="1"/>
          </p:cNvSpPr>
          <p:nvPr/>
        </p:nvSpPr>
        <p:spPr bwMode="auto">
          <a:xfrm>
            <a:off x="7239974" y="3876880"/>
            <a:ext cx="751637" cy="208819"/>
          </a:xfrm>
          <a:prstGeom prst="roundRect">
            <a:avLst>
              <a:gd name="adj" fmla="val 16667"/>
            </a:avLst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 err="1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Мумбай</a:t>
            </a:r>
            <a:endParaRPr lang="ru-RU" sz="1080" dirty="0">
              <a:solidFill>
                <a:schemeClr val="bg1"/>
              </a:solidFill>
              <a:latin typeface="Neo Sans Pro" panose="020B0504030504040204"/>
              <a:cs typeface="Arial" pitchFamily="34" charset="0"/>
            </a:endParaRPr>
          </a:p>
        </p:txBody>
      </p:sp>
      <p:sp>
        <p:nvSpPr>
          <p:cNvPr id="38" name="AutoShape 19"/>
          <p:cNvSpPr>
            <a:spLocks noChangeArrowheads="1"/>
          </p:cNvSpPr>
          <p:nvPr/>
        </p:nvSpPr>
        <p:spPr bwMode="auto">
          <a:xfrm>
            <a:off x="5326137" y="2219106"/>
            <a:ext cx="1321652" cy="249724"/>
          </a:xfrm>
          <a:prstGeom prst="roundRect">
            <a:avLst>
              <a:gd name="adj" fmla="val 16667"/>
            </a:avLst>
          </a:prstGeom>
          <a:solidFill>
            <a:schemeClr val="accent5">
              <a:lumMod val="75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Берлин: 22 тыс. </a:t>
            </a:r>
          </a:p>
        </p:txBody>
      </p:sp>
      <p:sp>
        <p:nvSpPr>
          <p:cNvPr id="41" name="AutoShape 19"/>
          <p:cNvSpPr>
            <a:spLocks noChangeArrowheads="1"/>
          </p:cNvSpPr>
          <p:nvPr/>
        </p:nvSpPr>
        <p:spPr bwMode="auto">
          <a:xfrm>
            <a:off x="4142495" y="3116275"/>
            <a:ext cx="934855" cy="215515"/>
          </a:xfrm>
          <a:prstGeom prst="roundRect">
            <a:avLst>
              <a:gd name="adj" fmla="val 16667"/>
            </a:avLst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Мадрид</a:t>
            </a:r>
          </a:p>
        </p:txBody>
      </p:sp>
      <p:sp>
        <p:nvSpPr>
          <p:cNvPr id="42" name="AutoShape 19"/>
          <p:cNvSpPr>
            <a:spLocks noChangeArrowheads="1"/>
          </p:cNvSpPr>
          <p:nvPr/>
        </p:nvSpPr>
        <p:spPr bwMode="auto">
          <a:xfrm>
            <a:off x="5257179" y="3023444"/>
            <a:ext cx="831985" cy="207705"/>
          </a:xfrm>
          <a:prstGeom prst="roundRect">
            <a:avLst>
              <a:gd name="adj" fmla="val 16667"/>
            </a:avLst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Милан</a:t>
            </a:r>
          </a:p>
        </p:txBody>
      </p:sp>
      <p:sp>
        <p:nvSpPr>
          <p:cNvPr id="43" name="AutoShape 19"/>
          <p:cNvSpPr>
            <a:spLocks noChangeArrowheads="1"/>
          </p:cNvSpPr>
          <p:nvPr/>
        </p:nvSpPr>
        <p:spPr bwMode="auto">
          <a:xfrm>
            <a:off x="3949659" y="2803889"/>
            <a:ext cx="1320527" cy="257109"/>
          </a:xfrm>
          <a:prstGeom prst="roundRect">
            <a:avLst>
              <a:gd name="adj" fmla="val 16667"/>
            </a:avLst>
          </a:prstGeom>
          <a:solidFill>
            <a:schemeClr val="accent5">
              <a:lumMod val="75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Париж: 24 тыс. </a:t>
            </a:r>
          </a:p>
        </p:txBody>
      </p:sp>
      <p:sp>
        <p:nvSpPr>
          <p:cNvPr id="45" name="AutoShape 19"/>
          <p:cNvSpPr>
            <a:spLocks noChangeArrowheads="1"/>
          </p:cNvSpPr>
          <p:nvPr/>
        </p:nvSpPr>
        <p:spPr bwMode="auto">
          <a:xfrm>
            <a:off x="6123441" y="3118626"/>
            <a:ext cx="773345" cy="225046"/>
          </a:xfrm>
          <a:prstGeom prst="roundRect">
            <a:avLst>
              <a:gd name="adj" fmla="val 16667"/>
            </a:avLst>
          </a:prstGeom>
          <a:solidFill>
            <a:schemeClr val="bg1">
              <a:lumMod val="50000"/>
            </a:schemeClr>
          </a:solidFill>
          <a:ln w="3175"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002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92" tIns="15384" rIns="7692" bIns="15384" anchor="ctr"/>
          <a:lstStyle/>
          <a:p>
            <a:pPr algn="ctr">
              <a:defRPr/>
            </a:pPr>
            <a:r>
              <a:rPr lang="ru-RU" sz="1080" dirty="0">
                <a:solidFill>
                  <a:schemeClr val="bg1"/>
                </a:solidFill>
                <a:latin typeface="Neo Sans Pro" panose="020B0504030504040204"/>
                <a:cs typeface="Arial" pitchFamily="34" charset="0"/>
              </a:rPr>
              <a:t>Тегеран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322156" y="666723"/>
            <a:ext cx="5161413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700" b="1" u="sng" kern="1000" dirty="0" err="1">
                <a:solidFill>
                  <a:schemeClr val="bg1"/>
                </a:solidFill>
                <a:latin typeface="Neo Sans Pro" panose="020B0504030504040204"/>
              </a:rPr>
              <a:t>Роуд-шоу</a:t>
            </a:r>
            <a:r>
              <a:rPr lang="ru-RU" sz="2700" b="1" u="sng" kern="1000" dirty="0">
                <a:solidFill>
                  <a:schemeClr val="bg1"/>
                </a:solidFill>
                <a:latin typeface="Neo Sans Pro" panose="020B0504030504040204"/>
              </a:rPr>
              <a:t> в целевых странах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8634424" y="371557"/>
            <a:ext cx="2641563" cy="1412546"/>
            <a:chOff x="11890214" y="550455"/>
            <a:chExt cx="3913427" cy="2092660"/>
          </a:xfrm>
        </p:grpSpPr>
        <p:pic>
          <p:nvPicPr>
            <p:cNvPr id="32" name="Picture 31" descr="F:\сергей\expo\№3 преза_видео\work22-02.png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234"/>
            <a:stretch/>
          </p:blipFill>
          <p:spPr bwMode="auto">
            <a:xfrm>
              <a:off x="11890214" y="550455"/>
              <a:ext cx="1485910" cy="209266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 xmlns:lc="http://schemas.openxmlformats.org/drawingml/2006/lockedCanvas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32" descr="C:\Users\1\Desktop\DTP use\Logo BIE JPG files\Logo_BIE_CMYK.jp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3818219" y="975544"/>
              <a:ext cx="1985422" cy="749281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8809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/>
          <a:srcRect l="29271" t="52821" r="29479" b="9815"/>
          <a:stretch/>
        </p:blipFill>
        <p:spPr>
          <a:xfrm>
            <a:off x="3599819" y="3991428"/>
            <a:ext cx="5581386" cy="2843785"/>
          </a:xfrm>
          <a:prstGeom prst="rect">
            <a:avLst/>
          </a:prstGeom>
        </p:spPr>
      </p:pic>
      <p:pic>
        <p:nvPicPr>
          <p:cNvPr id="1032" name="Picture 8" descr="http://sono.si/wp-content/uploads/2014/08/expo_2015_milan_logo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653" y="1164382"/>
            <a:ext cx="1978025" cy="989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5" descr="C:\Users\amarat\Desktop\сыфысыыыыыы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277687"/>
            <a:ext cx="4426527" cy="6946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172653" y="429643"/>
            <a:ext cx="17083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687"/>
            <a:r>
              <a:rPr lang="ru-RU" spc="-145" dirty="0" smtClean="0">
                <a:solidFill>
                  <a:srgbClr val="FFFFFF"/>
                </a:solidFill>
                <a:cs typeface="Calibri"/>
              </a:rPr>
              <a:t>Опыт ЭКСПО 2015 </a:t>
            </a:r>
            <a:endParaRPr lang="ru-RU" spc="-155" dirty="0">
              <a:solidFill>
                <a:srgbClr val="FFFFFF"/>
              </a:solidFill>
              <a:cs typeface="Calibri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94" t="15047" r="23546"/>
          <a:stretch/>
        </p:blipFill>
        <p:spPr>
          <a:xfrm>
            <a:off x="9292244" y="1511300"/>
            <a:ext cx="2683855" cy="3395144"/>
          </a:xfrm>
          <a:prstGeom prst="rect">
            <a:avLst/>
          </a:prstGeom>
        </p:spPr>
      </p:pic>
      <p:sp>
        <p:nvSpPr>
          <p:cNvPr id="10" name="object 33"/>
          <p:cNvSpPr/>
          <p:nvPr/>
        </p:nvSpPr>
        <p:spPr>
          <a:xfrm>
            <a:off x="9292244" y="4907242"/>
            <a:ext cx="2899756" cy="51115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798"/>
          </a:p>
        </p:txBody>
      </p:sp>
      <p:sp>
        <p:nvSpPr>
          <p:cNvPr id="11" name="object 34"/>
          <p:cNvSpPr txBox="1"/>
          <p:nvPr/>
        </p:nvSpPr>
        <p:spPr>
          <a:xfrm>
            <a:off x="9397308" y="4993540"/>
            <a:ext cx="2683855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687">
              <a:spcBef>
                <a:spcPts val="5"/>
              </a:spcBef>
            </a:pPr>
            <a:r>
              <a:rPr lang="ru-RU" sz="1100" i="1" spc="-60" dirty="0" smtClean="0">
                <a:solidFill>
                  <a:srgbClr val="FFFFFF"/>
                </a:solidFill>
                <a:latin typeface="Arial"/>
                <a:cs typeface="Arial"/>
              </a:rPr>
              <a:t>Миллионный посетитель Национального павильона РК в Милане – Даниеле </a:t>
            </a:r>
            <a:r>
              <a:rPr lang="ru-RU" sz="1100" i="1" spc="-60" dirty="0" err="1" smtClean="0">
                <a:solidFill>
                  <a:srgbClr val="FFFFFF"/>
                </a:solidFill>
                <a:latin typeface="Arial"/>
                <a:cs typeface="Arial"/>
              </a:rPr>
              <a:t>Берго</a:t>
            </a:r>
            <a:endParaRPr sz="1100" dirty="0">
              <a:latin typeface="Arial"/>
              <a:cs typeface="Arial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896021" y="2048329"/>
            <a:ext cx="4741092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spc="20" dirty="0">
                <a:solidFill>
                  <a:srgbClr val="808285"/>
                </a:solidFill>
                <a:cs typeface="Calibri"/>
              </a:rPr>
              <a:t>Эффект на регионы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spc="20" dirty="0">
                <a:solidFill>
                  <a:srgbClr val="808285"/>
                </a:solidFill>
                <a:cs typeface="Calibri"/>
              </a:rPr>
              <a:t>посещаемость регионов увеличилось </a:t>
            </a:r>
            <a:r>
              <a:rPr lang="ru-RU" sz="1400" b="1" i="1" spc="20" dirty="0">
                <a:solidFill>
                  <a:srgbClr val="808285"/>
                </a:solidFill>
                <a:cs typeface="Calibri"/>
              </a:rPr>
              <a:t>вдвое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spc="20" dirty="0">
                <a:solidFill>
                  <a:srgbClr val="808285"/>
                </a:solidFill>
                <a:cs typeface="Calibri"/>
              </a:rPr>
              <a:t>июне-июле 2015 г. </a:t>
            </a:r>
            <a:r>
              <a:rPr lang="ru-RU" sz="1400" spc="20" dirty="0" smtClean="0">
                <a:solidFill>
                  <a:srgbClr val="808285"/>
                </a:solidFill>
                <a:cs typeface="Calibri"/>
              </a:rPr>
              <a:t>поток </a:t>
            </a:r>
            <a:r>
              <a:rPr lang="ru-RU" sz="1400" spc="20" dirty="0">
                <a:solidFill>
                  <a:srgbClr val="808285"/>
                </a:solidFill>
                <a:cs typeface="Calibri"/>
              </a:rPr>
              <a:t>туристов из-за рубежа превысил </a:t>
            </a:r>
            <a:r>
              <a:rPr lang="ru-RU" sz="1400" b="1" i="1" spc="20" dirty="0">
                <a:solidFill>
                  <a:srgbClr val="808285"/>
                </a:solidFill>
                <a:cs typeface="Calibri"/>
              </a:rPr>
              <a:t>47%</a:t>
            </a:r>
            <a:r>
              <a:rPr lang="ru-RU" sz="1400" spc="20" dirty="0">
                <a:solidFill>
                  <a:srgbClr val="808285"/>
                </a:solidFill>
                <a:cs typeface="Calibri"/>
              </a:rPr>
              <a:t> в Ломбардии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b="1" i="1" spc="20" dirty="0">
                <a:solidFill>
                  <a:srgbClr val="808285"/>
                </a:solidFill>
                <a:cs typeface="Calibri"/>
              </a:rPr>
              <a:t>58.3% </a:t>
            </a:r>
            <a:r>
              <a:rPr lang="ru-RU" sz="1400" spc="20" dirty="0">
                <a:solidFill>
                  <a:srgbClr val="808285"/>
                </a:solidFill>
                <a:cs typeface="Calibri"/>
              </a:rPr>
              <a:t>опрошенных туристов спланировали свою поездку в </a:t>
            </a:r>
            <a:r>
              <a:rPr lang="ru-RU" sz="1400" spc="20" dirty="0" smtClean="0">
                <a:solidFill>
                  <a:srgbClr val="808285"/>
                </a:solidFill>
                <a:cs typeface="Calibri"/>
              </a:rPr>
              <a:t>Италию именно </a:t>
            </a:r>
            <a:r>
              <a:rPr lang="ru-RU" sz="1400" spc="20" dirty="0">
                <a:solidFill>
                  <a:srgbClr val="808285"/>
                </a:solidFill>
                <a:cs typeface="Calibri"/>
              </a:rPr>
              <a:t>благодаря </a:t>
            </a:r>
            <a:r>
              <a:rPr lang="ru-RU" sz="1400" spc="20" dirty="0" smtClean="0">
                <a:solidFill>
                  <a:srgbClr val="808285"/>
                </a:solidFill>
                <a:cs typeface="Calibri"/>
              </a:rPr>
              <a:t>ЭКСПО 2015</a:t>
            </a:r>
            <a:r>
              <a:rPr lang="ru-RU" sz="1400" spc="20" dirty="0">
                <a:solidFill>
                  <a:srgbClr val="808285"/>
                </a:solidFill>
                <a:cs typeface="Calibri"/>
              </a:rPr>
              <a:t>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spc="20" dirty="0">
                <a:solidFill>
                  <a:srgbClr val="808285"/>
                </a:solidFill>
                <a:cs typeface="Calibri"/>
              </a:rPr>
              <a:t>Повысилась загрузка отелей (+4.5%)</a:t>
            </a:r>
          </a:p>
        </p:txBody>
      </p:sp>
      <p:pic>
        <p:nvPicPr>
          <p:cNvPr id="1030" name="Picture 6" descr="http://www.holidaym.ru/mel/italy/img/lombardia_map.gif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958" y="2002172"/>
            <a:ext cx="3222918" cy="3239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986600" y="1158720"/>
            <a:ext cx="36406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pc="20" dirty="0">
                <a:solidFill>
                  <a:srgbClr val="3F266C"/>
                </a:solidFill>
                <a:cs typeface="Calibri"/>
              </a:rPr>
              <a:t>Продано </a:t>
            </a:r>
            <a:r>
              <a:rPr lang="ru-RU" b="1" spc="20" dirty="0">
                <a:solidFill>
                  <a:srgbClr val="3F266C"/>
                </a:solidFill>
                <a:cs typeface="Calibri"/>
              </a:rPr>
              <a:t>21,476,957</a:t>
            </a:r>
            <a:r>
              <a:rPr lang="ru-RU" spc="20" dirty="0">
                <a:solidFill>
                  <a:srgbClr val="3F266C"/>
                </a:solidFill>
                <a:cs typeface="Calibri"/>
              </a:rPr>
              <a:t> билетов</a:t>
            </a:r>
          </a:p>
          <a:p>
            <a:r>
              <a:rPr lang="ru-RU" spc="20" dirty="0">
                <a:solidFill>
                  <a:srgbClr val="3F266C"/>
                </a:solidFill>
                <a:cs typeface="Calibri"/>
              </a:rPr>
              <a:t>Доход от билетов </a:t>
            </a:r>
            <a:r>
              <a:rPr lang="ru-RU" b="1" spc="20" dirty="0">
                <a:solidFill>
                  <a:srgbClr val="3F266C"/>
                </a:solidFill>
                <a:cs typeface="Calibri"/>
              </a:rPr>
              <a:t>373,7</a:t>
            </a:r>
            <a:r>
              <a:rPr lang="ru-RU" spc="20" dirty="0">
                <a:solidFill>
                  <a:srgbClr val="3F266C"/>
                </a:solidFill>
                <a:cs typeface="Calibri"/>
              </a:rPr>
              <a:t> </a:t>
            </a:r>
            <a:r>
              <a:rPr lang="ru-RU" b="1" spc="20" dirty="0" smtClean="0">
                <a:solidFill>
                  <a:srgbClr val="3F266C"/>
                </a:solidFill>
                <a:cs typeface="Calibri"/>
              </a:rPr>
              <a:t>млн.</a:t>
            </a:r>
            <a:r>
              <a:rPr lang="ru-RU" spc="20" dirty="0" smtClean="0">
                <a:solidFill>
                  <a:srgbClr val="3F266C"/>
                </a:solidFill>
                <a:cs typeface="Calibri"/>
              </a:rPr>
              <a:t> </a:t>
            </a:r>
            <a:r>
              <a:rPr lang="ru-RU" spc="20" dirty="0">
                <a:solidFill>
                  <a:srgbClr val="3F266C"/>
                </a:solidFill>
                <a:cs typeface="Calibri"/>
              </a:rPr>
              <a:t>евро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599819" y="3615868"/>
            <a:ext cx="55801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latin typeface="Neo Sans Pro"/>
              </a:rPr>
              <a:t>Милан – Франкфурт – Астана – Боровое – Алматы – Туркестан - </a:t>
            </a:r>
            <a:r>
              <a:rPr lang="ru-RU" sz="1200" dirty="0" err="1" smtClean="0">
                <a:latin typeface="Neo Sans Pro"/>
              </a:rPr>
              <a:t>Мангистау</a:t>
            </a:r>
            <a:endParaRPr lang="ru-RU" sz="1200" dirty="0">
              <a:latin typeface="Neo Sans Pro"/>
            </a:endParaRPr>
          </a:p>
        </p:txBody>
      </p:sp>
      <p:pic>
        <p:nvPicPr>
          <p:cNvPr id="15" name="Изображение 10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8130181" y="-184647"/>
            <a:ext cx="1206500" cy="1511300"/>
          </a:xfrm>
          <a:prstGeom prst="rect">
            <a:avLst/>
          </a:prstGeom>
        </p:spPr>
      </p:pic>
      <p:pic>
        <p:nvPicPr>
          <p:cNvPr id="16" name="Picture 2" descr="BI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0615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print"/>
          <a:srcRect l="5215" t="2903" r="5108" b="5914"/>
          <a:stretch/>
        </p:blipFill>
        <p:spPr>
          <a:xfrm>
            <a:off x="0" y="0"/>
            <a:ext cx="12192000" cy="7120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65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F:\сергей\expo\№3 преза_видео\work22-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57043"/>
            <a:ext cx="12192000" cy="6915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185"/>
          <a:stretch/>
        </p:blipFill>
        <p:spPr>
          <a:xfrm>
            <a:off x="0" y="0"/>
            <a:ext cx="12192000" cy="478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639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:\Users\amarat\Desktop\фывйцвйц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86607" b="77755"/>
          <a:stretch/>
        </p:blipFill>
        <p:spPr bwMode="auto">
          <a:xfrm>
            <a:off x="1875200" y="5580527"/>
            <a:ext cx="1264221" cy="1008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3" descr="C:\Users\amarat\Desktop\фывйцвйц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" t="29006" r="79214" b="44463"/>
          <a:stretch/>
        </p:blipFill>
        <p:spPr bwMode="auto">
          <a:xfrm>
            <a:off x="3362101" y="5580527"/>
            <a:ext cx="1640334" cy="1008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C:\Users\amarat\Desktop\фывйцвйц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" t="61470" r="79458" b="12774"/>
          <a:stretch/>
        </p:blipFill>
        <p:spPr bwMode="auto">
          <a:xfrm>
            <a:off x="5214516" y="5582397"/>
            <a:ext cx="1688643" cy="1014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C:\Users\amarat\Desktop\фывйцвйц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956" t="579" r="403" b="78494"/>
          <a:stretch/>
        </p:blipFill>
        <p:spPr bwMode="auto">
          <a:xfrm>
            <a:off x="8942725" y="5589598"/>
            <a:ext cx="1573436" cy="989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60" b="27394"/>
          <a:stretch/>
        </p:blipFill>
        <p:spPr>
          <a:xfrm>
            <a:off x="1831595" y="1772816"/>
            <a:ext cx="8815980" cy="3536738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/>
        </p:nvCxnSpPr>
        <p:spPr>
          <a:xfrm flipV="1">
            <a:off x="2078623" y="1820994"/>
            <a:ext cx="1944216" cy="3240360"/>
          </a:xfrm>
          <a:prstGeom prst="line">
            <a:avLst/>
          </a:prstGeom>
          <a:ln w="50800">
            <a:solidFill>
              <a:srgbClr val="FF66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343319" y="1820994"/>
            <a:ext cx="2170085" cy="3240360"/>
          </a:xfrm>
          <a:prstGeom prst="line">
            <a:avLst/>
          </a:prstGeom>
          <a:ln w="50800">
            <a:solidFill>
              <a:srgbClr val="FF66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 rot="3399550">
            <a:off x="8786752" y="2945587"/>
            <a:ext cx="105509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>
                <a:latin typeface="Neo Sans Pro" panose="020B0504030504040204" pitchFamily="34" charset="-52"/>
              </a:rPr>
              <a:t>пр. </a:t>
            </a:r>
            <a:r>
              <a:rPr lang="ru-RU" sz="1000" b="1" dirty="0" err="1" smtClean="0">
                <a:latin typeface="Neo Sans Pro" panose="020B0504030504040204" pitchFamily="34" charset="-52"/>
              </a:rPr>
              <a:t>Орынбор</a:t>
            </a:r>
            <a:endParaRPr lang="ru-RU" sz="1000" b="1" dirty="0">
              <a:latin typeface="Neo Sans Pro" panose="020B0504030504040204" pitchFamily="34" charset="-52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V="1">
            <a:off x="2150631" y="5061354"/>
            <a:ext cx="8362773" cy="6993"/>
          </a:xfrm>
          <a:prstGeom prst="line">
            <a:avLst/>
          </a:prstGeom>
          <a:ln w="50800">
            <a:solidFill>
              <a:srgbClr val="FF66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5079371" y="1567178"/>
            <a:ext cx="134684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>
                <a:latin typeface="Neo Sans Pro" panose="020B0504030504040204" pitchFamily="34" charset="-52"/>
              </a:rPr>
              <a:t>Хусейн бен </a:t>
            </a:r>
            <a:r>
              <a:rPr lang="ru-RU" sz="1000" b="1" dirty="0" err="1" smtClean="0">
                <a:latin typeface="Neo Sans Pro" panose="020B0504030504040204" pitchFamily="34" charset="-52"/>
              </a:rPr>
              <a:t>Талл</a:t>
            </a:r>
            <a:endParaRPr lang="ru-RU" sz="1000" b="1" dirty="0">
              <a:latin typeface="Neo Sans Pro" panose="020B0504030504040204" pitchFamily="34" charset="-52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260934" y="5104154"/>
            <a:ext cx="15792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1000"/>
            </a:lvl1pPr>
          </a:lstStyle>
          <a:p>
            <a:r>
              <a:rPr lang="ru-RU" b="1" dirty="0" err="1" smtClean="0">
                <a:latin typeface="Neo Sans Pro" panose="020B0504030504040204" pitchFamily="34" charset="-52"/>
              </a:rPr>
              <a:t>ул</a:t>
            </a:r>
            <a:r>
              <a:rPr lang="en-US" b="1" dirty="0" smtClean="0">
                <a:latin typeface="Neo Sans Pro" panose="020B0504030504040204" pitchFamily="34" charset="-52"/>
              </a:rPr>
              <a:t>.</a:t>
            </a:r>
            <a:r>
              <a:rPr lang="ru-RU" b="1" dirty="0" smtClean="0">
                <a:latin typeface="Neo Sans Pro" panose="020B0504030504040204" pitchFamily="34" charset="-52"/>
              </a:rPr>
              <a:t> </a:t>
            </a:r>
            <a:r>
              <a:rPr lang="ru-RU" b="1" dirty="0" err="1" smtClean="0">
                <a:latin typeface="Neo Sans Pro" panose="020B0504030504040204" pitchFamily="34" charset="-52"/>
              </a:rPr>
              <a:t>Турар</a:t>
            </a:r>
            <a:r>
              <a:rPr lang="ru-RU" b="1" dirty="0" smtClean="0">
                <a:latin typeface="Neo Sans Pro" panose="020B0504030504040204" pitchFamily="34" charset="-52"/>
              </a:rPr>
              <a:t> Рыскулова</a:t>
            </a:r>
            <a:endParaRPr lang="ru-RU" b="1" dirty="0">
              <a:latin typeface="Neo Sans Pro" panose="020B0504030504040204" pitchFamily="34" charset="-52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4094847" y="1820994"/>
            <a:ext cx="4248471" cy="0"/>
          </a:xfrm>
          <a:prstGeom prst="line">
            <a:avLst/>
          </a:prstGeom>
          <a:ln w="50800">
            <a:solidFill>
              <a:srgbClr val="FF66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вал 15"/>
          <p:cNvSpPr/>
          <p:nvPr/>
        </p:nvSpPr>
        <p:spPr>
          <a:xfrm>
            <a:off x="5667037" y="2667007"/>
            <a:ext cx="2505989" cy="1532791"/>
          </a:xfrm>
          <a:prstGeom prst="ellipse">
            <a:avLst/>
          </a:prstGeom>
          <a:solidFill>
            <a:srgbClr val="92D050">
              <a:alpha val="5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893036" y="1200570"/>
            <a:ext cx="25426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latin typeface="Neo Sans Pro" panose="020B0504030504040204" pitchFamily="34" charset="-52"/>
              </a:rPr>
              <a:t>Общая территория - </a:t>
            </a:r>
            <a:r>
              <a:rPr lang="en-US" sz="1200" b="1" dirty="0" smtClean="0">
                <a:solidFill>
                  <a:srgbClr val="FF6600"/>
                </a:solidFill>
                <a:latin typeface="Neo Sans Pro" panose="020B0504030504040204" pitchFamily="34" charset="-52"/>
              </a:rPr>
              <a:t>173,4 </a:t>
            </a:r>
            <a:r>
              <a:rPr lang="ru-RU" sz="1200" b="1" dirty="0" smtClean="0">
                <a:solidFill>
                  <a:srgbClr val="FF6600"/>
                </a:solidFill>
                <a:latin typeface="Neo Sans Pro" panose="020B0504030504040204" pitchFamily="34" charset="-52"/>
              </a:rPr>
              <a:t>га</a:t>
            </a:r>
            <a:endParaRPr lang="ru-RU" sz="1200" b="1" dirty="0">
              <a:solidFill>
                <a:srgbClr val="FF6600"/>
              </a:solidFill>
              <a:latin typeface="Neo Sans Pro" panose="020B0504030504040204" pitchFamily="34" charset="-52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903159" y="1421856"/>
            <a:ext cx="28200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latin typeface="Neo Sans Pro" panose="020B0504030504040204" pitchFamily="34" charset="-52"/>
              </a:rPr>
              <a:t>Выставочная территория – </a:t>
            </a:r>
            <a:r>
              <a:rPr lang="ru-RU" sz="1200" b="1" dirty="0" smtClean="0">
                <a:solidFill>
                  <a:srgbClr val="FF6600"/>
                </a:solidFill>
                <a:latin typeface="Neo Sans Pro" panose="020B0504030504040204" pitchFamily="34" charset="-52"/>
              </a:rPr>
              <a:t>25 га</a:t>
            </a:r>
            <a:endParaRPr lang="ru-RU" sz="1200" b="1" dirty="0">
              <a:solidFill>
                <a:srgbClr val="FF6600"/>
              </a:solidFill>
              <a:latin typeface="Neo Sans Pro" panose="020B0504030504040204" pitchFamily="34" charset="-52"/>
            </a:endParaRPr>
          </a:p>
        </p:txBody>
      </p:sp>
      <p:sp>
        <p:nvSpPr>
          <p:cNvPr id="19" name="Полилиния 18"/>
          <p:cNvSpPr/>
          <p:nvPr/>
        </p:nvSpPr>
        <p:spPr>
          <a:xfrm>
            <a:off x="8163738" y="2800720"/>
            <a:ext cx="254188" cy="279661"/>
          </a:xfrm>
          <a:custGeom>
            <a:avLst/>
            <a:gdLst>
              <a:gd name="connsiteX0" fmla="*/ 13746 w 247469"/>
              <a:gd name="connsiteY0" fmla="*/ 148481 h 285099"/>
              <a:gd name="connsiteX1" fmla="*/ 23271 w 247469"/>
              <a:gd name="connsiteY1" fmla="*/ 48469 h 285099"/>
              <a:gd name="connsiteX2" fmla="*/ 175671 w 247469"/>
              <a:gd name="connsiteY2" fmla="*/ 5606 h 285099"/>
              <a:gd name="connsiteX3" fmla="*/ 244728 w 247469"/>
              <a:gd name="connsiteY3" fmla="*/ 169913 h 285099"/>
              <a:gd name="connsiteX4" fmla="*/ 225678 w 247469"/>
              <a:gd name="connsiteY4" fmla="*/ 269925 h 285099"/>
              <a:gd name="connsiteX5" fmla="*/ 151859 w 247469"/>
              <a:gd name="connsiteY5" fmla="*/ 272306 h 285099"/>
              <a:gd name="connsiteX6" fmla="*/ 13746 w 247469"/>
              <a:gd name="connsiteY6" fmla="*/ 148481 h 285099"/>
              <a:gd name="connsiteX0" fmla="*/ 13746 w 245346"/>
              <a:gd name="connsiteY0" fmla="*/ 148481 h 285099"/>
              <a:gd name="connsiteX1" fmla="*/ 23271 w 245346"/>
              <a:gd name="connsiteY1" fmla="*/ 48469 h 285099"/>
              <a:gd name="connsiteX2" fmla="*/ 175671 w 245346"/>
              <a:gd name="connsiteY2" fmla="*/ 5606 h 285099"/>
              <a:gd name="connsiteX3" fmla="*/ 244728 w 245346"/>
              <a:gd name="connsiteY3" fmla="*/ 169913 h 285099"/>
              <a:gd name="connsiteX4" fmla="*/ 225678 w 245346"/>
              <a:gd name="connsiteY4" fmla="*/ 269925 h 285099"/>
              <a:gd name="connsiteX5" fmla="*/ 151859 w 245346"/>
              <a:gd name="connsiteY5" fmla="*/ 272306 h 285099"/>
              <a:gd name="connsiteX6" fmla="*/ 13746 w 245346"/>
              <a:gd name="connsiteY6" fmla="*/ 148481 h 285099"/>
              <a:gd name="connsiteX0" fmla="*/ 11774 w 243374"/>
              <a:gd name="connsiteY0" fmla="*/ 148481 h 285099"/>
              <a:gd name="connsiteX1" fmla="*/ 21299 w 243374"/>
              <a:gd name="connsiteY1" fmla="*/ 48469 h 285099"/>
              <a:gd name="connsiteX2" fmla="*/ 173699 w 243374"/>
              <a:gd name="connsiteY2" fmla="*/ 5606 h 285099"/>
              <a:gd name="connsiteX3" fmla="*/ 242756 w 243374"/>
              <a:gd name="connsiteY3" fmla="*/ 169913 h 285099"/>
              <a:gd name="connsiteX4" fmla="*/ 223706 w 243374"/>
              <a:gd name="connsiteY4" fmla="*/ 269925 h 285099"/>
              <a:gd name="connsiteX5" fmla="*/ 149887 w 243374"/>
              <a:gd name="connsiteY5" fmla="*/ 272306 h 285099"/>
              <a:gd name="connsiteX6" fmla="*/ 11774 w 243374"/>
              <a:gd name="connsiteY6" fmla="*/ 148481 h 285099"/>
              <a:gd name="connsiteX0" fmla="*/ 11774 w 243374"/>
              <a:gd name="connsiteY0" fmla="*/ 158153 h 284761"/>
              <a:gd name="connsiteX1" fmla="*/ 21299 w 243374"/>
              <a:gd name="connsiteY1" fmla="*/ 48616 h 284761"/>
              <a:gd name="connsiteX2" fmla="*/ 173699 w 243374"/>
              <a:gd name="connsiteY2" fmla="*/ 5753 h 284761"/>
              <a:gd name="connsiteX3" fmla="*/ 242756 w 243374"/>
              <a:gd name="connsiteY3" fmla="*/ 170060 h 284761"/>
              <a:gd name="connsiteX4" fmla="*/ 223706 w 243374"/>
              <a:gd name="connsiteY4" fmla="*/ 270072 h 284761"/>
              <a:gd name="connsiteX5" fmla="*/ 149887 w 243374"/>
              <a:gd name="connsiteY5" fmla="*/ 272453 h 284761"/>
              <a:gd name="connsiteX6" fmla="*/ 11774 w 243374"/>
              <a:gd name="connsiteY6" fmla="*/ 158153 h 284761"/>
              <a:gd name="connsiteX0" fmla="*/ 12447 w 245375"/>
              <a:gd name="connsiteY0" fmla="*/ 153835 h 280443"/>
              <a:gd name="connsiteX1" fmla="*/ 21972 w 245375"/>
              <a:gd name="connsiteY1" fmla="*/ 44298 h 280443"/>
              <a:gd name="connsiteX2" fmla="*/ 186278 w 245375"/>
              <a:gd name="connsiteY2" fmla="*/ 6198 h 280443"/>
              <a:gd name="connsiteX3" fmla="*/ 243429 w 245375"/>
              <a:gd name="connsiteY3" fmla="*/ 165742 h 280443"/>
              <a:gd name="connsiteX4" fmla="*/ 224379 w 245375"/>
              <a:gd name="connsiteY4" fmla="*/ 265754 h 280443"/>
              <a:gd name="connsiteX5" fmla="*/ 150560 w 245375"/>
              <a:gd name="connsiteY5" fmla="*/ 268135 h 280443"/>
              <a:gd name="connsiteX6" fmla="*/ 12447 w 245375"/>
              <a:gd name="connsiteY6" fmla="*/ 153835 h 280443"/>
              <a:gd name="connsiteX0" fmla="*/ 12447 w 254188"/>
              <a:gd name="connsiteY0" fmla="*/ 153053 h 279661"/>
              <a:gd name="connsiteX1" fmla="*/ 21972 w 254188"/>
              <a:gd name="connsiteY1" fmla="*/ 43516 h 279661"/>
              <a:gd name="connsiteX2" fmla="*/ 186278 w 254188"/>
              <a:gd name="connsiteY2" fmla="*/ 5416 h 279661"/>
              <a:gd name="connsiteX3" fmla="*/ 252954 w 254188"/>
              <a:gd name="connsiteY3" fmla="*/ 153053 h 279661"/>
              <a:gd name="connsiteX4" fmla="*/ 224379 w 254188"/>
              <a:gd name="connsiteY4" fmla="*/ 264972 h 279661"/>
              <a:gd name="connsiteX5" fmla="*/ 150560 w 254188"/>
              <a:gd name="connsiteY5" fmla="*/ 267353 h 279661"/>
              <a:gd name="connsiteX6" fmla="*/ 12447 w 254188"/>
              <a:gd name="connsiteY6" fmla="*/ 153053 h 279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4188" h="279661">
                <a:moveTo>
                  <a:pt x="12447" y="153053"/>
                </a:moveTo>
                <a:cubicBezTo>
                  <a:pt x="-4222" y="137178"/>
                  <a:pt x="-7000" y="68122"/>
                  <a:pt x="21972" y="43516"/>
                </a:cubicBezTo>
                <a:cubicBezTo>
                  <a:pt x="50944" y="18910"/>
                  <a:pt x="147781" y="-12840"/>
                  <a:pt x="186278" y="5416"/>
                </a:cubicBezTo>
                <a:cubicBezTo>
                  <a:pt x="224775" y="23672"/>
                  <a:pt x="246604" y="109794"/>
                  <a:pt x="252954" y="153053"/>
                </a:cubicBezTo>
                <a:cubicBezTo>
                  <a:pt x="259304" y="196312"/>
                  <a:pt x="239857" y="247907"/>
                  <a:pt x="224379" y="264972"/>
                </a:cubicBezTo>
                <a:cubicBezTo>
                  <a:pt x="208901" y="282037"/>
                  <a:pt x="185882" y="286006"/>
                  <a:pt x="150560" y="267353"/>
                </a:cubicBezTo>
                <a:cubicBezTo>
                  <a:pt x="115238" y="248700"/>
                  <a:pt x="29116" y="168928"/>
                  <a:pt x="12447" y="153053"/>
                </a:cubicBezTo>
                <a:close/>
              </a:path>
            </a:pathLst>
          </a:cu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sp>
        <p:nvSpPr>
          <p:cNvPr id="20" name="Полилиния 19"/>
          <p:cNvSpPr/>
          <p:nvPr/>
        </p:nvSpPr>
        <p:spPr>
          <a:xfrm>
            <a:off x="8491919" y="3356857"/>
            <a:ext cx="215576" cy="175571"/>
          </a:xfrm>
          <a:custGeom>
            <a:avLst/>
            <a:gdLst>
              <a:gd name="connsiteX0" fmla="*/ 12736 w 220196"/>
              <a:gd name="connsiteY0" fmla="*/ 139850 h 177960"/>
              <a:gd name="connsiteX1" fmla="*/ 17499 w 220196"/>
              <a:gd name="connsiteY1" fmla="*/ 85081 h 177960"/>
              <a:gd name="connsiteX2" fmla="*/ 98461 w 220196"/>
              <a:gd name="connsiteY2" fmla="*/ 4119 h 177960"/>
              <a:gd name="connsiteX3" fmla="*/ 179424 w 220196"/>
              <a:gd name="connsiteY3" fmla="*/ 25550 h 177960"/>
              <a:gd name="connsiteX4" fmla="*/ 219905 w 220196"/>
              <a:gd name="connsiteY4" fmla="*/ 142231 h 177960"/>
              <a:gd name="connsiteX5" fmla="*/ 160374 w 220196"/>
              <a:gd name="connsiteY5" fmla="*/ 177950 h 177960"/>
              <a:gd name="connsiteX6" fmla="*/ 12736 w 220196"/>
              <a:gd name="connsiteY6" fmla="*/ 139850 h 177960"/>
              <a:gd name="connsiteX0" fmla="*/ 8116 w 215576"/>
              <a:gd name="connsiteY0" fmla="*/ 137461 h 175571"/>
              <a:gd name="connsiteX1" fmla="*/ 27166 w 215576"/>
              <a:gd name="connsiteY1" fmla="*/ 49354 h 175571"/>
              <a:gd name="connsiteX2" fmla="*/ 93841 w 215576"/>
              <a:gd name="connsiteY2" fmla="*/ 1730 h 175571"/>
              <a:gd name="connsiteX3" fmla="*/ 174804 w 215576"/>
              <a:gd name="connsiteY3" fmla="*/ 23161 h 175571"/>
              <a:gd name="connsiteX4" fmla="*/ 215285 w 215576"/>
              <a:gd name="connsiteY4" fmla="*/ 139842 h 175571"/>
              <a:gd name="connsiteX5" fmla="*/ 155754 w 215576"/>
              <a:gd name="connsiteY5" fmla="*/ 175561 h 175571"/>
              <a:gd name="connsiteX6" fmla="*/ 8116 w 215576"/>
              <a:gd name="connsiteY6" fmla="*/ 137461 h 175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5576" h="175571">
                <a:moveTo>
                  <a:pt x="8116" y="137461"/>
                </a:moveTo>
                <a:cubicBezTo>
                  <a:pt x="-13315" y="116427"/>
                  <a:pt x="12878" y="71976"/>
                  <a:pt x="27166" y="49354"/>
                </a:cubicBezTo>
                <a:cubicBezTo>
                  <a:pt x="41454" y="26732"/>
                  <a:pt x="69235" y="6095"/>
                  <a:pt x="93841" y="1730"/>
                </a:cubicBezTo>
                <a:cubicBezTo>
                  <a:pt x="118447" y="-2635"/>
                  <a:pt x="154563" y="142"/>
                  <a:pt x="174804" y="23161"/>
                </a:cubicBezTo>
                <a:cubicBezTo>
                  <a:pt x="195045" y="46180"/>
                  <a:pt x="218460" y="114442"/>
                  <a:pt x="215285" y="139842"/>
                </a:cubicBezTo>
                <a:cubicBezTo>
                  <a:pt x="212110" y="165242"/>
                  <a:pt x="189885" y="175958"/>
                  <a:pt x="155754" y="175561"/>
                </a:cubicBezTo>
                <a:cubicBezTo>
                  <a:pt x="121623" y="175164"/>
                  <a:pt x="29547" y="158495"/>
                  <a:pt x="8116" y="137461"/>
                </a:cubicBezTo>
                <a:close/>
              </a:path>
            </a:pathLst>
          </a:cu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sp>
        <p:nvSpPr>
          <p:cNvPr id="21" name="Полилиния 20"/>
          <p:cNvSpPr/>
          <p:nvPr/>
        </p:nvSpPr>
        <p:spPr>
          <a:xfrm>
            <a:off x="7524144" y="2503857"/>
            <a:ext cx="653933" cy="298789"/>
          </a:xfrm>
          <a:custGeom>
            <a:avLst/>
            <a:gdLst>
              <a:gd name="connsiteX0" fmla="*/ 665857 w 673393"/>
              <a:gd name="connsiteY0" fmla="*/ 204664 h 298641"/>
              <a:gd name="connsiteX1" fmla="*/ 403919 w 673393"/>
              <a:gd name="connsiteY1" fmla="*/ 295152 h 298641"/>
              <a:gd name="connsiteX2" fmla="*/ 22919 w 673393"/>
              <a:gd name="connsiteY2" fmla="*/ 85602 h 298641"/>
              <a:gd name="connsiteX3" fmla="*/ 96738 w 673393"/>
              <a:gd name="connsiteY3" fmla="*/ 4639 h 298641"/>
              <a:gd name="connsiteX4" fmla="*/ 539651 w 673393"/>
              <a:gd name="connsiteY4" fmla="*/ 14164 h 298641"/>
              <a:gd name="connsiteX5" fmla="*/ 596801 w 673393"/>
              <a:gd name="connsiteY5" fmla="*/ 49883 h 298641"/>
              <a:gd name="connsiteX6" fmla="*/ 665857 w 673393"/>
              <a:gd name="connsiteY6" fmla="*/ 204664 h 298641"/>
              <a:gd name="connsiteX0" fmla="*/ 665857 w 673393"/>
              <a:gd name="connsiteY0" fmla="*/ 204664 h 295540"/>
              <a:gd name="connsiteX1" fmla="*/ 403919 w 673393"/>
              <a:gd name="connsiteY1" fmla="*/ 295152 h 295540"/>
              <a:gd name="connsiteX2" fmla="*/ 22919 w 673393"/>
              <a:gd name="connsiteY2" fmla="*/ 85602 h 295540"/>
              <a:gd name="connsiteX3" fmla="*/ 96738 w 673393"/>
              <a:gd name="connsiteY3" fmla="*/ 4639 h 295540"/>
              <a:gd name="connsiteX4" fmla="*/ 539651 w 673393"/>
              <a:gd name="connsiteY4" fmla="*/ 14164 h 295540"/>
              <a:gd name="connsiteX5" fmla="*/ 596801 w 673393"/>
              <a:gd name="connsiteY5" fmla="*/ 49883 h 295540"/>
              <a:gd name="connsiteX6" fmla="*/ 665857 w 673393"/>
              <a:gd name="connsiteY6" fmla="*/ 204664 h 295540"/>
              <a:gd name="connsiteX0" fmla="*/ 665857 w 672937"/>
              <a:gd name="connsiteY0" fmla="*/ 204664 h 295540"/>
              <a:gd name="connsiteX1" fmla="*/ 403919 w 672937"/>
              <a:gd name="connsiteY1" fmla="*/ 295152 h 295540"/>
              <a:gd name="connsiteX2" fmla="*/ 22919 w 672937"/>
              <a:gd name="connsiteY2" fmla="*/ 85602 h 295540"/>
              <a:gd name="connsiteX3" fmla="*/ 96738 w 672937"/>
              <a:gd name="connsiteY3" fmla="*/ 4639 h 295540"/>
              <a:gd name="connsiteX4" fmla="*/ 539651 w 672937"/>
              <a:gd name="connsiteY4" fmla="*/ 14164 h 295540"/>
              <a:gd name="connsiteX5" fmla="*/ 596801 w 672937"/>
              <a:gd name="connsiteY5" fmla="*/ 49883 h 295540"/>
              <a:gd name="connsiteX6" fmla="*/ 665857 w 672937"/>
              <a:gd name="connsiteY6" fmla="*/ 204664 h 295540"/>
              <a:gd name="connsiteX0" fmla="*/ 665857 w 672937"/>
              <a:gd name="connsiteY0" fmla="*/ 204664 h 295533"/>
              <a:gd name="connsiteX1" fmla="*/ 403919 w 672937"/>
              <a:gd name="connsiteY1" fmla="*/ 295152 h 295533"/>
              <a:gd name="connsiteX2" fmla="*/ 22919 w 672937"/>
              <a:gd name="connsiteY2" fmla="*/ 85602 h 295533"/>
              <a:gd name="connsiteX3" fmla="*/ 96738 w 672937"/>
              <a:gd name="connsiteY3" fmla="*/ 4639 h 295533"/>
              <a:gd name="connsiteX4" fmla="*/ 539651 w 672937"/>
              <a:gd name="connsiteY4" fmla="*/ 14164 h 295533"/>
              <a:gd name="connsiteX5" fmla="*/ 596801 w 672937"/>
              <a:gd name="connsiteY5" fmla="*/ 57027 h 295533"/>
              <a:gd name="connsiteX6" fmla="*/ 665857 w 672937"/>
              <a:gd name="connsiteY6" fmla="*/ 204664 h 295533"/>
              <a:gd name="connsiteX0" fmla="*/ 665857 w 672281"/>
              <a:gd name="connsiteY0" fmla="*/ 204664 h 295533"/>
              <a:gd name="connsiteX1" fmla="*/ 403919 w 672281"/>
              <a:gd name="connsiteY1" fmla="*/ 295152 h 295533"/>
              <a:gd name="connsiteX2" fmla="*/ 22919 w 672281"/>
              <a:gd name="connsiteY2" fmla="*/ 85602 h 295533"/>
              <a:gd name="connsiteX3" fmla="*/ 96738 w 672281"/>
              <a:gd name="connsiteY3" fmla="*/ 4639 h 295533"/>
              <a:gd name="connsiteX4" fmla="*/ 539651 w 672281"/>
              <a:gd name="connsiteY4" fmla="*/ 14164 h 295533"/>
              <a:gd name="connsiteX5" fmla="*/ 596801 w 672281"/>
              <a:gd name="connsiteY5" fmla="*/ 57027 h 295533"/>
              <a:gd name="connsiteX6" fmla="*/ 665857 w 672281"/>
              <a:gd name="connsiteY6" fmla="*/ 204664 h 295533"/>
              <a:gd name="connsiteX0" fmla="*/ 665857 w 672281"/>
              <a:gd name="connsiteY0" fmla="*/ 204664 h 295533"/>
              <a:gd name="connsiteX1" fmla="*/ 403919 w 672281"/>
              <a:gd name="connsiteY1" fmla="*/ 295152 h 295533"/>
              <a:gd name="connsiteX2" fmla="*/ 22919 w 672281"/>
              <a:gd name="connsiteY2" fmla="*/ 85602 h 295533"/>
              <a:gd name="connsiteX3" fmla="*/ 96738 w 672281"/>
              <a:gd name="connsiteY3" fmla="*/ 4639 h 295533"/>
              <a:gd name="connsiteX4" fmla="*/ 539651 w 672281"/>
              <a:gd name="connsiteY4" fmla="*/ 14164 h 295533"/>
              <a:gd name="connsiteX5" fmla="*/ 596801 w 672281"/>
              <a:gd name="connsiteY5" fmla="*/ 57027 h 295533"/>
              <a:gd name="connsiteX6" fmla="*/ 665857 w 672281"/>
              <a:gd name="connsiteY6" fmla="*/ 204664 h 295533"/>
              <a:gd name="connsiteX0" fmla="*/ 662141 w 668565"/>
              <a:gd name="connsiteY0" fmla="*/ 201615 h 292484"/>
              <a:gd name="connsiteX1" fmla="*/ 400203 w 668565"/>
              <a:gd name="connsiteY1" fmla="*/ 292103 h 292484"/>
              <a:gd name="connsiteX2" fmla="*/ 19203 w 668565"/>
              <a:gd name="connsiteY2" fmla="*/ 82553 h 292484"/>
              <a:gd name="connsiteX3" fmla="*/ 93022 w 668565"/>
              <a:gd name="connsiteY3" fmla="*/ 1590 h 292484"/>
              <a:gd name="connsiteX4" fmla="*/ 535935 w 668565"/>
              <a:gd name="connsiteY4" fmla="*/ 11115 h 292484"/>
              <a:gd name="connsiteX5" fmla="*/ 593085 w 668565"/>
              <a:gd name="connsiteY5" fmla="*/ 53978 h 292484"/>
              <a:gd name="connsiteX6" fmla="*/ 662141 w 668565"/>
              <a:gd name="connsiteY6" fmla="*/ 201615 h 292484"/>
              <a:gd name="connsiteX0" fmla="*/ 652789 w 659213"/>
              <a:gd name="connsiteY0" fmla="*/ 205183 h 298789"/>
              <a:gd name="connsiteX1" fmla="*/ 390851 w 659213"/>
              <a:gd name="connsiteY1" fmla="*/ 295671 h 298789"/>
              <a:gd name="connsiteX2" fmla="*/ 26520 w 659213"/>
              <a:gd name="connsiteY2" fmla="*/ 93264 h 298789"/>
              <a:gd name="connsiteX3" fmla="*/ 83670 w 659213"/>
              <a:gd name="connsiteY3" fmla="*/ 5158 h 298789"/>
              <a:gd name="connsiteX4" fmla="*/ 526583 w 659213"/>
              <a:gd name="connsiteY4" fmla="*/ 14683 h 298789"/>
              <a:gd name="connsiteX5" fmla="*/ 583733 w 659213"/>
              <a:gd name="connsiteY5" fmla="*/ 57546 h 298789"/>
              <a:gd name="connsiteX6" fmla="*/ 652789 w 659213"/>
              <a:gd name="connsiteY6" fmla="*/ 205183 h 298789"/>
              <a:gd name="connsiteX0" fmla="*/ 647509 w 653933"/>
              <a:gd name="connsiteY0" fmla="*/ 205183 h 298789"/>
              <a:gd name="connsiteX1" fmla="*/ 385571 w 653933"/>
              <a:gd name="connsiteY1" fmla="*/ 295671 h 298789"/>
              <a:gd name="connsiteX2" fmla="*/ 21240 w 653933"/>
              <a:gd name="connsiteY2" fmla="*/ 93264 h 298789"/>
              <a:gd name="connsiteX3" fmla="*/ 78390 w 653933"/>
              <a:gd name="connsiteY3" fmla="*/ 5158 h 298789"/>
              <a:gd name="connsiteX4" fmla="*/ 521303 w 653933"/>
              <a:gd name="connsiteY4" fmla="*/ 14683 h 298789"/>
              <a:gd name="connsiteX5" fmla="*/ 578453 w 653933"/>
              <a:gd name="connsiteY5" fmla="*/ 57546 h 298789"/>
              <a:gd name="connsiteX6" fmla="*/ 647509 w 653933"/>
              <a:gd name="connsiteY6" fmla="*/ 205183 h 298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53933" h="298789">
                <a:moveTo>
                  <a:pt x="647509" y="205183"/>
                </a:moveTo>
                <a:cubicBezTo>
                  <a:pt x="615362" y="244870"/>
                  <a:pt x="489949" y="314324"/>
                  <a:pt x="385571" y="295671"/>
                </a:cubicBezTo>
                <a:cubicBezTo>
                  <a:pt x="281193" y="277018"/>
                  <a:pt x="60531" y="117870"/>
                  <a:pt x="21240" y="93264"/>
                </a:cubicBezTo>
                <a:cubicBezTo>
                  <a:pt x="-18051" y="68658"/>
                  <a:pt x="-4954" y="18255"/>
                  <a:pt x="78390" y="5158"/>
                </a:cubicBezTo>
                <a:cubicBezTo>
                  <a:pt x="161734" y="-7939"/>
                  <a:pt x="437959" y="7142"/>
                  <a:pt x="521303" y="14683"/>
                </a:cubicBezTo>
                <a:cubicBezTo>
                  <a:pt x="542734" y="15080"/>
                  <a:pt x="576073" y="51593"/>
                  <a:pt x="578453" y="57546"/>
                </a:cubicBezTo>
                <a:cubicBezTo>
                  <a:pt x="580833" y="63499"/>
                  <a:pt x="679656" y="165496"/>
                  <a:pt x="647509" y="205183"/>
                </a:cubicBezTo>
                <a:close/>
              </a:path>
            </a:pathLst>
          </a:cu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sp>
        <p:nvSpPr>
          <p:cNvPr id="22" name="Полилиния 21"/>
          <p:cNvSpPr/>
          <p:nvPr/>
        </p:nvSpPr>
        <p:spPr>
          <a:xfrm>
            <a:off x="7434311" y="2338593"/>
            <a:ext cx="664244" cy="120342"/>
          </a:xfrm>
          <a:custGeom>
            <a:avLst/>
            <a:gdLst>
              <a:gd name="connsiteX0" fmla="*/ 16798 w 685398"/>
              <a:gd name="connsiteY0" fmla="*/ 66503 h 128001"/>
              <a:gd name="connsiteX1" fmla="*/ 57279 w 685398"/>
              <a:gd name="connsiteY1" fmla="*/ 4590 h 128001"/>
              <a:gd name="connsiteX2" fmla="*/ 590679 w 685398"/>
              <a:gd name="connsiteY2" fmla="*/ 9353 h 128001"/>
              <a:gd name="connsiteX3" fmla="*/ 650211 w 685398"/>
              <a:gd name="connsiteY3" fmla="*/ 47453 h 128001"/>
              <a:gd name="connsiteX4" fmla="*/ 681167 w 685398"/>
              <a:gd name="connsiteY4" fmla="*/ 102222 h 128001"/>
              <a:gd name="connsiteX5" fmla="*/ 616873 w 685398"/>
              <a:gd name="connsiteY5" fmla="*/ 126034 h 128001"/>
              <a:gd name="connsiteX6" fmla="*/ 73948 w 685398"/>
              <a:gd name="connsiteY6" fmla="*/ 123653 h 128001"/>
              <a:gd name="connsiteX7" fmla="*/ 16798 w 685398"/>
              <a:gd name="connsiteY7" fmla="*/ 66503 h 128001"/>
              <a:gd name="connsiteX0" fmla="*/ 16798 w 685398"/>
              <a:gd name="connsiteY0" fmla="*/ 66503 h 126906"/>
              <a:gd name="connsiteX1" fmla="*/ 57279 w 685398"/>
              <a:gd name="connsiteY1" fmla="*/ 4590 h 126906"/>
              <a:gd name="connsiteX2" fmla="*/ 590679 w 685398"/>
              <a:gd name="connsiteY2" fmla="*/ 9353 h 126906"/>
              <a:gd name="connsiteX3" fmla="*/ 650211 w 685398"/>
              <a:gd name="connsiteY3" fmla="*/ 47453 h 126906"/>
              <a:gd name="connsiteX4" fmla="*/ 681167 w 685398"/>
              <a:gd name="connsiteY4" fmla="*/ 102222 h 126906"/>
              <a:gd name="connsiteX5" fmla="*/ 616873 w 685398"/>
              <a:gd name="connsiteY5" fmla="*/ 126034 h 126906"/>
              <a:gd name="connsiteX6" fmla="*/ 73948 w 685398"/>
              <a:gd name="connsiteY6" fmla="*/ 123653 h 126906"/>
              <a:gd name="connsiteX7" fmla="*/ 16798 w 685398"/>
              <a:gd name="connsiteY7" fmla="*/ 66503 h 126906"/>
              <a:gd name="connsiteX0" fmla="*/ 5609 w 674209"/>
              <a:gd name="connsiteY0" fmla="*/ 63337 h 123740"/>
              <a:gd name="connsiteX1" fmla="*/ 46090 w 674209"/>
              <a:gd name="connsiteY1" fmla="*/ 1424 h 123740"/>
              <a:gd name="connsiteX2" fmla="*/ 579490 w 674209"/>
              <a:gd name="connsiteY2" fmla="*/ 6187 h 123740"/>
              <a:gd name="connsiteX3" fmla="*/ 639022 w 674209"/>
              <a:gd name="connsiteY3" fmla="*/ 44287 h 123740"/>
              <a:gd name="connsiteX4" fmla="*/ 669978 w 674209"/>
              <a:gd name="connsiteY4" fmla="*/ 99056 h 123740"/>
              <a:gd name="connsiteX5" fmla="*/ 605684 w 674209"/>
              <a:gd name="connsiteY5" fmla="*/ 122868 h 123740"/>
              <a:gd name="connsiteX6" fmla="*/ 62759 w 674209"/>
              <a:gd name="connsiteY6" fmla="*/ 120487 h 123740"/>
              <a:gd name="connsiteX7" fmla="*/ 5609 w 674209"/>
              <a:gd name="connsiteY7" fmla="*/ 63337 h 123740"/>
              <a:gd name="connsiteX0" fmla="*/ 5609 w 674209"/>
              <a:gd name="connsiteY0" fmla="*/ 62848 h 123251"/>
              <a:gd name="connsiteX1" fmla="*/ 46090 w 674209"/>
              <a:gd name="connsiteY1" fmla="*/ 935 h 123251"/>
              <a:gd name="connsiteX2" fmla="*/ 579490 w 674209"/>
              <a:gd name="connsiteY2" fmla="*/ 5698 h 123251"/>
              <a:gd name="connsiteX3" fmla="*/ 639022 w 674209"/>
              <a:gd name="connsiteY3" fmla="*/ 43798 h 123251"/>
              <a:gd name="connsiteX4" fmla="*/ 669978 w 674209"/>
              <a:gd name="connsiteY4" fmla="*/ 98567 h 123251"/>
              <a:gd name="connsiteX5" fmla="*/ 605684 w 674209"/>
              <a:gd name="connsiteY5" fmla="*/ 122379 h 123251"/>
              <a:gd name="connsiteX6" fmla="*/ 62759 w 674209"/>
              <a:gd name="connsiteY6" fmla="*/ 119998 h 123251"/>
              <a:gd name="connsiteX7" fmla="*/ 5609 w 674209"/>
              <a:gd name="connsiteY7" fmla="*/ 62848 h 123251"/>
              <a:gd name="connsiteX0" fmla="*/ 5609 w 678762"/>
              <a:gd name="connsiteY0" fmla="*/ 62848 h 123251"/>
              <a:gd name="connsiteX1" fmla="*/ 46090 w 678762"/>
              <a:gd name="connsiteY1" fmla="*/ 935 h 123251"/>
              <a:gd name="connsiteX2" fmla="*/ 579490 w 678762"/>
              <a:gd name="connsiteY2" fmla="*/ 5698 h 123251"/>
              <a:gd name="connsiteX3" fmla="*/ 639022 w 678762"/>
              <a:gd name="connsiteY3" fmla="*/ 43798 h 123251"/>
              <a:gd name="connsiteX4" fmla="*/ 677122 w 678762"/>
              <a:gd name="connsiteY4" fmla="*/ 108092 h 123251"/>
              <a:gd name="connsiteX5" fmla="*/ 605684 w 678762"/>
              <a:gd name="connsiteY5" fmla="*/ 122379 h 123251"/>
              <a:gd name="connsiteX6" fmla="*/ 62759 w 678762"/>
              <a:gd name="connsiteY6" fmla="*/ 119998 h 123251"/>
              <a:gd name="connsiteX7" fmla="*/ 5609 w 678762"/>
              <a:gd name="connsiteY7" fmla="*/ 62848 h 123251"/>
              <a:gd name="connsiteX0" fmla="*/ 8021 w 681174"/>
              <a:gd name="connsiteY0" fmla="*/ 62848 h 123497"/>
              <a:gd name="connsiteX1" fmla="*/ 48502 w 681174"/>
              <a:gd name="connsiteY1" fmla="*/ 935 h 123497"/>
              <a:gd name="connsiteX2" fmla="*/ 581902 w 681174"/>
              <a:gd name="connsiteY2" fmla="*/ 5698 h 123497"/>
              <a:gd name="connsiteX3" fmla="*/ 641434 w 681174"/>
              <a:gd name="connsiteY3" fmla="*/ 43798 h 123497"/>
              <a:gd name="connsiteX4" fmla="*/ 679534 w 681174"/>
              <a:gd name="connsiteY4" fmla="*/ 108092 h 123497"/>
              <a:gd name="connsiteX5" fmla="*/ 608096 w 681174"/>
              <a:gd name="connsiteY5" fmla="*/ 115235 h 123497"/>
              <a:gd name="connsiteX6" fmla="*/ 65171 w 681174"/>
              <a:gd name="connsiteY6" fmla="*/ 119998 h 123497"/>
              <a:gd name="connsiteX7" fmla="*/ 8021 w 681174"/>
              <a:gd name="connsiteY7" fmla="*/ 62848 h 123497"/>
              <a:gd name="connsiteX0" fmla="*/ 5609 w 678762"/>
              <a:gd name="connsiteY0" fmla="*/ 62848 h 120010"/>
              <a:gd name="connsiteX1" fmla="*/ 46090 w 678762"/>
              <a:gd name="connsiteY1" fmla="*/ 935 h 120010"/>
              <a:gd name="connsiteX2" fmla="*/ 579490 w 678762"/>
              <a:gd name="connsiteY2" fmla="*/ 5698 h 120010"/>
              <a:gd name="connsiteX3" fmla="*/ 639022 w 678762"/>
              <a:gd name="connsiteY3" fmla="*/ 43798 h 120010"/>
              <a:gd name="connsiteX4" fmla="*/ 677122 w 678762"/>
              <a:gd name="connsiteY4" fmla="*/ 108092 h 120010"/>
              <a:gd name="connsiteX5" fmla="*/ 605684 w 678762"/>
              <a:gd name="connsiteY5" fmla="*/ 115235 h 120010"/>
              <a:gd name="connsiteX6" fmla="*/ 62759 w 678762"/>
              <a:gd name="connsiteY6" fmla="*/ 119998 h 120010"/>
              <a:gd name="connsiteX7" fmla="*/ 5609 w 678762"/>
              <a:gd name="connsiteY7" fmla="*/ 62848 h 120010"/>
              <a:gd name="connsiteX0" fmla="*/ 5609 w 660547"/>
              <a:gd name="connsiteY0" fmla="*/ 62848 h 122191"/>
              <a:gd name="connsiteX1" fmla="*/ 46090 w 660547"/>
              <a:gd name="connsiteY1" fmla="*/ 935 h 122191"/>
              <a:gd name="connsiteX2" fmla="*/ 579490 w 660547"/>
              <a:gd name="connsiteY2" fmla="*/ 5698 h 122191"/>
              <a:gd name="connsiteX3" fmla="*/ 639022 w 660547"/>
              <a:gd name="connsiteY3" fmla="*/ 43798 h 122191"/>
              <a:gd name="connsiteX4" fmla="*/ 605684 w 660547"/>
              <a:gd name="connsiteY4" fmla="*/ 115235 h 122191"/>
              <a:gd name="connsiteX5" fmla="*/ 62759 w 660547"/>
              <a:gd name="connsiteY5" fmla="*/ 119998 h 122191"/>
              <a:gd name="connsiteX6" fmla="*/ 5609 w 660547"/>
              <a:gd name="connsiteY6" fmla="*/ 62848 h 122191"/>
              <a:gd name="connsiteX0" fmla="*/ 8439 w 668053"/>
              <a:gd name="connsiteY0" fmla="*/ 62848 h 126998"/>
              <a:gd name="connsiteX1" fmla="*/ 48920 w 668053"/>
              <a:gd name="connsiteY1" fmla="*/ 935 h 126998"/>
              <a:gd name="connsiteX2" fmla="*/ 582320 w 668053"/>
              <a:gd name="connsiteY2" fmla="*/ 5698 h 126998"/>
              <a:gd name="connsiteX3" fmla="*/ 641852 w 668053"/>
              <a:gd name="connsiteY3" fmla="*/ 43798 h 126998"/>
              <a:gd name="connsiteX4" fmla="*/ 615658 w 668053"/>
              <a:gd name="connsiteY4" fmla="*/ 117616 h 126998"/>
              <a:gd name="connsiteX5" fmla="*/ 65589 w 668053"/>
              <a:gd name="connsiteY5" fmla="*/ 119998 h 126998"/>
              <a:gd name="connsiteX6" fmla="*/ 8439 w 668053"/>
              <a:gd name="connsiteY6" fmla="*/ 62848 h 126998"/>
              <a:gd name="connsiteX0" fmla="*/ 8439 w 668053"/>
              <a:gd name="connsiteY0" fmla="*/ 62848 h 123259"/>
              <a:gd name="connsiteX1" fmla="*/ 48920 w 668053"/>
              <a:gd name="connsiteY1" fmla="*/ 935 h 123259"/>
              <a:gd name="connsiteX2" fmla="*/ 582320 w 668053"/>
              <a:gd name="connsiteY2" fmla="*/ 5698 h 123259"/>
              <a:gd name="connsiteX3" fmla="*/ 641852 w 668053"/>
              <a:gd name="connsiteY3" fmla="*/ 43798 h 123259"/>
              <a:gd name="connsiteX4" fmla="*/ 615658 w 668053"/>
              <a:gd name="connsiteY4" fmla="*/ 117616 h 123259"/>
              <a:gd name="connsiteX5" fmla="*/ 65589 w 668053"/>
              <a:gd name="connsiteY5" fmla="*/ 119998 h 123259"/>
              <a:gd name="connsiteX6" fmla="*/ 8439 w 668053"/>
              <a:gd name="connsiteY6" fmla="*/ 62848 h 123259"/>
              <a:gd name="connsiteX0" fmla="*/ 8439 w 668053"/>
              <a:gd name="connsiteY0" fmla="*/ 62848 h 123259"/>
              <a:gd name="connsiteX1" fmla="*/ 48920 w 668053"/>
              <a:gd name="connsiteY1" fmla="*/ 935 h 123259"/>
              <a:gd name="connsiteX2" fmla="*/ 582320 w 668053"/>
              <a:gd name="connsiteY2" fmla="*/ 5698 h 123259"/>
              <a:gd name="connsiteX3" fmla="*/ 641852 w 668053"/>
              <a:gd name="connsiteY3" fmla="*/ 43798 h 123259"/>
              <a:gd name="connsiteX4" fmla="*/ 615658 w 668053"/>
              <a:gd name="connsiteY4" fmla="*/ 117616 h 123259"/>
              <a:gd name="connsiteX5" fmla="*/ 65589 w 668053"/>
              <a:gd name="connsiteY5" fmla="*/ 119998 h 123259"/>
              <a:gd name="connsiteX6" fmla="*/ 8439 w 668053"/>
              <a:gd name="connsiteY6" fmla="*/ 62848 h 123259"/>
              <a:gd name="connsiteX0" fmla="*/ 20350 w 672820"/>
              <a:gd name="connsiteY0" fmla="*/ 65988 h 126399"/>
              <a:gd name="connsiteX1" fmla="*/ 53687 w 672820"/>
              <a:gd name="connsiteY1" fmla="*/ 4075 h 126399"/>
              <a:gd name="connsiteX2" fmla="*/ 587087 w 672820"/>
              <a:gd name="connsiteY2" fmla="*/ 8838 h 126399"/>
              <a:gd name="connsiteX3" fmla="*/ 646619 w 672820"/>
              <a:gd name="connsiteY3" fmla="*/ 46938 h 126399"/>
              <a:gd name="connsiteX4" fmla="*/ 620425 w 672820"/>
              <a:gd name="connsiteY4" fmla="*/ 120756 h 126399"/>
              <a:gd name="connsiteX5" fmla="*/ 70356 w 672820"/>
              <a:gd name="connsiteY5" fmla="*/ 123138 h 126399"/>
              <a:gd name="connsiteX6" fmla="*/ 20350 w 672820"/>
              <a:gd name="connsiteY6" fmla="*/ 65988 h 126399"/>
              <a:gd name="connsiteX0" fmla="*/ 20350 w 672820"/>
              <a:gd name="connsiteY0" fmla="*/ 65988 h 124417"/>
              <a:gd name="connsiteX1" fmla="*/ 53687 w 672820"/>
              <a:gd name="connsiteY1" fmla="*/ 4075 h 124417"/>
              <a:gd name="connsiteX2" fmla="*/ 587087 w 672820"/>
              <a:gd name="connsiteY2" fmla="*/ 8838 h 124417"/>
              <a:gd name="connsiteX3" fmla="*/ 646619 w 672820"/>
              <a:gd name="connsiteY3" fmla="*/ 46938 h 124417"/>
              <a:gd name="connsiteX4" fmla="*/ 620425 w 672820"/>
              <a:gd name="connsiteY4" fmla="*/ 120756 h 124417"/>
              <a:gd name="connsiteX5" fmla="*/ 70356 w 672820"/>
              <a:gd name="connsiteY5" fmla="*/ 123138 h 124417"/>
              <a:gd name="connsiteX6" fmla="*/ 20350 w 672820"/>
              <a:gd name="connsiteY6" fmla="*/ 65988 h 124417"/>
              <a:gd name="connsiteX0" fmla="*/ 11774 w 664244"/>
              <a:gd name="connsiteY0" fmla="*/ 61913 h 120342"/>
              <a:gd name="connsiteX1" fmla="*/ 45111 w 664244"/>
              <a:gd name="connsiteY1" fmla="*/ 0 h 120342"/>
              <a:gd name="connsiteX2" fmla="*/ 578511 w 664244"/>
              <a:gd name="connsiteY2" fmla="*/ 4763 h 120342"/>
              <a:gd name="connsiteX3" fmla="*/ 638043 w 664244"/>
              <a:gd name="connsiteY3" fmla="*/ 42863 h 120342"/>
              <a:gd name="connsiteX4" fmla="*/ 611849 w 664244"/>
              <a:gd name="connsiteY4" fmla="*/ 116681 h 120342"/>
              <a:gd name="connsiteX5" fmla="*/ 61780 w 664244"/>
              <a:gd name="connsiteY5" fmla="*/ 119063 h 120342"/>
              <a:gd name="connsiteX6" fmla="*/ 11774 w 664244"/>
              <a:gd name="connsiteY6" fmla="*/ 61913 h 120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4244" h="120342">
                <a:moveTo>
                  <a:pt x="11774" y="61913"/>
                </a:moveTo>
                <a:cubicBezTo>
                  <a:pt x="8996" y="42069"/>
                  <a:pt x="-27914" y="0"/>
                  <a:pt x="45111" y="0"/>
                </a:cubicBezTo>
                <a:lnTo>
                  <a:pt x="578511" y="4763"/>
                </a:lnTo>
                <a:cubicBezTo>
                  <a:pt x="622565" y="9526"/>
                  <a:pt x="632487" y="38498"/>
                  <a:pt x="638043" y="42863"/>
                </a:cubicBezTo>
                <a:cubicBezTo>
                  <a:pt x="643599" y="47228"/>
                  <a:pt x="707893" y="103981"/>
                  <a:pt x="611849" y="116681"/>
                </a:cubicBezTo>
                <a:cubicBezTo>
                  <a:pt x="513424" y="115094"/>
                  <a:pt x="87973" y="123428"/>
                  <a:pt x="61780" y="119063"/>
                </a:cubicBezTo>
                <a:cubicBezTo>
                  <a:pt x="35587" y="114698"/>
                  <a:pt x="14552" y="81757"/>
                  <a:pt x="11774" y="61913"/>
                </a:cubicBezTo>
                <a:close/>
              </a:path>
            </a:pathLst>
          </a:custGeom>
          <a:solidFill>
            <a:srgbClr val="FFC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9049043" y="2559968"/>
            <a:ext cx="156324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000" b="1" dirty="0" smtClean="0">
                <a:latin typeface="Neo Sans Pro" panose="020B0504030504040204" pitchFamily="34" charset="-52"/>
              </a:rPr>
              <a:t>Отделение полиции 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088678" y="2139538"/>
            <a:ext cx="151515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000" b="1" dirty="0" smtClean="0">
                <a:latin typeface="Neo Sans Pro" panose="020B0504030504040204" pitchFamily="34" charset="-52"/>
              </a:rPr>
              <a:t>Офис Организатора</a:t>
            </a:r>
            <a:endParaRPr lang="ru-RU" sz="1000" b="1" dirty="0">
              <a:latin typeface="Neo Sans Pro" panose="020B0504030504040204" pitchFamily="34" charset="-52"/>
            </a:endParaRPr>
          </a:p>
        </p:txBody>
      </p:sp>
      <p:sp>
        <p:nvSpPr>
          <p:cNvPr id="25" name="Параллелограмм 43"/>
          <p:cNvSpPr/>
          <p:nvPr/>
        </p:nvSpPr>
        <p:spPr>
          <a:xfrm>
            <a:off x="2665727" y="4446158"/>
            <a:ext cx="1732954" cy="343371"/>
          </a:xfrm>
          <a:custGeom>
            <a:avLst/>
            <a:gdLst>
              <a:gd name="connsiteX0" fmla="*/ 0 w 1728192"/>
              <a:gd name="connsiteY0" fmla="*/ 360040 h 360040"/>
              <a:gd name="connsiteX1" fmla="*/ 178115 w 1728192"/>
              <a:gd name="connsiteY1" fmla="*/ 0 h 360040"/>
              <a:gd name="connsiteX2" fmla="*/ 1728192 w 1728192"/>
              <a:gd name="connsiteY2" fmla="*/ 0 h 360040"/>
              <a:gd name="connsiteX3" fmla="*/ 1550077 w 1728192"/>
              <a:gd name="connsiteY3" fmla="*/ 360040 h 360040"/>
              <a:gd name="connsiteX4" fmla="*/ 0 w 1728192"/>
              <a:gd name="connsiteY4" fmla="*/ 360040 h 360040"/>
              <a:gd name="connsiteX0" fmla="*/ 0 w 1728192"/>
              <a:gd name="connsiteY0" fmla="*/ 360040 h 360040"/>
              <a:gd name="connsiteX1" fmla="*/ 178115 w 1728192"/>
              <a:gd name="connsiteY1" fmla="*/ 0 h 360040"/>
              <a:gd name="connsiteX2" fmla="*/ 1728192 w 1728192"/>
              <a:gd name="connsiteY2" fmla="*/ 0 h 360040"/>
              <a:gd name="connsiteX3" fmla="*/ 1640565 w 1728192"/>
              <a:gd name="connsiteY3" fmla="*/ 298128 h 360040"/>
              <a:gd name="connsiteX4" fmla="*/ 0 w 1728192"/>
              <a:gd name="connsiteY4" fmla="*/ 360040 h 360040"/>
              <a:gd name="connsiteX0" fmla="*/ 0 w 1718667"/>
              <a:gd name="connsiteY0" fmla="*/ 319559 h 319559"/>
              <a:gd name="connsiteX1" fmla="*/ 168590 w 1718667"/>
              <a:gd name="connsiteY1" fmla="*/ 0 h 319559"/>
              <a:gd name="connsiteX2" fmla="*/ 1718667 w 1718667"/>
              <a:gd name="connsiteY2" fmla="*/ 0 h 319559"/>
              <a:gd name="connsiteX3" fmla="*/ 1631040 w 1718667"/>
              <a:gd name="connsiteY3" fmla="*/ 298128 h 319559"/>
              <a:gd name="connsiteX4" fmla="*/ 0 w 1718667"/>
              <a:gd name="connsiteY4" fmla="*/ 319559 h 319559"/>
              <a:gd name="connsiteX0" fmla="*/ 0 w 1721048"/>
              <a:gd name="connsiteY0" fmla="*/ 307653 h 307653"/>
              <a:gd name="connsiteX1" fmla="*/ 170971 w 1721048"/>
              <a:gd name="connsiteY1" fmla="*/ 0 h 307653"/>
              <a:gd name="connsiteX2" fmla="*/ 1721048 w 1721048"/>
              <a:gd name="connsiteY2" fmla="*/ 0 h 307653"/>
              <a:gd name="connsiteX3" fmla="*/ 1633421 w 1721048"/>
              <a:gd name="connsiteY3" fmla="*/ 298128 h 307653"/>
              <a:gd name="connsiteX4" fmla="*/ 0 w 1721048"/>
              <a:gd name="connsiteY4" fmla="*/ 307653 h 307653"/>
              <a:gd name="connsiteX0" fmla="*/ 0 w 1721048"/>
              <a:gd name="connsiteY0" fmla="*/ 298128 h 298128"/>
              <a:gd name="connsiteX1" fmla="*/ 170971 w 1721048"/>
              <a:gd name="connsiteY1" fmla="*/ 0 h 298128"/>
              <a:gd name="connsiteX2" fmla="*/ 1721048 w 1721048"/>
              <a:gd name="connsiteY2" fmla="*/ 0 h 298128"/>
              <a:gd name="connsiteX3" fmla="*/ 1633421 w 1721048"/>
              <a:gd name="connsiteY3" fmla="*/ 298128 h 298128"/>
              <a:gd name="connsiteX4" fmla="*/ 0 w 1721048"/>
              <a:gd name="connsiteY4" fmla="*/ 298128 h 298128"/>
              <a:gd name="connsiteX0" fmla="*/ 0 w 1725811"/>
              <a:gd name="connsiteY0" fmla="*/ 312415 h 312415"/>
              <a:gd name="connsiteX1" fmla="*/ 175734 w 1725811"/>
              <a:gd name="connsiteY1" fmla="*/ 0 h 312415"/>
              <a:gd name="connsiteX2" fmla="*/ 1725811 w 1725811"/>
              <a:gd name="connsiteY2" fmla="*/ 0 h 312415"/>
              <a:gd name="connsiteX3" fmla="*/ 1638184 w 1725811"/>
              <a:gd name="connsiteY3" fmla="*/ 298128 h 312415"/>
              <a:gd name="connsiteX4" fmla="*/ 0 w 1725811"/>
              <a:gd name="connsiteY4" fmla="*/ 312415 h 312415"/>
              <a:gd name="connsiteX0" fmla="*/ 0 w 1725811"/>
              <a:gd name="connsiteY0" fmla="*/ 312415 h 312416"/>
              <a:gd name="connsiteX1" fmla="*/ 175734 w 1725811"/>
              <a:gd name="connsiteY1" fmla="*/ 0 h 312416"/>
              <a:gd name="connsiteX2" fmla="*/ 1725811 w 1725811"/>
              <a:gd name="connsiteY2" fmla="*/ 0 h 312416"/>
              <a:gd name="connsiteX3" fmla="*/ 1631041 w 1725811"/>
              <a:gd name="connsiteY3" fmla="*/ 312416 h 312416"/>
              <a:gd name="connsiteX4" fmla="*/ 0 w 1725811"/>
              <a:gd name="connsiteY4" fmla="*/ 312415 h 312416"/>
              <a:gd name="connsiteX0" fmla="*/ 0 w 1692473"/>
              <a:gd name="connsiteY0" fmla="*/ 364803 h 364803"/>
              <a:gd name="connsiteX1" fmla="*/ 142396 w 1692473"/>
              <a:gd name="connsiteY1" fmla="*/ 0 h 364803"/>
              <a:gd name="connsiteX2" fmla="*/ 1692473 w 1692473"/>
              <a:gd name="connsiteY2" fmla="*/ 0 h 364803"/>
              <a:gd name="connsiteX3" fmla="*/ 1597703 w 1692473"/>
              <a:gd name="connsiteY3" fmla="*/ 312416 h 364803"/>
              <a:gd name="connsiteX4" fmla="*/ 0 w 1692473"/>
              <a:gd name="connsiteY4" fmla="*/ 364803 h 364803"/>
              <a:gd name="connsiteX0" fmla="*/ 0 w 1692473"/>
              <a:gd name="connsiteY0" fmla="*/ 364803 h 364803"/>
              <a:gd name="connsiteX1" fmla="*/ 142396 w 1692473"/>
              <a:gd name="connsiteY1" fmla="*/ 0 h 364803"/>
              <a:gd name="connsiteX2" fmla="*/ 1692473 w 1692473"/>
              <a:gd name="connsiteY2" fmla="*/ 0 h 364803"/>
              <a:gd name="connsiteX3" fmla="*/ 1638185 w 1692473"/>
              <a:gd name="connsiteY3" fmla="*/ 357660 h 364803"/>
              <a:gd name="connsiteX4" fmla="*/ 0 w 1692473"/>
              <a:gd name="connsiteY4" fmla="*/ 364803 h 364803"/>
              <a:gd name="connsiteX0" fmla="*/ 0 w 1732955"/>
              <a:gd name="connsiteY0" fmla="*/ 364803 h 364803"/>
              <a:gd name="connsiteX1" fmla="*/ 142396 w 1732955"/>
              <a:gd name="connsiteY1" fmla="*/ 0 h 364803"/>
              <a:gd name="connsiteX2" fmla="*/ 1732955 w 1732955"/>
              <a:gd name="connsiteY2" fmla="*/ 7144 h 364803"/>
              <a:gd name="connsiteX3" fmla="*/ 1638185 w 1732955"/>
              <a:gd name="connsiteY3" fmla="*/ 357660 h 364803"/>
              <a:gd name="connsiteX4" fmla="*/ 0 w 1732955"/>
              <a:gd name="connsiteY4" fmla="*/ 364803 h 364803"/>
              <a:gd name="connsiteX0" fmla="*/ 0 w 1732955"/>
              <a:gd name="connsiteY0" fmla="*/ 357659 h 357659"/>
              <a:gd name="connsiteX1" fmla="*/ 144778 w 1732955"/>
              <a:gd name="connsiteY1" fmla="*/ 23812 h 357659"/>
              <a:gd name="connsiteX2" fmla="*/ 1732955 w 1732955"/>
              <a:gd name="connsiteY2" fmla="*/ 0 h 357659"/>
              <a:gd name="connsiteX3" fmla="*/ 1638185 w 1732955"/>
              <a:gd name="connsiteY3" fmla="*/ 350516 h 357659"/>
              <a:gd name="connsiteX4" fmla="*/ 0 w 1732955"/>
              <a:gd name="connsiteY4" fmla="*/ 357659 h 357659"/>
              <a:gd name="connsiteX0" fmla="*/ 0 w 1732955"/>
              <a:gd name="connsiteY0" fmla="*/ 357659 h 357659"/>
              <a:gd name="connsiteX1" fmla="*/ 159066 w 1732955"/>
              <a:gd name="connsiteY1" fmla="*/ 92869 h 357659"/>
              <a:gd name="connsiteX2" fmla="*/ 1732955 w 1732955"/>
              <a:gd name="connsiteY2" fmla="*/ 0 h 357659"/>
              <a:gd name="connsiteX3" fmla="*/ 1638185 w 1732955"/>
              <a:gd name="connsiteY3" fmla="*/ 350516 h 357659"/>
              <a:gd name="connsiteX4" fmla="*/ 0 w 1732955"/>
              <a:gd name="connsiteY4" fmla="*/ 357659 h 357659"/>
              <a:gd name="connsiteX0" fmla="*/ 0 w 1732955"/>
              <a:gd name="connsiteY0" fmla="*/ 357659 h 357659"/>
              <a:gd name="connsiteX1" fmla="*/ 178116 w 1732955"/>
              <a:gd name="connsiteY1" fmla="*/ 16669 h 357659"/>
              <a:gd name="connsiteX2" fmla="*/ 1732955 w 1732955"/>
              <a:gd name="connsiteY2" fmla="*/ 0 h 357659"/>
              <a:gd name="connsiteX3" fmla="*/ 1638185 w 1732955"/>
              <a:gd name="connsiteY3" fmla="*/ 350516 h 357659"/>
              <a:gd name="connsiteX4" fmla="*/ 0 w 1732955"/>
              <a:gd name="connsiteY4" fmla="*/ 357659 h 357659"/>
              <a:gd name="connsiteX0" fmla="*/ 0 w 1682948"/>
              <a:gd name="connsiteY0" fmla="*/ 340990 h 340990"/>
              <a:gd name="connsiteX1" fmla="*/ 178116 w 1682948"/>
              <a:gd name="connsiteY1" fmla="*/ 0 h 340990"/>
              <a:gd name="connsiteX2" fmla="*/ 1682948 w 1682948"/>
              <a:gd name="connsiteY2" fmla="*/ 52388 h 340990"/>
              <a:gd name="connsiteX3" fmla="*/ 1638185 w 1682948"/>
              <a:gd name="connsiteY3" fmla="*/ 333847 h 340990"/>
              <a:gd name="connsiteX4" fmla="*/ 0 w 1682948"/>
              <a:gd name="connsiteY4" fmla="*/ 340990 h 340990"/>
              <a:gd name="connsiteX0" fmla="*/ 0 w 1732954"/>
              <a:gd name="connsiteY0" fmla="*/ 343371 h 343371"/>
              <a:gd name="connsiteX1" fmla="*/ 178116 w 1732954"/>
              <a:gd name="connsiteY1" fmla="*/ 2381 h 343371"/>
              <a:gd name="connsiteX2" fmla="*/ 1732954 w 1732954"/>
              <a:gd name="connsiteY2" fmla="*/ 0 h 343371"/>
              <a:gd name="connsiteX3" fmla="*/ 1638185 w 1732954"/>
              <a:gd name="connsiteY3" fmla="*/ 336228 h 343371"/>
              <a:gd name="connsiteX4" fmla="*/ 0 w 1732954"/>
              <a:gd name="connsiteY4" fmla="*/ 343371 h 343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32954" h="343371">
                <a:moveTo>
                  <a:pt x="0" y="343371"/>
                </a:moveTo>
                <a:lnTo>
                  <a:pt x="178116" y="2381"/>
                </a:lnTo>
                <a:lnTo>
                  <a:pt x="1732954" y="0"/>
                </a:lnTo>
                <a:lnTo>
                  <a:pt x="1638185" y="336228"/>
                </a:lnTo>
                <a:lnTo>
                  <a:pt x="0" y="343371"/>
                </a:lnTo>
                <a:close/>
              </a:path>
            </a:pathLst>
          </a:cu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latin typeface="Neo Sans Pro" panose="020B0504030504040204" pitchFamily="34" charset="-52"/>
              </a:rPr>
              <a:t>8</a:t>
            </a:r>
            <a:r>
              <a:rPr lang="en-US" sz="1000" b="1" dirty="0" smtClean="0">
                <a:latin typeface="Neo Sans Pro" panose="020B0504030504040204" pitchFamily="34" charset="-52"/>
              </a:rPr>
              <a:t>4</a:t>
            </a:r>
            <a:r>
              <a:rPr lang="ru-RU" sz="1000" b="1" dirty="0" smtClean="0">
                <a:latin typeface="Neo Sans Pro" panose="020B0504030504040204" pitchFamily="34" charset="-52"/>
              </a:rPr>
              <a:t>6</a:t>
            </a:r>
            <a:r>
              <a:rPr lang="en-US" sz="1000" b="1" dirty="0" smtClean="0">
                <a:latin typeface="Neo Sans Pro" panose="020B0504030504040204" pitchFamily="34" charset="-52"/>
              </a:rPr>
              <a:t> </a:t>
            </a:r>
            <a:r>
              <a:rPr lang="ru-RU" sz="1000" b="1" dirty="0" smtClean="0">
                <a:latin typeface="Neo Sans Pro" panose="020B0504030504040204" pitchFamily="34" charset="-52"/>
              </a:rPr>
              <a:t>машин</a:t>
            </a:r>
            <a:endParaRPr lang="ru-RU" sz="1000" b="1" dirty="0">
              <a:latin typeface="Neo Sans Pro" panose="020B0504030504040204" pitchFamily="34" charset="-52"/>
            </a:endParaRPr>
          </a:p>
        </p:txBody>
      </p:sp>
      <p:sp>
        <p:nvSpPr>
          <p:cNvPr id="26" name="Параллелограмм 44"/>
          <p:cNvSpPr/>
          <p:nvPr/>
        </p:nvSpPr>
        <p:spPr>
          <a:xfrm>
            <a:off x="4545104" y="4439021"/>
            <a:ext cx="1565751" cy="340305"/>
          </a:xfrm>
          <a:custGeom>
            <a:avLst/>
            <a:gdLst>
              <a:gd name="connsiteX0" fmla="*/ 0 w 1541939"/>
              <a:gd name="connsiteY0" fmla="*/ 354593 h 354593"/>
              <a:gd name="connsiteX1" fmla="*/ 88648 w 1541939"/>
              <a:gd name="connsiteY1" fmla="*/ 0 h 354593"/>
              <a:gd name="connsiteX2" fmla="*/ 1541939 w 1541939"/>
              <a:gd name="connsiteY2" fmla="*/ 0 h 354593"/>
              <a:gd name="connsiteX3" fmla="*/ 1453291 w 1541939"/>
              <a:gd name="connsiteY3" fmla="*/ 354593 h 354593"/>
              <a:gd name="connsiteX4" fmla="*/ 0 w 1541939"/>
              <a:gd name="connsiteY4" fmla="*/ 354593 h 354593"/>
              <a:gd name="connsiteX0" fmla="*/ 0 w 1541939"/>
              <a:gd name="connsiteY0" fmla="*/ 354593 h 354593"/>
              <a:gd name="connsiteX1" fmla="*/ 88648 w 1541939"/>
              <a:gd name="connsiteY1" fmla="*/ 0 h 354593"/>
              <a:gd name="connsiteX2" fmla="*/ 1541939 w 1541939"/>
              <a:gd name="connsiteY2" fmla="*/ 0 h 354593"/>
              <a:gd name="connsiteX3" fmla="*/ 1512822 w 1541939"/>
              <a:gd name="connsiteY3" fmla="*/ 354593 h 354593"/>
              <a:gd name="connsiteX4" fmla="*/ 0 w 1541939"/>
              <a:gd name="connsiteY4" fmla="*/ 354593 h 354593"/>
              <a:gd name="connsiteX0" fmla="*/ 0 w 1525270"/>
              <a:gd name="connsiteY0" fmla="*/ 354593 h 354593"/>
              <a:gd name="connsiteX1" fmla="*/ 88648 w 1525270"/>
              <a:gd name="connsiteY1" fmla="*/ 0 h 354593"/>
              <a:gd name="connsiteX2" fmla="*/ 1525270 w 1525270"/>
              <a:gd name="connsiteY2" fmla="*/ 14287 h 354593"/>
              <a:gd name="connsiteX3" fmla="*/ 1512822 w 1525270"/>
              <a:gd name="connsiteY3" fmla="*/ 354593 h 354593"/>
              <a:gd name="connsiteX4" fmla="*/ 0 w 1525270"/>
              <a:gd name="connsiteY4" fmla="*/ 354593 h 354593"/>
              <a:gd name="connsiteX0" fmla="*/ 0 w 1525270"/>
              <a:gd name="connsiteY0" fmla="*/ 340306 h 340306"/>
              <a:gd name="connsiteX1" fmla="*/ 79123 w 1525270"/>
              <a:gd name="connsiteY1" fmla="*/ 19051 h 340306"/>
              <a:gd name="connsiteX2" fmla="*/ 1525270 w 1525270"/>
              <a:gd name="connsiteY2" fmla="*/ 0 h 340306"/>
              <a:gd name="connsiteX3" fmla="*/ 1512822 w 1525270"/>
              <a:gd name="connsiteY3" fmla="*/ 340306 h 340306"/>
              <a:gd name="connsiteX4" fmla="*/ 0 w 1525270"/>
              <a:gd name="connsiteY4" fmla="*/ 340306 h 340306"/>
              <a:gd name="connsiteX0" fmla="*/ 0 w 1522889"/>
              <a:gd name="connsiteY0" fmla="*/ 330781 h 330781"/>
              <a:gd name="connsiteX1" fmla="*/ 79123 w 1522889"/>
              <a:gd name="connsiteY1" fmla="*/ 9526 h 330781"/>
              <a:gd name="connsiteX2" fmla="*/ 1522889 w 1522889"/>
              <a:gd name="connsiteY2" fmla="*/ 0 h 330781"/>
              <a:gd name="connsiteX3" fmla="*/ 1512822 w 1522889"/>
              <a:gd name="connsiteY3" fmla="*/ 330781 h 330781"/>
              <a:gd name="connsiteX4" fmla="*/ 0 w 1522889"/>
              <a:gd name="connsiteY4" fmla="*/ 330781 h 330781"/>
              <a:gd name="connsiteX0" fmla="*/ 0 w 1515745"/>
              <a:gd name="connsiteY0" fmla="*/ 330781 h 330781"/>
              <a:gd name="connsiteX1" fmla="*/ 71979 w 1515745"/>
              <a:gd name="connsiteY1" fmla="*/ 9526 h 330781"/>
              <a:gd name="connsiteX2" fmla="*/ 1515745 w 1515745"/>
              <a:gd name="connsiteY2" fmla="*/ 0 h 330781"/>
              <a:gd name="connsiteX3" fmla="*/ 1505678 w 1515745"/>
              <a:gd name="connsiteY3" fmla="*/ 330781 h 330781"/>
              <a:gd name="connsiteX4" fmla="*/ 0 w 1515745"/>
              <a:gd name="connsiteY4" fmla="*/ 330781 h 330781"/>
              <a:gd name="connsiteX0" fmla="*/ 0 w 1549083"/>
              <a:gd name="connsiteY0" fmla="*/ 373644 h 373644"/>
              <a:gd name="connsiteX1" fmla="*/ 105317 w 1549083"/>
              <a:gd name="connsiteY1" fmla="*/ 9526 h 373644"/>
              <a:gd name="connsiteX2" fmla="*/ 1549083 w 1549083"/>
              <a:gd name="connsiteY2" fmla="*/ 0 h 373644"/>
              <a:gd name="connsiteX3" fmla="*/ 1539016 w 1549083"/>
              <a:gd name="connsiteY3" fmla="*/ 330781 h 373644"/>
              <a:gd name="connsiteX4" fmla="*/ 0 w 1549083"/>
              <a:gd name="connsiteY4" fmla="*/ 373644 h 373644"/>
              <a:gd name="connsiteX0" fmla="*/ 0 w 1549083"/>
              <a:gd name="connsiteY0" fmla="*/ 373644 h 373644"/>
              <a:gd name="connsiteX1" fmla="*/ 98173 w 1549083"/>
              <a:gd name="connsiteY1" fmla="*/ 38101 h 373644"/>
              <a:gd name="connsiteX2" fmla="*/ 1549083 w 1549083"/>
              <a:gd name="connsiteY2" fmla="*/ 0 h 373644"/>
              <a:gd name="connsiteX3" fmla="*/ 1539016 w 1549083"/>
              <a:gd name="connsiteY3" fmla="*/ 330781 h 373644"/>
              <a:gd name="connsiteX4" fmla="*/ 0 w 1549083"/>
              <a:gd name="connsiteY4" fmla="*/ 373644 h 373644"/>
              <a:gd name="connsiteX0" fmla="*/ 0 w 1565751"/>
              <a:gd name="connsiteY0" fmla="*/ 337925 h 337925"/>
              <a:gd name="connsiteX1" fmla="*/ 98173 w 1565751"/>
              <a:gd name="connsiteY1" fmla="*/ 2382 h 337925"/>
              <a:gd name="connsiteX2" fmla="*/ 1565751 w 1565751"/>
              <a:gd name="connsiteY2" fmla="*/ 0 h 337925"/>
              <a:gd name="connsiteX3" fmla="*/ 1539016 w 1565751"/>
              <a:gd name="connsiteY3" fmla="*/ 295062 h 337925"/>
              <a:gd name="connsiteX4" fmla="*/ 0 w 1565751"/>
              <a:gd name="connsiteY4" fmla="*/ 337925 h 337925"/>
              <a:gd name="connsiteX0" fmla="*/ 0 w 1565751"/>
              <a:gd name="connsiteY0" fmla="*/ 337925 h 340305"/>
              <a:gd name="connsiteX1" fmla="*/ 98173 w 1565751"/>
              <a:gd name="connsiteY1" fmla="*/ 2382 h 340305"/>
              <a:gd name="connsiteX2" fmla="*/ 1565751 w 1565751"/>
              <a:gd name="connsiteY2" fmla="*/ 0 h 340305"/>
              <a:gd name="connsiteX3" fmla="*/ 1558066 w 1565751"/>
              <a:gd name="connsiteY3" fmla="*/ 340305 h 340305"/>
              <a:gd name="connsiteX4" fmla="*/ 0 w 1565751"/>
              <a:gd name="connsiteY4" fmla="*/ 337925 h 3403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65751" h="340305">
                <a:moveTo>
                  <a:pt x="0" y="337925"/>
                </a:moveTo>
                <a:lnTo>
                  <a:pt x="98173" y="2382"/>
                </a:lnTo>
                <a:lnTo>
                  <a:pt x="1565751" y="0"/>
                </a:lnTo>
                <a:lnTo>
                  <a:pt x="1558066" y="340305"/>
                </a:lnTo>
                <a:lnTo>
                  <a:pt x="0" y="337925"/>
                </a:lnTo>
                <a:close/>
              </a:path>
            </a:pathLst>
          </a:cu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 dirty="0" smtClean="0">
              <a:latin typeface="Neo Sans Pro" panose="020B0504030504040204" pitchFamily="34" charset="-52"/>
            </a:endParaRPr>
          </a:p>
          <a:p>
            <a:pPr algn="ctr"/>
            <a:endParaRPr lang="ru-RU" sz="1200" b="1" dirty="0" smtClean="0">
              <a:latin typeface="Neo Sans Pro" panose="020B0504030504040204" pitchFamily="34" charset="-52"/>
            </a:endParaRPr>
          </a:p>
          <a:p>
            <a:pPr algn="ctr"/>
            <a:endParaRPr lang="ru-RU" b="1" dirty="0">
              <a:latin typeface="Neo Sans Pro" panose="020B0504030504040204" pitchFamily="34" charset="-52"/>
            </a:endParaRPr>
          </a:p>
        </p:txBody>
      </p:sp>
      <p:sp>
        <p:nvSpPr>
          <p:cNvPr id="27" name="Параллелограмм 45"/>
          <p:cNvSpPr/>
          <p:nvPr/>
        </p:nvSpPr>
        <p:spPr>
          <a:xfrm>
            <a:off x="7388165" y="4373533"/>
            <a:ext cx="700793" cy="430854"/>
          </a:xfrm>
          <a:custGeom>
            <a:avLst/>
            <a:gdLst>
              <a:gd name="connsiteX0" fmla="*/ 0 w 664244"/>
              <a:gd name="connsiteY0" fmla="*/ 384424 h 384424"/>
              <a:gd name="connsiteX1" fmla="*/ 96106 w 664244"/>
              <a:gd name="connsiteY1" fmla="*/ 0 h 384424"/>
              <a:gd name="connsiteX2" fmla="*/ 664244 w 664244"/>
              <a:gd name="connsiteY2" fmla="*/ 0 h 384424"/>
              <a:gd name="connsiteX3" fmla="*/ 568138 w 664244"/>
              <a:gd name="connsiteY3" fmla="*/ 384424 h 384424"/>
              <a:gd name="connsiteX4" fmla="*/ 0 w 664244"/>
              <a:gd name="connsiteY4" fmla="*/ 384424 h 384424"/>
              <a:gd name="connsiteX0" fmla="*/ 22956 w 687200"/>
              <a:gd name="connsiteY0" fmla="*/ 398711 h 398711"/>
              <a:gd name="connsiteX1" fmla="*/ 0 w 687200"/>
              <a:gd name="connsiteY1" fmla="*/ 0 h 398711"/>
              <a:gd name="connsiteX2" fmla="*/ 687200 w 687200"/>
              <a:gd name="connsiteY2" fmla="*/ 14287 h 398711"/>
              <a:gd name="connsiteX3" fmla="*/ 591094 w 687200"/>
              <a:gd name="connsiteY3" fmla="*/ 398711 h 398711"/>
              <a:gd name="connsiteX4" fmla="*/ 22956 w 687200"/>
              <a:gd name="connsiteY4" fmla="*/ 398711 h 398711"/>
              <a:gd name="connsiteX0" fmla="*/ 108681 w 687200"/>
              <a:gd name="connsiteY0" fmla="*/ 422523 h 422523"/>
              <a:gd name="connsiteX1" fmla="*/ 0 w 687200"/>
              <a:gd name="connsiteY1" fmla="*/ 0 h 422523"/>
              <a:gd name="connsiteX2" fmla="*/ 687200 w 687200"/>
              <a:gd name="connsiteY2" fmla="*/ 14287 h 422523"/>
              <a:gd name="connsiteX3" fmla="*/ 591094 w 687200"/>
              <a:gd name="connsiteY3" fmla="*/ 398711 h 422523"/>
              <a:gd name="connsiteX4" fmla="*/ 108681 w 687200"/>
              <a:gd name="connsiteY4" fmla="*/ 422523 h 422523"/>
              <a:gd name="connsiteX0" fmla="*/ 70581 w 687200"/>
              <a:gd name="connsiteY0" fmla="*/ 420141 h 420141"/>
              <a:gd name="connsiteX1" fmla="*/ 0 w 687200"/>
              <a:gd name="connsiteY1" fmla="*/ 0 h 420141"/>
              <a:gd name="connsiteX2" fmla="*/ 687200 w 687200"/>
              <a:gd name="connsiteY2" fmla="*/ 14287 h 420141"/>
              <a:gd name="connsiteX3" fmla="*/ 591094 w 687200"/>
              <a:gd name="connsiteY3" fmla="*/ 398711 h 420141"/>
              <a:gd name="connsiteX4" fmla="*/ 70581 w 687200"/>
              <a:gd name="connsiteY4" fmla="*/ 420141 h 420141"/>
              <a:gd name="connsiteX0" fmla="*/ 92012 w 708631"/>
              <a:gd name="connsiteY0" fmla="*/ 412997 h 412997"/>
              <a:gd name="connsiteX1" fmla="*/ 0 w 708631"/>
              <a:gd name="connsiteY1" fmla="*/ 0 h 412997"/>
              <a:gd name="connsiteX2" fmla="*/ 708631 w 708631"/>
              <a:gd name="connsiteY2" fmla="*/ 7143 h 412997"/>
              <a:gd name="connsiteX3" fmla="*/ 612525 w 708631"/>
              <a:gd name="connsiteY3" fmla="*/ 391567 h 412997"/>
              <a:gd name="connsiteX4" fmla="*/ 92012 w 708631"/>
              <a:gd name="connsiteY4" fmla="*/ 412997 h 412997"/>
              <a:gd name="connsiteX0" fmla="*/ 92012 w 612525"/>
              <a:gd name="connsiteY0" fmla="*/ 434429 h 434429"/>
              <a:gd name="connsiteX1" fmla="*/ 0 w 612525"/>
              <a:gd name="connsiteY1" fmla="*/ 21432 h 434429"/>
              <a:gd name="connsiteX2" fmla="*/ 518131 w 612525"/>
              <a:gd name="connsiteY2" fmla="*/ 0 h 434429"/>
              <a:gd name="connsiteX3" fmla="*/ 612525 w 612525"/>
              <a:gd name="connsiteY3" fmla="*/ 412999 h 434429"/>
              <a:gd name="connsiteX4" fmla="*/ 92012 w 612525"/>
              <a:gd name="connsiteY4" fmla="*/ 434429 h 434429"/>
              <a:gd name="connsiteX0" fmla="*/ 92012 w 612525"/>
              <a:gd name="connsiteY0" fmla="*/ 422522 h 422522"/>
              <a:gd name="connsiteX1" fmla="*/ 0 w 612525"/>
              <a:gd name="connsiteY1" fmla="*/ 9525 h 422522"/>
              <a:gd name="connsiteX2" fmla="*/ 560993 w 612525"/>
              <a:gd name="connsiteY2" fmla="*/ 0 h 422522"/>
              <a:gd name="connsiteX3" fmla="*/ 612525 w 612525"/>
              <a:gd name="connsiteY3" fmla="*/ 401092 h 422522"/>
              <a:gd name="connsiteX4" fmla="*/ 92012 w 612525"/>
              <a:gd name="connsiteY4" fmla="*/ 422522 h 422522"/>
              <a:gd name="connsiteX0" fmla="*/ 92012 w 707775"/>
              <a:gd name="connsiteY0" fmla="*/ 422522 h 429667"/>
              <a:gd name="connsiteX1" fmla="*/ 0 w 707775"/>
              <a:gd name="connsiteY1" fmla="*/ 9525 h 429667"/>
              <a:gd name="connsiteX2" fmla="*/ 560993 w 707775"/>
              <a:gd name="connsiteY2" fmla="*/ 0 h 429667"/>
              <a:gd name="connsiteX3" fmla="*/ 707775 w 707775"/>
              <a:gd name="connsiteY3" fmla="*/ 429667 h 429667"/>
              <a:gd name="connsiteX4" fmla="*/ 92012 w 707775"/>
              <a:gd name="connsiteY4" fmla="*/ 422522 h 429667"/>
              <a:gd name="connsiteX0" fmla="*/ 84868 w 700631"/>
              <a:gd name="connsiteY0" fmla="*/ 434428 h 441573"/>
              <a:gd name="connsiteX1" fmla="*/ 0 w 700631"/>
              <a:gd name="connsiteY1" fmla="*/ 0 h 441573"/>
              <a:gd name="connsiteX2" fmla="*/ 553849 w 700631"/>
              <a:gd name="connsiteY2" fmla="*/ 11906 h 441573"/>
              <a:gd name="connsiteX3" fmla="*/ 700631 w 700631"/>
              <a:gd name="connsiteY3" fmla="*/ 441573 h 441573"/>
              <a:gd name="connsiteX4" fmla="*/ 84868 w 700631"/>
              <a:gd name="connsiteY4" fmla="*/ 434428 h 441573"/>
              <a:gd name="connsiteX0" fmla="*/ 84868 w 700631"/>
              <a:gd name="connsiteY0" fmla="*/ 434428 h 441573"/>
              <a:gd name="connsiteX1" fmla="*/ 0 w 700631"/>
              <a:gd name="connsiteY1" fmla="*/ 0 h 441573"/>
              <a:gd name="connsiteX2" fmla="*/ 544324 w 700631"/>
              <a:gd name="connsiteY2" fmla="*/ 0 h 441573"/>
              <a:gd name="connsiteX3" fmla="*/ 700631 w 700631"/>
              <a:gd name="connsiteY3" fmla="*/ 441573 h 441573"/>
              <a:gd name="connsiteX4" fmla="*/ 84868 w 700631"/>
              <a:gd name="connsiteY4" fmla="*/ 434428 h 441573"/>
              <a:gd name="connsiteX0" fmla="*/ 84868 w 674437"/>
              <a:gd name="connsiteY0" fmla="*/ 434428 h 434428"/>
              <a:gd name="connsiteX1" fmla="*/ 0 w 674437"/>
              <a:gd name="connsiteY1" fmla="*/ 0 h 434428"/>
              <a:gd name="connsiteX2" fmla="*/ 544324 w 674437"/>
              <a:gd name="connsiteY2" fmla="*/ 0 h 434428"/>
              <a:gd name="connsiteX3" fmla="*/ 674437 w 674437"/>
              <a:gd name="connsiteY3" fmla="*/ 427286 h 434428"/>
              <a:gd name="connsiteX4" fmla="*/ 84868 w 674437"/>
              <a:gd name="connsiteY4" fmla="*/ 434428 h 434428"/>
              <a:gd name="connsiteX0" fmla="*/ 84868 w 681581"/>
              <a:gd name="connsiteY0" fmla="*/ 434428 h 434428"/>
              <a:gd name="connsiteX1" fmla="*/ 0 w 681581"/>
              <a:gd name="connsiteY1" fmla="*/ 0 h 434428"/>
              <a:gd name="connsiteX2" fmla="*/ 544324 w 681581"/>
              <a:gd name="connsiteY2" fmla="*/ 0 h 434428"/>
              <a:gd name="connsiteX3" fmla="*/ 681581 w 681581"/>
              <a:gd name="connsiteY3" fmla="*/ 432049 h 434428"/>
              <a:gd name="connsiteX4" fmla="*/ 84868 w 681581"/>
              <a:gd name="connsiteY4" fmla="*/ 434428 h 434428"/>
              <a:gd name="connsiteX0" fmla="*/ 103716 w 700429"/>
              <a:gd name="connsiteY0" fmla="*/ 434428 h 434428"/>
              <a:gd name="connsiteX1" fmla="*/ 0 w 700429"/>
              <a:gd name="connsiteY1" fmla="*/ 2513 h 434428"/>
              <a:gd name="connsiteX2" fmla="*/ 563172 w 700429"/>
              <a:gd name="connsiteY2" fmla="*/ 0 h 434428"/>
              <a:gd name="connsiteX3" fmla="*/ 700429 w 700429"/>
              <a:gd name="connsiteY3" fmla="*/ 432049 h 434428"/>
              <a:gd name="connsiteX4" fmla="*/ 103716 w 700429"/>
              <a:gd name="connsiteY4" fmla="*/ 434428 h 434428"/>
              <a:gd name="connsiteX0" fmla="*/ 87224 w 700429"/>
              <a:gd name="connsiteY0" fmla="*/ 446992 h 446992"/>
              <a:gd name="connsiteX1" fmla="*/ 0 w 700429"/>
              <a:gd name="connsiteY1" fmla="*/ 2513 h 446992"/>
              <a:gd name="connsiteX2" fmla="*/ 563172 w 700429"/>
              <a:gd name="connsiteY2" fmla="*/ 0 h 446992"/>
              <a:gd name="connsiteX3" fmla="*/ 700429 w 700429"/>
              <a:gd name="connsiteY3" fmla="*/ 432049 h 446992"/>
              <a:gd name="connsiteX4" fmla="*/ 87224 w 700429"/>
              <a:gd name="connsiteY4" fmla="*/ 446992 h 446992"/>
              <a:gd name="connsiteX0" fmla="*/ 87224 w 693362"/>
              <a:gd name="connsiteY0" fmla="*/ 446992 h 457178"/>
              <a:gd name="connsiteX1" fmla="*/ 0 w 693362"/>
              <a:gd name="connsiteY1" fmla="*/ 2513 h 457178"/>
              <a:gd name="connsiteX2" fmla="*/ 563172 w 693362"/>
              <a:gd name="connsiteY2" fmla="*/ 0 h 457178"/>
              <a:gd name="connsiteX3" fmla="*/ 693362 w 693362"/>
              <a:gd name="connsiteY3" fmla="*/ 457178 h 457178"/>
              <a:gd name="connsiteX4" fmla="*/ 87224 w 693362"/>
              <a:gd name="connsiteY4" fmla="*/ 446992 h 457178"/>
              <a:gd name="connsiteX0" fmla="*/ 87224 w 693362"/>
              <a:gd name="connsiteY0" fmla="*/ 444479 h 454665"/>
              <a:gd name="connsiteX1" fmla="*/ 0 w 693362"/>
              <a:gd name="connsiteY1" fmla="*/ 0 h 454665"/>
              <a:gd name="connsiteX2" fmla="*/ 563172 w 693362"/>
              <a:gd name="connsiteY2" fmla="*/ 10051 h 454665"/>
              <a:gd name="connsiteX3" fmla="*/ 693362 w 693362"/>
              <a:gd name="connsiteY3" fmla="*/ 454665 h 454665"/>
              <a:gd name="connsiteX4" fmla="*/ 87224 w 693362"/>
              <a:gd name="connsiteY4" fmla="*/ 444479 h 454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3362" h="454665">
                <a:moveTo>
                  <a:pt x="87224" y="444479"/>
                </a:moveTo>
                <a:lnTo>
                  <a:pt x="0" y="0"/>
                </a:lnTo>
                <a:lnTo>
                  <a:pt x="563172" y="10051"/>
                </a:lnTo>
                <a:lnTo>
                  <a:pt x="693362" y="454665"/>
                </a:lnTo>
                <a:lnTo>
                  <a:pt x="87224" y="444479"/>
                </a:lnTo>
                <a:close/>
              </a:path>
            </a:pathLst>
          </a:custGeom>
          <a:solidFill>
            <a:schemeClr val="bg1">
              <a:lumMod val="50000"/>
              <a:alpha val="60000"/>
            </a:schemeClr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sp>
        <p:nvSpPr>
          <p:cNvPr id="28" name="Параллелограмм 45"/>
          <p:cNvSpPr/>
          <p:nvPr/>
        </p:nvSpPr>
        <p:spPr>
          <a:xfrm>
            <a:off x="6342028" y="4372801"/>
            <a:ext cx="561131" cy="419109"/>
          </a:xfrm>
          <a:custGeom>
            <a:avLst/>
            <a:gdLst>
              <a:gd name="connsiteX0" fmla="*/ 0 w 664244"/>
              <a:gd name="connsiteY0" fmla="*/ 384424 h 384424"/>
              <a:gd name="connsiteX1" fmla="*/ 96106 w 664244"/>
              <a:gd name="connsiteY1" fmla="*/ 0 h 384424"/>
              <a:gd name="connsiteX2" fmla="*/ 664244 w 664244"/>
              <a:gd name="connsiteY2" fmla="*/ 0 h 384424"/>
              <a:gd name="connsiteX3" fmla="*/ 568138 w 664244"/>
              <a:gd name="connsiteY3" fmla="*/ 384424 h 384424"/>
              <a:gd name="connsiteX4" fmla="*/ 0 w 664244"/>
              <a:gd name="connsiteY4" fmla="*/ 384424 h 384424"/>
              <a:gd name="connsiteX0" fmla="*/ 22956 w 687200"/>
              <a:gd name="connsiteY0" fmla="*/ 398711 h 398711"/>
              <a:gd name="connsiteX1" fmla="*/ 0 w 687200"/>
              <a:gd name="connsiteY1" fmla="*/ 0 h 398711"/>
              <a:gd name="connsiteX2" fmla="*/ 687200 w 687200"/>
              <a:gd name="connsiteY2" fmla="*/ 14287 h 398711"/>
              <a:gd name="connsiteX3" fmla="*/ 591094 w 687200"/>
              <a:gd name="connsiteY3" fmla="*/ 398711 h 398711"/>
              <a:gd name="connsiteX4" fmla="*/ 22956 w 687200"/>
              <a:gd name="connsiteY4" fmla="*/ 398711 h 398711"/>
              <a:gd name="connsiteX0" fmla="*/ 108681 w 687200"/>
              <a:gd name="connsiteY0" fmla="*/ 422523 h 422523"/>
              <a:gd name="connsiteX1" fmla="*/ 0 w 687200"/>
              <a:gd name="connsiteY1" fmla="*/ 0 h 422523"/>
              <a:gd name="connsiteX2" fmla="*/ 687200 w 687200"/>
              <a:gd name="connsiteY2" fmla="*/ 14287 h 422523"/>
              <a:gd name="connsiteX3" fmla="*/ 591094 w 687200"/>
              <a:gd name="connsiteY3" fmla="*/ 398711 h 422523"/>
              <a:gd name="connsiteX4" fmla="*/ 108681 w 687200"/>
              <a:gd name="connsiteY4" fmla="*/ 422523 h 422523"/>
              <a:gd name="connsiteX0" fmla="*/ 70581 w 687200"/>
              <a:gd name="connsiteY0" fmla="*/ 420141 h 420141"/>
              <a:gd name="connsiteX1" fmla="*/ 0 w 687200"/>
              <a:gd name="connsiteY1" fmla="*/ 0 h 420141"/>
              <a:gd name="connsiteX2" fmla="*/ 687200 w 687200"/>
              <a:gd name="connsiteY2" fmla="*/ 14287 h 420141"/>
              <a:gd name="connsiteX3" fmla="*/ 591094 w 687200"/>
              <a:gd name="connsiteY3" fmla="*/ 398711 h 420141"/>
              <a:gd name="connsiteX4" fmla="*/ 70581 w 687200"/>
              <a:gd name="connsiteY4" fmla="*/ 420141 h 420141"/>
              <a:gd name="connsiteX0" fmla="*/ 92012 w 708631"/>
              <a:gd name="connsiteY0" fmla="*/ 412997 h 412997"/>
              <a:gd name="connsiteX1" fmla="*/ 0 w 708631"/>
              <a:gd name="connsiteY1" fmla="*/ 0 h 412997"/>
              <a:gd name="connsiteX2" fmla="*/ 708631 w 708631"/>
              <a:gd name="connsiteY2" fmla="*/ 7143 h 412997"/>
              <a:gd name="connsiteX3" fmla="*/ 612525 w 708631"/>
              <a:gd name="connsiteY3" fmla="*/ 391567 h 412997"/>
              <a:gd name="connsiteX4" fmla="*/ 92012 w 708631"/>
              <a:gd name="connsiteY4" fmla="*/ 412997 h 412997"/>
              <a:gd name="connsiteX0" fmla="*/ 92012 w 612525"/>
              <a:gd name="connsiteY0" fmla="*/ 434429 h 434429"/>
              <a:gd name="connsiteX1" fmla="*/ 0 w 612525"/>
              <a:gd name="connsiteY1" fmla="*/ 21432 h 434429"/>
              <a:gd name="connsiteX2" fmla="*/ 518131 w 612525"/>
              <a:gd name="connsiteY2" fmla="*/ 0 h 434429"/>
              <a:gd name="connsiteX3" fmla="*/ 612525 w 612525"/>
              <a:gd name="connsiteY3" fmla="*/ 412999 h 434429"/>
              <a:gd name="connsiteX4" fmla="*/ 92012 w 612525"/>
              <a:gd name="connsiteY4" fmla="*/ 434429 h 434429"/>
              <a:gd name="connsiteX0" fmla="*/ 92012 w 612525"/>
              <a:gd name="connsiteY0" fmla="*/ 422522 h 422522"/>
              <a:gd name="connsiteX1" fmla="*/ 0 w 612525"/>
              <a:gd name="connsiteY1" fmla="*/ 9525 h 422522"/>
              <a:gd name="connsiteX2" fmla="*/ 560993 w 612525"/>
              <a:gd name="connsiteY2" fmla="*/ 0 h 422522"/>
              <a:gd name="connsiteX3" fmla="*/ 612525 w 612525"/>
              <a:gd name="connsiteY3" fmla="*/ 401092 h 422522"/>
              <a:gd name="connsiteX4" fmla="*/ 92012 w 612525"/>
              <a:gd name="connsiteY4" fmla="*/ 422522 h 422522"/>
              <a:gd name="connsiteX0" fmla="*/ 92012 w 707775"/>
              <a:gd name="connsiteY0" fmla="*/ 422522 h 429667"/>
              <a:gd name="connsiteX1" fmla="*/ 0 w 707775"/>
              <a:gd name="connsiteY1" fmla="*/ 9525 h 429667"/>
              <a:gd name="connsiteX2" fmla="*/ 560993 w 707775"/>
              <a:gd name="connsiteY2" fmla="*/ 0 h 429667"/>
              <a:gd name="connsiteX3" fmla="*/ 707775 w 707775"/>
              <a:gd name="connsiteY3" fmla="*/ 429667 h 429667"/>
              <a:gd name="connsiteX4" fmla="*/ 92012 w 707775"/>
              <a:gd name="connsiteY4" fmla="*/ 422522 h 429667"/>
              <a:gd name="connsiteX0" fmla="*/ 58674 w 674437"/>
              <a:gd name="connsiteY0" fmla="*/ 429666 h 436811"/>
              <a:gd name="connsiteX1" fmla="*/ 0 w 674437"/>
              <a:gd name="connsiteY1" fmla="*/ 0 h 436811"/>
              <a:gd name="connsiteX2" fmla="*/ 527655 w 674437"/>
              <a:gd name="connsiteY2" fmla="*/ 7144 h 436811"/>
              <a:gd name="connsiteX3" fmla="*/ 674437 w 674437"/>
              <a:gd name="connsiteY3" fmla="*/ 436811 h 436811"/>
              <a:gd name="connsiteX4" fmla="*/ 58674 w 674437"/>
              <a:gd name="connsiteY4" fmla="*/ 429666 h 436811"/>
              <a:gd name="connsiteX0" fmla="*/ 32480 w 674437"/>
              <a:gd name="connsiteY0" fmla="*/ 446335 h 446335"/>
              <a:gd name="connsiteX1" fmla="*/ 0 w 674437"/>
              <a:gd name="connsiteY1" fmla="*/ 0 h 446335"/>
              <a:gd name="connsiteX2" fmla="*/ 527655 w 674437"/>
              <a:gd name="connsiteY2" fmla="*/ 7144 h 446335"/>
              <a:gd name="connsiteX3" fmla="*/ 674437 w 674437"/>
              <a:gd name="connsiteY3" fmla="*/ 436811 h 446335"/>
              <a:gd name="connsiteX4" fmla="*/ 32480 w 674437"/>
              <a:gd name="connsiteY4" fmla="*/ 446335 h 446335"/>
              <a:gd name="connsiteX0" fmla="*/ 32480 w 579187"/>
              <a:gd name="connsiteY0" fmla="*/ 446335 h 446335"/>
              <a:gd name="connsiteX1" fmla="*/ 0 w 579187"/>
              <a:gd name="connsiteY1" fmla="*/ 0 h 446335"/>
              <a:gd name="connsiteX2" fmla="*/ 527655 w 579187"/>
              <a:gd name="connsiteY2" fmla="*/ 7144 h 446335"/>
              <a:gd name="connsiteX3" fmla="*/ 579187 w 579187"/>
              <a:gd name="connsiteY3" fmla="*/ 429668 h 446335"/>
              <a:gd name="connsiteX4" fmla="*/ 32480 w 579187"/>
              <a:gd name="connsiteY4" fmla="*/ 446335 h 446335"/>
              <a:gd name="connsiteX0" fmla="*/ 25337 w 579187"/>
              <a:gd name="connsiteY0" fmla="*/ 434429 h 434429"/>
              <a:gd name="connsiteX1" fmla="*/ 0 w 579187"/>
              <a:gd name="connsiteY1" fmla="*/ 0 h 434429"/>
              <a:gd name="connsiteX2" fmla="*/ 527655 w 579187"/>
              <a:gd name="connsiteY2" fmla="*/ 7144 h 434429"/>
              <a:gd name="connsiteX3" fmla="*/ 579187 w 579187"/>
              <a:gd name="connsiteY3" fmla="*/ 429668 h 434429"/>
              <a:gd name="connsiteX4" fmla="*/ 25337 w 579187"/>
              <a:gd name="connsiteY4" fmla="*/ 434429 h 434429"/>
              <a:gd name="connsiteX0" fmla="*/ 13431 w 567281"/>
              <a:gd name="connsiteY0" fmla="*/ 429667 h 429667"/>
              <a:gd name="connsiteX1" fmla="*/ 0 w 567281"/>
              <a:gd name="connsiteY1" fmla="*/ 0 h 429667"/>
              <a:gd name="connsiteX2" fmla="*/ 515749 w 567281"/>
              <a:gd name="connsiteY2" fmla="*/ 2382 h 429667"/>
              <a:gd name="connsiteX3" fmla="*/ 567281 w 567281"/>
              <a:gd name="connsiteY3" fmla="*/ 424906 h 429667"/>
              <a:gd name="connsiteX4" fmla="*/ 13431 w 567281"/>
              <a:gd name="connsiteY4" fmla="*/ 429667 h 429667"/>
              <a:gd name="connsiteX0" fmla="*/ 20575 w 574425"/>
              <a:gd name="connsiteY0" fmla="*/ 427285 h 427285"/>
              <a:gd name="connsiteX1" fmla="*/ 0 w 574425"/>
              <a:gd name="connsiteY1" fmla="*/ 2380 h 427285"/>
              <a:gd name="connsiteX2" fmla="*/ 522893 w 574425"/>
              <a:gd name="connsiteY2" fmla="*/ 0 h 427285"/>
              <a:gd name="connsiteX3" fmla="*/ 574425 w 574425"/>
              <a:gd name="connsiteY3" fmla="*/ 422524 h 427285"/>
              <a:gd name="connsiteX4" fmla="*/ 20575 w 574425"/>
              <a:gd name="connsiteY4" fmla="*/ 427285 h 427285"/>
              <a:gd name="connsiteX0" fmla="*/ 33028 w 586878"/>
              <a:gd name="connsiteY0" fmla="*/ 468173 h 468173"/>
              <a:gd name="connsiteX1" fmla="*/ 0 w 586878"/>
              <a:gd name="connsiteY1" fmla="*/ 0 h 468173"/>
              <a:gd name="connsiteX2" fmla="*/ 535346 w 586878"/>
              <a:gd name="connsiteY2" fmla="*/ 40888 h 468173"/>
              <a:gd name="connsiteX3" fmla="*/ 586878 w 586878"/>
              <a:gd name="connsiteY3" fmla="*/ 463412 h 468173"/>
              <a:gd name="connsiteX4" fmla="*/ 33028 w 586878"/>
              <a:gd name="connsiteY4" fmla="*/ 468173 h 468173"/>
              <a:gd name="connsiteX0" fmla="*/ 33028 w 586878"/>
              <a:gd name="connsiteY0" fmla="*/ 473257 h 473257"/>
              <a:gd name="connsiteX1" fmla="*/ 0 w 586878"/>
              <a:gd name="connsiteY1" fmla="*/ 5084 h 473257"/>
              <a:gd name="connsiteX2" fmla="*/ 525384 w 586878"/>
              <a:gd name="connsiteY2" fmla="*/ 0 h 473257"/>
              <a:gd name="connsiteX3" fmla="*/ 586878 w 586878"/>
              <a:gd name="connsiteY3" fmla="*/ 468496 h 473257"/>
              <a:gd name="connsiteX4" fmla="*/ 33028 w 586878"/>
              <a:gd name="connsiteY4" fmla="*/ 473257 h 473257"/>
              <a:gd name="connsiteX0" fmla="*/ 15594 w 586878"/>
              <a:gd name="connsiteY0" fmla="*/ 475961 h 475961"/>
              <a:gd name="connsiteX1" fmla="*/ 0 w 586878"/>
              <a:gd name="connsiteY1" fmla="*/ 5084 h 475961"/>
              <a:gd name="connsiteX2" fmla="*/ 525384 w 586878"/>
              <a:gd name="connsiteY2" fmla="*/ 0 h 475961"/>
              <a:gd name="connsiteX3" fmla="*/ 586878 w 586878"/>
              <a:gd name="connsiteY3" fmla="*/ 468496 h 475961"/>
              <a:gd name="connsiteX4" fmla="*/ 15594 w 586878"/>
              <a:gd name="connsiteY4" fmla="*/ 475961 h 475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6878" h="475961">
                <a:moveTo>
                  <a:pt x="15594" y="475961"/>
                </a:moveTo>
                <a:lnTo>
                  <a:pt x="0" y="5084"/>
                </a:lnTo>
                <a:lnTo>
                  <a:pt x="525384" y="0"/>
                </a:lnTo>
                <a:lnTo>
                  <a:pt x="586878" y="468496"/>
                </a:lnTo>
                <a:lnTo>
                  <a:pt x="15594" y="475961"/>
                </a:lnTo>
                <a:close/>
              </a:path>
            </a:pathLst>
          </a:cu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chemeClr val="bg1">
                    <a:lumMod val="95000"/>
                  </a:schemeClr>
                </a:solidFill>
                <a:latin typeface="Neo Sans Pro" panose="020B0504030504040204" pitchFamily="34" charset="-52"/>
              </a:rPr>
              <a:t> </a:t>
            </a:r>
            <a:endParaRPr lang="ru-RU" sz="1000" b="1" dirty="0">
              <a:solidFill>
                <a:schemeClr val="bg1">
                  <a:lumMod val="95000"/>
                </a:schemeClr>
              </a:solidFill>
              <a:latin typeface="Neo Sans Pro" panose="020B0504030504040204" pitchFamily="34" charset="-52"/>
            </a:endParaRPr>
          </a:p>
          <a:p>
            <a:pPr algn="ctr"/>
            <a:endParaRPr lang="ru-RU" b="1" dirty="0">
              <a:latin typeface="Neo Sans Pro" panose="020B0504030504040204" pitchFamily="34" charset="-52"/>
            </a:endParaRPr>
          </a:p>
        </p:txBody>
      </p:sp>
      <p:sp>
        <p:nvSpPr>
          <p:cNvPr id="29" name="Параллелограмм 45"/>
          <p:cNvSpPr/>
          <p:nvPr/>
        </p:nvSpPr>
        <p:spPr>
          <a:xfrm>
            <a:off x="8034119" y="4027403"/>
            <a:ext cx="1222125" cy="743913"/>
          </a:xfrm>
          <a:custGeom>
            <a:avLst/>
            <a:gdLst>
              <a:gd name="connsiteX0" fmla="*/ 0 w 664244"/>
              <a:gd name="connsiteY0" fmla="*/ 384424 h 384424"/>
              <a:gd name="connsiteX1" fmla="*/ 96106 w 664244"/>
              <a:gd name="connsiteY1" fmla="*/ 0 h 384424"/>
              <a:gd name="connsiteX2" fmla="*/ 664244 w 664244"/>
              <a:gd name="connsiteY2" fmla="*/ 0 h 384424"/>
              <a:gd name="connsiteX3" fmla="*/ 568138 w 664244"/>
              <a:gd name="connsiteY3" fmla="*/ 384424 h 384424"/>
              <a:gd name="connsiteX4" fmla="*/ 0 w 664244"/>
              <a:gd name="connsiteY4" fmla="*/ 384424 h 384424"/>
              <a:gd name="connsiteX0" fmla="*/ 22956 w 687200"/>
              <a:gd name="connsiteY0" fmla="*/ 398711 h 398711"/>
              <a:gd name="connsiteX1" fmla="*/ 0 w 687200"/>
              <a:gd name="connsiteY1" fmla="*/ 0 h 398711"/>
              <a:gd name="connsiteX2" fmla="*/ 687200 w 687200"/>
              <a:gd name="connsiteY2" fmla="*/ 14287 h 398711"/>
              <a:gd name="connsiteX3" fmla="*/ 591094 w 687200"/>
              <a:gd name="connsiteY3" fmla="*/ 398711 h 398711"/>
              <a:gd name="connsiteX4" fmla="*/ 22956 w 687200"/>
              <a:gd name="connsiteY4" fmla="*/ 398711 h 398711"/>
              <a:gd name="connsiteX0" fmla="*/ 108681 w 687200"/>
              <a:gd name="connsiteY0" fmla="*/ 422523 h 422523"/>
              <a:gd name="connsiteX1" fmla="*/ 0 w 687200"/>
              <a:gd name="connsiteY1" fmla="*/ 0 h 422523"/>
              <a:gd name="connsiteX2" fmla="*/ 687200 w 687200"/>
              <a:gd name="connsiteY2" fmla="*/ 14287 h 422523"/>
              <a:gd name="connsiteX3" fmla="*/ 591094 w 687200"/>
              <a:gd name="connsiteY3" fmla="*/ 398711 h 422523"/>
              <a:gd name="connsiteX4" fmla="*/ 108681 w 687200"/>
              <a:gd name="connsiteY4" fmla="*/ 422523 h 422523"/>
              <a:gd name="connsiteX0" fmla="*/ 70581 w 687200"/>
              <a:gd name="connsiteY0" fmla="*/ 420141 h 420141"/>
              <a:gd name="connsiteX1" fmla="*/ 0 w 687200"/>
              <a:gd name="connsiteY1" fmla="*/ 0 h 420141"/>
              <a:gd name="connsiteX2" fmla="*/ 687200 w 687200"/>
              <a:gd name="connsiteY2" fmla="*/ 14287 h 420141"/>
              <a:gd name="connsiteX3" fmla="*/ 591094 w 687200"/>
              <a:gd name="connsiteY3" fmla="*/ 398711 h 420141"/>
              <a:gd name="connsiteX4" fmla="*/ 70581 w 687200"/>
              <a:gd name="connsiteY4" fmla="*/ 420141 h 420141"/>
              <a:gd name="connsiteX0" fmla="*/ 92012 w 708631"/>
              <a:gd name="connsiteY0" fmla="*/ 412997 h 412997"/>
              <a:gd name="connsiteX1" fmla="*/ 0 w 708631"/>
              <a:gd name="connsiteY1" fmla="*/ 0 h 412997"/>
              <a:gd name="connsiteX2" fmla="*/ 708631 w 708631"/>
              <a:gd name="connsiteY2" fmla="*/ 7143 h 412997"/>
              <a:gd name="connsiteX3" fmla="*/ 612525 w 708631"/>
              <a:gd name="connsiteY3" fmla="*/ 391567 h 412997"/>
              <a:gd name="connsiteX4" fmla="*/ 92012 w 708631"/>
              <a:gd name="connsiteY4" fmla="*/ 412997 h 412997"/>
              <a:gd name="connsiteX0" fmla="*/ 92012 w 612525"/>
              <a:gd name="connsiteY0" fmla="*/ 434429 h 434429"/>
              <a:gd name="connsiteX1" fmla="*/ 0 w 612525"/>
              <a:gd name="connsiteY1" fmla="*/ 21432 h 434429"/>
              <a:gd name="connsiteX2" fmla="*/ 518131 w 612525"/>
              <a:gd name="connsiteY2" fmla="*/ 0 h 434429"/>
              <a:gd name="connsiteX3" fmla="*/ 612525 w 612525"/>
              <a:gd name="connsiteY3" fmla="*/ 412999 h 434429"/>
              <a:gd name="connsiteX4" fmla="*/ 92012 w 612525"/>
              <a:gd name="connsiteY4" fmla="*/ 434429 h 434429"/>
              <a:gd name="connsiteX0" fmla="*/ 92012 w 612525"/>
              <a:gd name="connsiteY0" fmla="*/ 422522 h 422522"/>
              <a:gd name="connsiteX1" fmla="*/ 0 w 612525"/>
              <a:gd name="connsiteY1" fmla="*/ 9525 h 422522"/>
              <a:gd name="connsiteX2" fmla="*/ 560993 w 612525"/>
              <a:gd name="connsiteY2" fmla="*/ 0 h 422522"/>
              <a:gd name="connsiteX3" fmla="*/ 612525 w 612525"/>
              <a:gd name="connsiteY3" fmla="*/ 401092 h 422522"/>
              <a:gd name="connsiteX4" fmla="*/ 92012 w 612525"/>
              <a:gd name="connsiteY4" fmla="*/ 422522 h 422522"/>
              <a:gd name="connsiteX0" fmla="*/ 92012 w 707775"/>
              <a:gd name="connsiteY0" fmla="*/ 422522 h 429667"/>
              <a:gd name="connsiteX1" fmla="*/ 0 w 707775"/>
              <a:gd name="connsiteY1" fmla="*/ 9525 h 429667"/>
              <a:gd name="connsiteX2" fmla="*/ 560993 w 707775"/>
              <a:gd name="connsiteY2" fmla="*/ 0 h 429667"/>
              <a:gd name="connsiteX3" fmla="*/ 707775 w 707775"/>
              <a:gd name="connsiteY3" fmla="*/ 429667 h 429667"/>
              <a:gd name="connsiteX4" fmla="*/ 92012 w 707775"/>
              <a:gd name="connsiteY4" fmla="*/ 422522 h 429667"/>
              <a:gd name="connsiteX0" fmla="*/ 489681 w 1105444"/>
              <a:gd name="connsiteY0" fmla="*/ 598734 h 605879"/>
              <a:gd name="connsiteX1" fmla="*/ 0 w 1105444"/>
              <a:gd name="connsiteY1" fmla="*/ 0 h 605879"/>
              <a:gd name="connsiteX2" fmla="*/ 958662 w 1105444"/>
              <a:gd name="connsiteY2" fmla="*/ 176212 h 605879"/>
              <a:gd name="connsiteX3" fmla="*/ 1105444 w 1105444"/>
              <a:gd name="connsiteY3" fmla="*/ 605879 h 605879"/>
              <a:gd name="connsiteX4" fmla="*/ 489681 w 1105444"/>
              <a:gd name="connsiteY4" fmla="*/ 598734 h 605879"/>
              <a:gd name="connsiteX0" fmla="*/ 489681 w 1105444"/>
              <a:gd name="connsiteY0" fmla="*/ 815428 h 822573"/>
              <a:gd name="connsiteX1" fmla="*/ 0 w 1105444"/>
              <a:gd name="connsiteY1" fmla="*/ 216694 h 822573"/>
              <a:gd name="connsiteX2" fmla="*/ 811024 w 1105444"/>
              <a:gd name="connsiteY2" fmla="*/ 0 h 822573"/>
              <a:gd name="connsiteX3" fmla="*/ 1105444 w 1105444"/>
              <a:gd name="connsiteY3" fmla="*/ 822573 h 822573"/>
              <a:gd name="connsiteX4" fmla="*/ 489681 w 1105444"/>
              <a:gd name="connsiteY4" fmla="*/ 815428 h 822573"/>
              <a:gd name="connsiteX0" fmla="*/ 489681 w 1105444"/>
              <a:gd name="connsiteY0" fmla="*/ 815428 h 822573"/>
              <a:gd name="connsiteX1" fmla="*/ 0 w 1105444"/>
              <a:gd name="connsiteY1" fmla="*/ 216694 h 822573"/>
              <a:gd name="connsiteX2" fmla="*/ 448295 w 1105444"/>
              <a:gd name="connsiteY2" fmla="*/ 95328 h 822573"/>
              <a:gd name="connsiteX3" fmla="*/ 811024 w 1105444"/>
              <a:gd name="connsiteY3" fmla="*/ 0 h 822573"/>
              <a:gd name="connsiteX4" fmla="*/ 1105444 w 1105444"/>
              <a:gd name="connsiteY4" fmla="*/ 822573 h 822573"/>
              <a:gd name="connsiteX5" fmla="*/ 489681 w 1105444"/>
              <a:gd name="connsiteY5" fmla="*/ 815428 h 822573"/>
              <a:gd name="connsiteX0" fmla="*/ 489681 w 1105444"/>
              <a:gd name="connsiteY0" fmla="*/ 815428 h 822573"/>
              <a:gd name="connsiteX1" fmla="*/ 0 w 1105444"/>
              <a:gd name="connsiteY1" fmla="*/ 216694 h 822573"/>
              <a:gd name="connsiteX2" fmla="*/ 300658 w 1105444"/>
              <a:gd name="connsiteY2" fmla="*/ 2459 h 822573"/>
              <a:gd name="connsiteX3" fmla="*/ 811024 w 1105444"/>
              <a:gd name="connsiteY3" fmla="*/ 0 h 822573"/>
              <a:gd name="connsiteX4" fmla="*/ 1105444 w 1105444"/>
              <a:gd name="connsiteY4" fmla="*/ 822573 h 822573"/>
              <a:gd name="connsiteX5" fmla="*/ 489681 w 1105444"/>
              <a:gd name="connsiteY5" fmla="*/ 815428 h 822573"/>
              <a:gd name="connsiteX0" fmla="*/ 489681 w 1222125"/>
              <a:gd name="connsiteY0" fmla="*/ 815428 h 820192"/>
              <a:gd name="connsiteX1" fmla="*/ 0 w 1222125"/>
              <a:gd name="connsiteY1" fmla="*/ 216694 h 820192"/>
              <a:gd name="connsiteX2" fmla="*/ 300658 w 1222125"/>
              <a:gd name="connsiteY2" fmla="*/ 2459 h 820192"/>
              <a:gd name="connsiteX3" fmla="*/ 811024 w 1222125"/>
              <a:gd name="connsiteY3" fmla="*/ 0 h 820192"/>
              <a:gd name="connsiteX4" fmla="*/ 1222125 w 1222125"/>
              <a:gd name="connsiteY4" fmla="*/ 820192 h 820192"/>
              <a:gd name="connsiteX5" fmla="*/ 489681 w 1222125"/>
              <a:gd name="connsiteY5" fmla="*/ 815428 h 820192"/>
              <a:gd name="connsiteX0" fmla="*/ 218219 w 1222125"/>
              <a:gd name="connsiteY0" fmla="*/ 824953 h 824953"/>
              <a:gd name="connsiteX1" fmla="*/ 0 w 1222125"/>
              <a:gd name="connsiteY1" fmla="*/ 216694 h 824953"/>
              <a:gd name="connsiteX2" fmla="*/ 300658 w 1222125"/>
              <a:gd name="connsiteY2" fmla="*/ 2459 h 824953"/>
              <a:gd name="connsiteX3" fmla="*/ 811024 w 1222125"/>
              <a:gd name="connsiteY3" fmla="*/ 0 h 824953"/>
              <a:gd name="connsiteX4" fmla="*/ 1222125 w 1222125"/>
              <a:gd name="connsiteY4" fmla="*/ 820192 h 824953"/>
              <a:gd name="connsiteX5" fmla="*/ 218219 w 1222125"/>
              <a:gd name="connsiteY5" fmla="*/ 824953 h 824953"/>
              <a:gd name="connsiteX0" fmla="*/ 218219 w 1222125"/>
              <a:gd name="connsiteY0" fmla="*/ 824953 h 824953"/>
              <a:gd name="connsiteX1" fmla="*/ 0 w 1222125"/>
              <a:gd name="connsiteY1" fmla="*/ 216694 h 824953"/>
              <a:gd name="connsiteX2" fmla="*/ 300658 w 1222125"/>
              <a:gd name="connsiteY2" fmla="*/ 2459 h 824953"/>
              <a:gd name="connsiteX3" fmla="*/ 811024 w 1222125"/>
              <a:gd name="connsiteY3" fmla="*/ 0 h 824953"/>
              <a:gd name="connsiteX4" fmla="*/ 1222125 w 1222125"/>
              <a:gd name="connsiteY4" fmla="*/ 820192 h 824953"/>
              <a:gd name="connsiteX5" fmla="*/ 218219 w 1222125"/>
              <a:gd name="connsiteY5" fmla="*/ 824953 h 824953"/>
              <a:gd name="connsiteX0" fmla="*/ 218219 w 1222125"/>
              <a:gd name="connsiteY0" fmla="*/ 824953 h 824953"/>
              <a:gd name="connsiteX1" fmla="*/ 0 w 1222125"/>
              <a:gd name="connsiteY1" fmla="*/ 216694 h 824953"/>
              <a:gd name="connsiteX2" fmla="*/ 272083 w 1222125"/>
              <a:gd name="connsiteY2" fmla="*/ 78 h 824953"/>
              <a:gd name="connsiteX3" fmla="*/ 811024 w 1222125"/>
              <a:gd name="connsiteY3" fmla="*/ 0 h 824953"/>
              <a:gd name="connsiteX4" fmla="*/ 1222125 w 1222125"/>
              <a:gd name="connsiteY4" fmla="*/ 820192 h 824953"/>
              <a:gd name="connsiteX5" fmla="*/ 218219 w 1222125"/>
              <a:gd name="connsiteY5" fmla="*/ 824953 h 824953"/>
              <a:gd name="connsiteX0" fmla="*/ 218219 w 1222125"/>
              <a:gd name="connsiteY0" fmla="*/ 824953 h 824953"/>
              <a:gd name="connsiteX1" fmla="*/ 0 w 1222125"/>
              <a:gd name="connsiteY1" fmla="*/ 216694 h 824953"/>
              <a:gd name="connsiteX2" fmla="*/ 272083 w 1222125"/>
              <a:gd name="connsiteY2" fmla="*/ 78 h 824953"/>
              <a:gd name="connsiteX3" fmla="*/ 811024 w 1222125"/>
              <a:gd name="connsiteY3" fmla="*/ 0 h 824953"/>
              <a:gd name="connsiteX4" fmla="*/ 1222125 w 1222125"/>
              <a:gd name="connsiteY4" fmla="*/ 820192 h 824953"/>
              <a:gd name="connsiteX5" fmla="*/ 218219 w 1222125"/>
              <a:gd name="connsiteY5" fmla="*/ 824953 h 824953"/>
              <a:gd name="connsiteX0" fmla="*/ 218219 w 1222125"/>
              <a:gd name="connsiteY0" fmla="*/ 824875 h 824875"/>
              <a:gd name="connsiteX1" fmla="*/ 0 w 1222125"/>
              <a:gd name="connsiteY1" fmla="*/ 216616 h 824875"/>
              <a:gd name="connsiteX2" fmla="*/ 272083 w 1222125"/>
              <a:gd name="connsiteY2" fmla="*/ 0 h 824875"/>
              <a:gd name="connsiteX3" fmla="*/ 825311 w 1222125"/>
              <a:gd name="connsiteY3" fmla="*/ 73740 h 824875"/>
              <a:gd name="connsiteX4" fmla="*/ 1222125 w 1222125"/>
              <a:gd name="connsiteY4" fmla="*/ 820114 h 824875"/>
              <a:gd name="connsiteX5" fmla="*/ 218219 w 1222125"/>
              <a:gd name="connsiteY5" fmla="*/ 824875 h 824875"/>
              <a:gd name="connsiteX0" fmla="*/ 218219 w 1222125"/>
              <a:gd name="connsiteY0" fmla="*/ 751135 h 751135"/>
              <a:gd name="connsiteX1" fmla="*/ 0 w 1222125"/>
              <a:gd name="connsiteY1" fmla="*/ 142876 h 751135"/>
              <a:gd name="connsiteX2" fmla="*/ 286370 w 1222125"/>
              <a:gd name="connsiteY2" fmla="*/ 33416 h 751135"/>
              <a:gd name="connsiteX3" fmla="*/ 825311 w 1222125"/>
              <a:gd name="connsiteY3" fmla="*/ 0 h 751135"/>
              <a:gd name="connsiteX4" fmla="*/ 1222125 w 1222125"/>
              <a:gd name="connsiteY4" fmla="*/ 746374 h 751135"/>
              <a:gd name="connsiteX5" fmla="*/ 218219 w 1222125"/>
              <a:gd name="connsiteY5" fmla="*/ 751135 h 751135"/>
              <a:gd name="connsiteX0" fmla="*/ 218219 w 1222125"/>
              <a:gd name="connsiteY0" fmla="*/ 717719 h 717719"/>
              <a:gd name="connsiteX1" fmla="*/ 0 w 1222125"/>
              <a:gd name="connsiteY1" fmla="*/ 109460 h 717719"/>
              <a:gd name="connsiteX2" fmla="*/ 286370 w 1222125"/>
              <a:gd name="connsiteY2" fmla="*/ 0 h 717719"/>
              <a:gd name="connsiteX3" fmla="*/ 841979 w 1222125"/>
              <a:gd name="connsiteY3" fmla="*/ 7065 h 717719"/>
              <a:gd name="connsiteX4" fmla="*/ 1222125 w 1222125"/>
              <a:gd name="connsiteY4" fmla="*/ 712958 h 717719"/>
              <a:gd name="connsiteX5" fmla="*/ 218219 w 1222125"/>
              <a:gd name="connsiteY5" fmla="*/ 717719 h 717719"/>
              <a:gd name="connsiteX0" fmla="*/ 218219 w 1222125"/>
              <a:gd name="connsiteY0" fmla="*/ 732085 h 732085"/>
              <a:gd name="connsiteX1" fmla="*/ 0 w 1222125"/>
              <a:gd name="connsiteY1" fmla="*/ 123826 h 732085"/>
              <a:gd name="connsiteX2" fmla="*/ 286370 w 1222125"/>
              <a:gd name="connsiteY2" fmla="*/ 14366 h 732085"/>
              <a:gd name="connsiteX3" fmla="*/ 839598 w 1222125"/>
              <a:gd name="connsiteY3" fmla="*/ 0 h 732085"/>
              <a:gd name="connsiteX4" fmla="*/ 1222125 w 1222125"/>
              <a:gd name="connsiteY4" fmla="*/ 727324 h 732085"/>
              <a:gd name="connsiteX5" fmla="*/ 218219 w 1222125"/>
              <a:gd name="connsiteY5" fmla="*/ 732085 h 732085"/>
              <a:gd name="connsiteX0" fmla="*/ 218219 w 1222125"/>
              <a:gd name="connsiteY0" fmla="*/ 743913 h 743913"/>
              <a:gd name="connsiteX1" fmla="*/ 0 w 1222125"/>
              <a:gd name="connsiteY1" fmla="*/ 135654 h 743913"/>
              <a:gd name="connsiteX2" fmla="*/ 217314 w 1222125"/>
              <a:gd name="connsiteY2" fmla="*/ 0 h 743913"/>
              <a:gd name="connsiteX3" fmla="*/ 839598 w 1222125"/>
              <a:gd name="connsiteY3" fmla="*/ 11828 h 743913"/>
              <a:gd name="connsiteX4" fmla="*/ 1222125 w 1222125"/>
              <a:gd name="connsiteY4" fmla="*/ 739152 h 743913"/>
              <a:gd name="connsiteX5" fmla="*/ 218219 w 1222125"/>
              <a:gd name="connsiteY5" fmla="*/ 743913 h 743913"/>
              <a:gd name="connsiteX0" fmla="*/ 218219 w 1222125"/>
              <a:gd name="connsiteY0" fmla="*/ 743913 h 743913"/>
              <a:gd name="connsiteX1" fmla="*/ 0 w 1222125"/>
              <a:gd name="connsiteY1" fmla="*/ 135654 h 743913"/>
              <a:gd name="connsiteX2" fmla="*/ 217314 w 1222125"/>
              <a:gd name="connsiteY2" fmla="*/ 0 h 743913"/>
              <a:gd name="connsiteX3" fmla="*/ 839598 w 1222125"/>
              <a:gd name="connsiteY3" fmla="*/ 11828 h 743913"/>
              <a:gd name="connsiteX4" fmla="*/ 1222125 w 1222125"/>
              <a:gd name="connsiteY4" fmla="*/ 739152 h 743913"/>
              <a:gd name="connsiteX5" fmla="*/ 218219 w 1222125"/>
              <a:gd name="connsiteY5" fmla="*/ 743913 h 743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2125" h="743913">
                <a:moveTo>
                  <a:pt x="218219" y="743913"/>
                </a:moveTo>
                <a:lnTo>
                  <a:pt x="0" y="135654"/>
                </a:lnTo>
                <a:cubicBezTo>
                  <a:pt x="143081" y="88054"/>
                  <a:pt x="119476" y="66649"/>
                  <a:pt x="217314" y="0"/>
                </a:cubicBezTo>
                <a:lnTo>
                  <a:pt x="839598" y="11828"/>
                </a:lnTo>
                <a:lnTo>
                  <a:pt x="1222125" y="739152"/>
                </a:lnTo>
                <a:lnTo>
                  <a:pt x="218219" y="743913"/>
                </a:lnTo>
                <a:close/>
              </a:path>
            </a:pathLst>
          </a:custGeom>
          <a:solidFill>
            <a:schemeClr val="bg1">
              <a:lumMod val="50000"/>
              <a:alpha val="50000"/>
            </a:schemeClr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sp>
        <p:nvSpPr>
          <p:cNvPr id="30" name="Параллелограмм 49"/>
          <p:cNvSpPr/>
          <p:nvPr/>
        </p:nvSpPr>
        <p:spPr>
          <a:xfrm>
            <a:off x="8802037" y="3461924"/>
            <a:ext cx="536366" cy="156889"/>
          </a:xfrm>
          <a:custGeom>
            <a:avLst/>
            <a:gdLst>
              <a:gd name="connsiteX0" fmla="*/ 0 w 550515"/>
              <a:gd name="connsiteY0" fmla="*/ 166413 h 166413"/>
              <a:gd name="connsiteX1" fmla="*/ 41603 w 550515"/>
              <a:gd name="connsiteY1" fmla="*/ 0 h 166413"/>
              <a:gd name="connsiteX2" fmla="*/ 550515 w 550515"/>
              <a:gd name="connsiteY2" fmla="*/ 0 h 166413"/>
              <a:gd name="connsiteX3" fmla="*/ 508912 w 550515"/>
              <a:gd name="connsiteY3" fmla="*/ 166413 h 166413"/>
              <a:gd name="connsiteX4" fmla="*/ 0 w 550515"/>
              <a:gd name="connsiteY4" fmla="*/ 166413 h 166413"/>
              <a:gd name="connsiteX0" fmla="*/ 0 w 550515"/>
              <a:gd name="connsiteY0" fmla="*/ 166413 h 166413"/>
              <a:gd name="connsiteX1" fmla="*/ 17790 w 550515"/>
              <a:gd name="connsiteY1" fmla="*/ 2382 h 166413"/>
              <a:gd name="connsiteX2" fmla="*/ 550515 w 550515"/>
              <a:gd name="connsiteY2" fmla="*/ 0 h 166413"/>
              <a:gd name="connsiteX3" fmla="*/ 508912 w 550515"/>
              <a:gd name="connsiteY3" fmla="*/ 166413 h 166413"/>
              <a:gd name="connsiteX4" fmla="*/ 0 w 550515"/>
              <a:gd name="connsiteY4" fmla="*/ 166413 h 166413"/>
              <a:gd name="connsiteX0" fmla="*/ 0 w 508912"/>
              <a:gd name="connsiteY0" fmla="*/ 164031 h 164031"/>
              <a:gd name="connsiteX1" fmla="*/ 17790 w 508912"/>
              <a:gd name="connsiteY1" fmla="*/ 0 h 164031"/>
              <a:gd name="connsiteX2" fmla="*/ 443358 w 508912"/>
              <a:gd name="connsiteY2" fmla="*/ 4761 h 164031"/>
              <a:gd name="connsiteX3" fmla="*/ 508912 w 508912"/>
              <a:gd name="connsiteY3" fmla="*/ 164031 h 164031"/>
              <a:gd name="connsiteX4" fmla="*/ 0 w 508912"/>
              <a:gd name="connsiteY4" fmla="*/ 164031 h 164031"/>
              <a:gd name="connsiteX0" fmla="*/ 0 w 537487"/>
              <a:gd name="connsiteY0" fmla="*/ 164031 h 164031"/>
              <a:gd name="connsiteX1" fmla="*/ 17790 w 537487"/>
              <a:gd name="connsiteY1" fmla="*/ 0 h 164031"/>
              <a:gd name="connsiteX2" fmla="*/ 443358 w 537487"/>
              <a:gd name="connsiteY2" fmla="*/ 4761 h 164031"/>
              <a:gd name="connsiteX3" fmla="*/ 537487 w 537487"/>
              <a:gd name="connsiteY3" fmla="*/ 161650 h 164031"/>
              <a:gd name="connsiteX4" fmla="*/ 0 w 537487"/>
              <a:gd name="connsiteY4" fmla="*/ 164031 h 164031"/>
              <a:gd name="connsiteX0" fmla="*/ 60791 w 519697"/>
              <a:gd name="connsiteY0" fmla="*/ 159269 h 161650"/>
              <a:gd name="connsiteX1" fmla="*/ 0 w 519697"/>
              <a:gd name="connsiteY1" fmla="*/ 0 h 161650"/>
              <a:gd name="connsiteX2" fmla="*/ 425568 w 519697"/>
              <a:gd name="connsiteY2" fmla="*/ 4761 h 161650"/>
              <a:gd name="connsiteX3" fmla="*/ 519697 w 519697"/>
              <a:gd name="connsiteY3" fmla="*/ 161650 h 161650"/>
              <a:gd name="connsiteX4" fmla="*/ 60791 w 519697"/>
              <a:gd name="connsiteY4" fmla="*/ 159269 h 161650"/>
              <a:gd name="connsiteX0" fmla="*/ 77460 w 536366"/>
              <a:gd name="connsiteY0" fmla="*/ 154508 h 156889"/>
              <a:gd name="connsiteX1" fmla="*/ 0 w 536366"/>
              <a:gd name="connsiteY1" fmla="*/ 1 h 156889"/>
              <a:gd name="connsiteX2" fmla="*/ 442237 w 536366"/>
              <a:gd name="connsiteY2" fmla="*/ 0 h 156889"/>
              <a:gd name="connsiteX3" fmla="*/ 536366 w 536366"/>
              <a:gd name="connsiteY3" fmla="*/ 156889 h 156889"/>
              <a:gd name="connsiteX4" fmla="*/ 77460 w 536366"/>
              <a:gd name="connsiteY4" fmla="*/ 154508 h 156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6366" h="156889">
                <a:moveTo>
                  <a:pt x="77460" y="154508"/>
                </a:moveTo>
                <a:lnTo>
                  <a:pt x="0" y="1"/>
                </a:lnTo>
                <a:lnTo>
                  <a:pt x="442237" y="0"/>
                </a:lnTo>
                <a:lnTo>
                  <a:pt x="536366" y="156889"/>
                </a:lnTo>
                <a:lnTo>
                  <a:pt x="77460" y="154508"/>
                </a:lnTo>
                <a:close/>
              </a:path>
            </a:pathLst>
          </a:custGeom>
          <a:solidFill>
            <a:schemeClr val="bg1">
              <a:lumMod val="50000"/>
              <a:alpha val="60000"/>
            </a:schemeClr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sp>
        <p:nvSpPr>
          <p:cNvPr id="31" name="Параллелограмм 49"/>
          <p:cNvSpPr/>
          <p:nvPr/>
        </p:nvSpPr>
        <p:spPr>
          <a:xfrm>
            <a:off x="8995569" y="3956965"/>
            <a:ext cx="664741" cy="174903"/>
          </a:xfrm>
          <a:custGeom>
            <a:avLst/>
            <a:gdLst>
              <a:gd name="connsiteX0" fmla="*/ 0 w 550515"/>
              <a:gd name="connsiteY0" fmla="*/ 166413 h 166413"/>
              <a:gd name="connsiteX1" fmla="*/ 41603 w 550515"/>
              <a:gd name="connsiteY1" fmla="*/ 0 h 166413"/>
              <a:gd name="connsiteX2" fmla="*/ 550515 w 550515"/>
              <a:gd name="connsiteY2" fmla="*/ 0 h 166413"/>
              <a:gd name="connsiteX3" fmla="*/ 508912 w 550515"/>
              <a:gd name="connsiteY3" fmla="*/ 166413 h 166413"/>
              <a:gd name="connsiteX4" fmla="*/ 0 w 550515"/>
              <a:gd name="connsiteY4" fmla="*/ 166413 h 166413"/>
              <a:gd name="connsiteX0" fmla="*/ 0 w 550515"/>
              <a:gd name="connsiteY0" fmla="*/ 166413 h 166413"/>
              <a:gd name="connsiteX1" fmla="*/ 17790 w 550515"/>
              <a:gd name="connsiteY1" fmla="*/ 2382 h 166413"/>
              <a:gd name="connsiteX2" fmla="*/ 550515 w 550515"/>
              <a:gd name="connsiteY2" fmla="*/ 0 h 166413"/>
              <a:gd name="connsiteX3" fmla="*/ 508912 w 550515"/>
              <a:gd name="connsiteY3" fmla="*/ 166413 h 166413"/>
              <a:gd name="connsiteX4" fmla="*/ 0 w 550515"/>
              <a:gd name="connsiteY4" fmla="*/ 166413 h 166413"/>
              <a:gd name="connsiteX0" fmla="*/ 0 w 508912"/>
              <a:gd name="connsiteY0" fmla="*/ 164031 h 164031"/>
              <a:gd name="connsiteX1" fmla="*/ 17790 w 508912"/>
              <a:gd name="connsiteY1" fmla="*/ 0 h 164031"/>
              <a:gd name="connsiteX2" fmla="*/ 443358 w 508912"/>
              <a:gd name="connsiteY2" fmla="*/ 4761 h 164031"/>
              <a:gd name="connsiteX3" fmla="*/ 508912 w 508912"/>
              <a:gd name="connsiteY3" fmla="*/ 164031 h 164031"/>
              <a:gd name="connsiteX4" fmla="*/ 0 w 508912"/>
              <a:gd name="connsiteY4" fmla="*/ 164031 h 164031"/>
              <a:gd name="connsiteX0" fmla="*/ 0 w 537487"/>
              <a:gd name="connsiteY0" fmla="*/ 164031 h 164031"/>
              <a:gd name="connsiteX1" fmla="*/ 17790 w 537487"/>
              <a:gd name="connsiteY1" fmla="*/ 0 h 164031"/>
              <a:gd name="connsiteX2" fmla="*/ 443358 w 537487"/>
              <a:gd name="connsiteY2" fmla="*/ 4761 h 164031"/>
              <a:gd name="connsiteX3" fmla="*/ 537487 w 537487"/>
              <a:gd name="connsiteY3" fmla="*/ 161650 h 164031"/>
              <a:gd name="connsiteX4" fmla="*/ 0 w 537487"/>
              <a:gd name="connsiteY4" fmla="*/ 164031 h 164031"/>
              <a:gd name="connsiteX0" fmla="*/ 60791 w 519697"/>
              <a:gd name="connsiteY0" fmla="*/ 159269 h 161650"/>
              <a:gd name="connsiteX1" fmla="*/ 0 w 519697"/>
              <a:gd name="connsiteY1" fmla="*/ 0 h 161650"/>
              <a:gd name="connsiteX2" fmla="*/ 425568 w 519697"/>
              <a:gd name="connsiteY2" fmla="*/ 4761 h 161650"/>
              <a:gd name="connsiteX3" fmla="*/ 519697 w 519697"/>
              <a:gd name="connsiteY3" fmla="*/ 161650 h 161650"/>
              <a:gd name="connsiteX4" fmla="*/ 60791 w 519697"/>
              <a:gd name="connsiteY4" fmla="*/ 159269 h 161650"/>
              <a:gd name="connsiteX0" fmla="*/ 77460 w 536366"/>
              <a:gd name="connsiteY0" fmla="*/ 154508 h 156889"/>
              <a:gd name="connsiteX1" fmla="*/ 0 w 536366"/>
              <a:gd name="connsiteY1" fmla="*/ 1 h 156889"/>
              <a:gd name="connsiteX2" fmla="*/ 442237 w 536366"/>
              <a:gd name="connsiteY2" fmla="*/ 0 h 156889"/>
              <a:gd name="connsiteX3" fmla="*/ 536366 w 536366"/>
              <a:gd name="connsiteY3" fmla="*/ 156889 h 156889"/>
              <a:gd name="connsiteX4" fmla="*/ 77460 w 536366"/>
              <a:gd name="connsiteY4" fmla="*/ 154508 h 156889"/>
              <a:gd name="connsiteX0" fmla="*/ 77460 w 546220"/>
              <a:gd name="connsiteY0" fmla="*/ 154508 h 178138"/>
              <a:gd name="connsiteX1" fmla="*/ 0 w 546220"/>
              <a:gd name="connsiteY1" fmla="*/ 1 h 178138"/>
              <a:gd name="connsiteX2" fmla="*/ 442237 w 546220"/>
              <a:gd name="connsiteY2" fmla="*/ 0 h 178138"/>
              <a:gd name="connsiteX3" fmla="*/ 546220 w 546220"/>
              <a:gd name="connsiteY3" fmla="*/ 178138 h 178138"/>
              <a:gd name="connsiteX4" fmla="*/ 77460 w 546220"/>
              <a:gd name="connsiteY4" fmla="*/ 154508 h 178138"/>
              <a:gd name="connsiteX0" fmla="*/ 75489 w 546220"/>
              <a:gd name="connsiteY0" fmla="*/ 175756 h 178138"/>
              <a:gd name="connsiteX1" fmla="*/ 0 w 546220"/>
              <a:gd name="connsiteY1" fmla="*/ 1 h 178138"/>
              <a:gd name="connsiteX2" fmla="*/ 442237 w 546220"/>
              <a:gd name="connsiteY2" fmla="*/ 0 h 178138"/>
              <a:gd name="connsiteX3" fmla="*/ 546220 w 546220"/>
              <a:gd name="connsiteY3" fmla="*/ 178138 h 178138"/>
              <a:gd name="connsiteX4" fmla="*/ 75489 w 546220"/>
              <a:gd name="connsiteY4" fmla="*/ 175756 h 178138"/>
              <a:gd name="connsiteX0" fmla="*/ 79431 w 550162"/>
              <a:gd name="connsiteY0" fmla="*/ 175756 h 178138"/>
              <a:gd name="connsiteX1" fmla="*/ 0 w 550162"/>
              <a:gd name="connsiteY1" fmla="*/ 4723 h 178138"/>
              <a:gd name="connsiteX2" fmla="*/ 446179 w 550162"/>
              <a:gd name="connsiteY2" fmla="*/ 0 h 178138"/>
              <a:gd name="connsiteX3" fmla="*/ 550162 w 550162"/>
              <a:gd name="connsiteY3" fmla="*/ 178138 h 178138"/>
              <a:gd name="connsiteX4" fmla="*/ 79431 w 550162"/>
              <a:gd name="connsiteY4" fmla="*/ 175756 h 178138"/>
              <a:gd name="connsiteX0" fmla="*/ 79431 w 550162"/>
              <a:gd name="connsiteY0" fmla="*/ 171033 h 173415"/>
              <a:gd name="connsiteX1" fmla="*/ 0 w 550162"/>
              <a:gd name="connsiteY1" fmla="*/ 0 h 173415"/>
              <a:gd name="connsiteX2" fmla="*/ 444208 w 550162"/>
              <a:gd name="connsiteY2" fmla="*/ 7082 h 173415"/>
              <a:gd name="connsiteX3" fmla="*/ 550162 w 550162"/>
              <a:gd name="connsiteY3" fmla="*/ 173415 h 173415"/>
              <a:gd name="connsiteX4" fmla="*/ 79431 w 550162"/>
              <a:gd name="connsiteY4" fmla="*/ 171033 h 173415"/>
              <a:gd name="connsiteX0" fmla="*/ 79431 w 550162"/>
              <a:gd name="connsiteY0" fmla="*/ 171033 h 173415"/>
              <a:gd name="connsiteX1" fmla="*/ 0 w 550162"/>
              <a:gd name="connsiteY1" fmla="*/ 0 h 173415"/>
              <a:gd name="connsiteX2" fmla="*/ 452092 w 550162"/>
              <a:gd name="connsiteY2" fmla="*/ 2361 h 173415"/>
              <a:gd name="connsiteX3" fmla="*/ 550162 w 550162"/>
              <a:gd name="connsiteY3" fmla="*/ 173415 h 173415"/>
              <a:gd name="connsiteX4" fmla="*/ 79431 w 550162"/>
              <a:gd name="connsiteY4" fmla="*/ 171033 h 173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0162" h="173415">
                <a:moveTo>
                  <a:pt x="79431" y="171033"/>
                </a:moveTo>
                <a:lnTo>
                  <a:pt x="0" y="0"/>
                </a:lnTo>
                <a:lnTo>
                  <a:pt x="452092" y="2361"/>
                </a:lnTo>
                <a:lnTo>
                  <a:pt x="550162" y="173415"/>
                </a:lnTo>
                <a:lnTo>
                  <a:pt x="79431" y="171033"/>
                </a:lnTo>
                <a:close/>
              </a:path>
            </a:pathLst>
          </a:custGeom>
          <a:solidFill>
            <a:schemeClr val="bg1">
              <a:lumMod val="50000"/>
              <a:alpha val="60000"/>
            </a:schemeClr>
          </a:solidFill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0" t="10072" r="1690" b="10795"/>
          <a:stretch/>
        </p:blipFill>
        <p:spPr>
          <a:xfrm>
            <a:off x="7129764" y="5589598"/>
            <a:ext cx="1595969" cy="989969"/>
          </a:xfrm>
          <a:prstGeom prst="rect">
            <a:avLst/>
          </a:prstGeom>
        </p:spPr>
      </p:pic>
      <p:sp>
        <p:nvSpPr>
          <p:cNvPr id="33" name="Параллелограмм 1"/>
          <p:cNvSpPr/>
          <p:nvPr/>
        </p:nvSpPr>
        <p:spPr>
          <a:xfrm>
            <a:off x="4041889" y="1934750"/>
            <a:ext cx="1725811" cy="310877"/>
          </a:xfrm>
          <a:custGeom>
            <a:avLst/>
            <a:gdLst>
              <a:gd name="connsiteX0" fmla="*/ 0 w 576064"/>
              <a:gd name="connsiteY0" fmla="*/ 216024 h 216024"/>
              <a:gd name="connsiteX1" fmla="*/ 54006 w 576064"/>
              <a:gd name="connsiteY1" fmla="*/ 0 h 216024"/>
              <a:gd name="connsiteX2" fmla="*/ 576064 w 576064"/>
              <a:gd name="connsiteY2" fmla="*/ 0 h 216024"/>
              <a:gd name="connsiteX3" fmla="*/ 522058 w 576064"/>
              <a:gd name="connsiteY3" fmla="*/ 216024 h 216024"/>
              <a:gd name="connsiteX4" fmla="*/ 0 w 576064"/>
              <a:gd name="connsiteY4" fmla="*/ 216024 h 216024"/>
              <a:gd name="connsiteX0" fmla="*/ 0 w 576064"/>
              <a:gd name="connsiteY0" fmla="*/ 216024 h 216024"/>
              <a:gd name="connsiteX1" fmla="*/ 54006 w 576064"/>
              <a:gd name="connsiteY1" fmla="*/ 0 h 216024"/>
              <a:gd name="connsiteX2" fmla="*/ 576064 w 576064"/>
              <a:gd name="connsiteY2" fmla="*/ 0 h 216024"/>
              <a:gd name="connsiteX3" fmla="*/ 522058 w 576064"/>
              <a:gd name="connsiteY3" fmla="*/ 216024 h 216024"/>
              <a:gd name="connsiteX4" fmla="*/ 0 w 576064"/>
              <a:gd name="connsiteY4" fmla="*/ 216024 h 216024"/>
              <a:gd name="connsiteX0" fmla="*/ 0 w 628452"/>
              <a:gd name="connsiteY0" fmla="*/ 170780 h 216024"/>
              <a:gd name="connsiteX1" fmla="*/ 106394 w 628452"/>
              <a:gd name="connsiteY1" fmla="*/ 0 h 216024"/>
              <a:gd name="connsiteX2" fmla="*/ 628452 w 628452"/>
              <a:gd name="connsiteY2" fmla="*/ 0 h 216024"/>
              <a:gd name="connsiteX3" fmla="*/ 574446 w 628452"/>
              <a:gd name="connsiteY3" fmla="*/ 216024 h 216024"/>
              <a:gd name="connsiteX4" fmla="*/ 0 w 628452"/>
              <a:gd name="connsiteY4" fmla="*/ 170780 h 216024"/>
              <a:gd name="connsiteX0" fmla="*/ 0 w 628452"/>
              <a:gd name="connsiteY0" fmla="*/ 170780 h 216024"/>
              <a:gd name="connsiteX1" fmla="*/ 92106 w 628452"/>
              <a:gd name="connsiteY1" fmla="*/ 0 h 216024"/>
              <a:gd name="connsiteX2" fmla="*/ 628452 w 628452"/>
              <a:gd name="connsiteY2" fmla="*/ 0 h 216024"/>
              <a:gd name="connsiteX3" fmla="*/ 574446 w 628452"/>
              <a:gd name="connsiteY3" fmla="*/ 216024 h 216024"/>
              <a:gd name="connsiteX4" fmla="*/ 0 w 628452"/>
              <a:gd name="connsiteY4" fmla="*/ 170780 h 216024"/>
              <a:gd name="connsiteX0" fmla="*/ 0 w 1623815"/>
              <a:gd name="connsiteY0" fmla="*/ 170780 h 216024"/>
              <a:gd name="connsiteX1" fmla="*/ 92106 w 1623815"/>
              <a:gd name="connsiteY1" fmla="*/ 0 h 216024"/>
              <a:gd name="connsiteX2" fmla="*/ 1623815 w 1623815"/>
              <a:gd name="connsiteY2" fmla="*/ 16669 h 216024"/>
              <a:gd name="connsiteX3" fmla="*/ 574446 w 1623815"/>
              <a:gd name="connsiteY3" fmla="*/ 216024 h 216024"/>
              <a:gd name="connsiteX4" fmla="*/ 0 w 1623815"/>
              <a:gd name="connsiteY4" fmla="*/ 170780 h 216024"/>
              <a:gd name="connsiteX0" fmla="*/ 0 w 1623815"/>
              <a:gd name="connsiteY0" fmla="*/ 170780 h 192212"/>
              <a:gd name="connsiteX1" fmla="*/ 92106 w 1623815"/>
              <a:gd name="connsiteY1" fmla="*/ 0 h 192212"/>
              <a:gd name="connsiteX2" fmla="*/ 1623815 w 1623815"/>
              <a:gd name="connsiteY2" fmla="*/ 16669 h 192212"/>
              <a:gd name="connsiteX3" fmla="*/ 1615052 w 1623815"/>
              <a:gd name="connsiteY3" fmla="*/ 192212 h 192212"/>
              <a:gd name="connsiteX4" fmla="*/ 0 w 1623815"/>
              <a:gd name="connsiteY4" fmla="*/ 170780 h 192212"/>
              <a:gd name="connsiteX0" fmla="*/ 0 w 1623815"/>
              <a:gd name="connsiteY0" fmla="*/ 170780 h 192212"/>
              <a:gd name="connsiteX1" fmla="*/ 92106 w 1623815"/>
              <a:gd name="connsiteY1" fmla="*/ 0 h 192212"/>
              <a:gd name="connsiteX2" fmla="*/ 1623815 w 1623815"/>
              <a:gd name="connsiteY2" fmla="*/ 16669 h 192212"/>
              <a:gd name="connsiteX3" fmla="*/ 1615052 w 1623815"/>
              <a:gd name="connsiteY3" fmla="*/ 192212 h 192212"/>
              <a:gd name="connsiteX4" fmla="*/ 982092 w 1623815"/>
              <a:gd name="connsiteY4" fmla="*/ 187052 h 192212"/>
              <a:gd name="connsiteX5" fmla="*/ 0 w 1623815"/>
              <a:gd name="connsiteY5" fmla="*/ 170780 h 192212"/>
              <a:gd name="connsiteX0" fmla="*/ 0 w 1623815"/>
              <a:gd name="connsiteY0" fmla="*/ 170780 h 192212"/>
              <a:gd name="connsiteX1" fmla="*/ 92106 w 1623815"/>
              <a:gd name="connsiteY1" fmla="*/ 0 h 192212"/>
              <a:gd name="connsiteX2" fmla="*/ 1623815 w 1623815"/>
              <a:gd name="connsiteY2" fmla="*/ 16669 h 192212"/>
              <a:gd name="connsiteX3" fmla="*/ 1615052 w 1623815"/>
              <a:gd name="connsiteY3" fmla="*/ 192212 h 192212"/>
              <a:gd name="connsiteX4" fmla="*/ 879698 w 1623815"/>
              <a:gd name="connsiteY4" fmla="*/ 187052 h 192212"/>
              <a:gd name="connsiteX5" fmla="*/ 0 w 1623815"/>
              <a:gd name="connsiteY5" fmla="*/ 170780 h 192212"/>
              <a:gd name="connsiteX0" fmla="*/ 0 w 1623815"/>
              <a:gd name="connsiteY0" fmla="*/ 170780 h 192212"/>
              <a:gd name="connsiteX1" fmla="*/ 92106 w 1623815"/>
              <a:gd name="connsiteY1" fmla="*/ 0 h 192212"/>
              <a:gd name="connsiteX2" fmla="*/ 1623815 w 1623815"/>
              <a:gd name="connsiteY2" fmla="*/ 16669 h 192212"/>
              <a:gd name="connsiteX3" fmla="*/ 1615052 w 1623815"/>
              <a:gd name="connsiteY3" fmla="*/ 192212 h 192212"/>
              <a:gd name="connsiteX4" fmla="*/ 879698 w 1623815"/>
              <a:gd name="connsiteY4" fmla="*/ 187052 h 192212"/>
              <a:gd name="connsiteX5" fmla="*/ 758255 w 1623815"/>
              <a:gd name="connsiteY5" fmla="*/ 179908 h 192212"/>
              <a:gd name="connsiteX6" fmla="*/ 0 w 1623815"/>
              <a:gd name="connsiteY6" fmla="*/ 170780 h 192212"/>
              <a:gd name="connsiteX0" fmla="*/ 0 w 1623815"/>
              <a:gd name="connsiteY0" fmla="*/ 170780 h 298971"/>
              <a:gd name="connsiteX1" fmla="*/ 92106 w 1623815"/>
              <a:gd name="connsiteY1" fmla="*/ 0 h 298971"/>
              <a:gd name="connsiteX2" fmla="*/ 1623815 w 1623815"/>
              <a:gd name="connsiteY2" fmla="*/ 16669 h 298971"/>
              <a:gd name="connsiteX3" fmla="*/ 1615052 w 1623815"/>
              <a:gd name="connsiteY3" fmla="*/ 192212 h 298971"/>
              <a:gd name="connsiteX4" fmla="*/ 879698 w 1623815"/>
              <a:gd name="connsiteY4" fmla="*/ 187052 h 298971"/>
              <a:gd name="connsiteX5" fmla="*/ 851124 w 1623815"/>
              <a:gd name="connsiteY5" fmla="*/ 298971 h 298971"/>
              <a:gd name="connsiteX6" fmla="*/ 0 w 1623815"/>
              <a:gd name="connsiteY6" fmla="*/ 170780 h 298971"/>
              <a:gd name="connsiteX0" fmla="*/ 0 w 1623815"/>
              <a:gd name="connsiteY0" fmla="*/ 170780 h 298971"/>
              <a:gd name="connsiteX1" fmla="*/ 92106 w 1623815"/>
              <a:gd name="connsiteY1" fmla="*/ 0 h 298971"/>
              <a:gd name="connsiteX2" fmla="*/ 1623815 w 1623815"/>
              <a:gd name="connsiteY2" fmla="*/ 16669 h 298971"/>
              <a:gd name="connsiteX3" fmla="*/ 1615052 w 1623815"/>
              <a:gd name="connsiteY3" fmla="*/ 192212 h 298971"/>
              <a:gd name="connsiteX4" fmla="*/ 879698 w 1623815"/>
              <a:gd name="connsiteY4" fmla="*/ 187052 h 298971"/>
              <a:gd name="connsiteX5" fmla="*/ 851124 w 1623815"/>
              <a:gd name="connsiteY5" fmla="*/ 298971 h 298971"/>
              <a:gd name="connsiteX6" fmla="*/ 517749 w 1623815"/>
              <a:gd name="connsiteY6" fmla="*/ 248965 h 298971"/>
              <a:gd name="connsiteX7" fmla="*/ 0 w 1623815"/>
              <a:gd name="connsiteY7" fmla="*/ 170780 h 298971"/>
              <a:gd name="connsiteX0" fmla="*/ 0 w 1623815"/>
              <a:gd name="connsiteY0" fmla="*/ 170780 h 298971"/>
              <a:gd name="connsiteX1" fmla="*/ 92106 w 1623815"/>
              <a:gd name="connsiteY1" fmla="*/ 0 h 298971"/>
              <a:gd name="connsiteX2" fmla="*/ 1623815 w 1623815"/>
              <a:gd name="connsiteY2" fmla="*/ 16669 h 298971"/>
              <a:gd name="connsiteX3" fmla="*/ 1615052 w 1623815"/>
              <a:gd name="connsiteY3" fmla="*/ 192212 h 298971"/>
              <a:gd name="connsiteX4" fmla="*/ 879698 w 1623815"/>
              <a:gd name="connsiteY4" fmla="*/ 187052 h 298971"/>
              <a:gd name="connsiteX5" fmla="*/ 851124 w 1623815"/>
              <a:gd name="connsiteY5" fmla="*/ 298971 h 298971"/>
              <a:gd name="connsiteX6" fmla="*/ 439168 w 1623815"/>
              <a:gd name="connsiteY6" fmla="*/ 172765 h 298971"/>
              <a:gd name="connsiteX7" fmla="*/ 0 w 1623815"/>
              <a:gd name="connsiteY7" fmla="*/ 170780 h 298971"/>
              <a:gd name="connsiteX0" fmla="*/ 0 w 1623815"/>
              <a:gd name="connsiteY0" fmla="*/ 170780 h 298971"/>
              <a:gd name="connsiteX1" fmla="*/ 92106 w 1623815"/>
              <a:gd name="connsiteY1" fmla="*/ 0 h 298971"/>
              <a:gd name="connsiteX2" fmla="*/ 1623815 w 1623815"/>
              <a:gd name="connsiteY2" fmla="*/ 16669 h 298971"/>
              <a:gd name="connsiteX3" fmla="*/ 1615052 w 1623815"/>
              <a:gd name="connsiteY3" fmla="*/ 192212 h 298971"/>
              <a:gd name="connsiteX4" fmla="*/ 879698 w 1623815"/>
              <a:gd name="connsiteY4" fmla="*/ 187052 h 298971"/>
              <a:gd name="connsiteX5" fmla="*/ 851124 w 1623815"/>
              <a:gd name="connsiteY5" fmla="*/ 298971 h 298971"/>
              <a:gd name="connsiteX6" fmla="*/ 667767 w 1623815"/>
              <a:gd name="connsiteY6" fmla="*/ 246583 h 298971"/>
              <a:gd name="connsiteX7" fmla="*/ 439168 w 1623815"/>
              <a:gd name="connsiteY7" fmla="*/ 172765 h 298971"/>
              <a:gd name="connsiteX8" fmla="*/ 0 w 1623815"/>
              <a:gd name="connsiteY8" fmla="*/ 170780 h 298971"/>
              <a:gd name="connsiteX0" fmla="*/ 0 w 1623815"/>
              <a:gd name="connsiteY0" fmla="*/ 170780 h 298971"/>
              <a:gd name="connsiteX1" fmla="*/ 92106 w 1623815"/>
              <a:gd name="connsiteY1" fmla="*/ 0 h 298971"/>
              <a:gd name="connsiteX2" fmla="*/ 1623815 w 1623815"/>
              <a:gd name="connsiteY2" fmla="*/ 16669 h 298971"/>
              <a:gd name="connsiteX3" fmla="*/ 1615052 w 1623815"/>
              <a:gd name="connsiteY3" fmla="*/ 192212 h 298971"/>
              <a:gd name="connsiteX4" fmla="*/ 879698 w 1623815"/>
              <a:gd name="connsiteY4" fmla="*/ 187052 h 298971"/>
              <a:gd name="connsiteX5" fmla="*/ 851124 w 1623815"/>
              <a:gd name="connsiteY5" fmla="*/ 298971 h 298971"/>
              <a:gd name="connsiteX6" fmla="*/ 398686 w 1623815"/>
              <a:gd name="connsiteY6" fmla="*/ 296590 h 298971"/>
              <a:gd name="connsiteX7" fmla="*/ 439168 w 1623815"/>
              <a:gd name="connsiteY7" fmla="*/ 172765 h 298971"/>
              <a:gd name="connsiteX8" fmla="*/ 0 w 1623815"/>
              <a:gd name="connsiteY8" fmla="*/ 170780 h 298971"/>
              <a:gd name="connsiteX0" fmla="*/ 0 w 1623815"/>
              <a:gd name="connsiteY0" fmla="*/ 170780 h 298971"/>
              <a:gd name="connsiteX1" fmla="*/ 92106 w 1623815"/>
              <a:gd name="connsiteY1" fmla="*/ 0 h 298971"/>
              <a:gd name="connsiteX2" fmla="*/ 1623815 w 1623815"/>
              <a:gd name="connsiteY2" fmla="*/ 16669 h 298971"/>
              <a:gd name="connsiteX3" fmla="*/ 1615052 w 1623815"/>
              <a:gd name="connsiteY3" fmla="*/ 192212 h 298971"/>
              <a:gd name="connsiteX4" fmla="*/ 879698 w 1623815"/>
              <a:gd name="connsiteY4" fmla="*/ 187052 h 298971"/>
              <a:gd name="connsiteX5" fmla="*/ 851124 w 1623815"/>
              <a:gd name="connsiteY5" fmla="*/ 298971 h 298971"/>
              <a:gd name="connsiteX6" fmla="*/ 398686 w 1623815"/>
              <a:gd name="connsiteY6" fmla="*/ 296590 h 298971"/>
              <a:gd name="connsiteX7" fmla="*/ 443930 w 1623815"/>
              <a:gd name="connsiteY7" fmla="*/ 175146 h 298971"/>
              <a:gd name="connsiteX8" fmla="*/ 0 w 1623815"/>
              <a:gd name="connsiteY8" fmla="*/ 170780 h 298971"/>
              <a:gd name="connsiteX0" fmla="*/ 0 w 1626196"/>
              <a:gd name="connsiteY0" fmla="*/ 170780 h 298971"/>
              <a:gd name="connsiteX1" fmla="*/ 92106 w 1626196"/>
              <a:gd name="connsiteY1" fmla="*/ 0 h 298971"/>
              <a:gd name="connsiteX2" fmla="*/ 1626196 w 1626196"/>
              <a:gd name="connsiteY2" fmla="*/ 14287 h 298971"/>
              <a:gd name="connsiteX3" fmla="*/ 1615052 w 1626196"/>
              <a:gd name="connsiteY3" fmla="*/ 192212 h 298971"/>
              <a:gd name="connsiteX4" fmla="*/ 879698 w 1626196"/>
              <a:gd name="connsiteY4" fmla="*/ 187052 h 298971"/>
              <a:gd name="connsiteX5" fmla="*/ 851124 w 1626196"/>
              <a:gd name="connsiteY5" fmla="*/ 298971 h 298971"/>
              <a:gd name="connsiteX6" fmla="*/ 398686 w 1626196"/>
              <a:gd name="connsiteY6" fmla="*/ 296590 h 298971"/>
              <a:gd name="connsiteX7" fmla="*/ 443930 w 1626196"/>
              <a:gd name="connsiteY7" fmla="*/ 175146 h 298971"/>
              <a:gd name="connsiteX8" fmla="*/ 0 w 1626196"/>
              <a:gd name="connsiteY8" fmla="*/ 170780 h 298971"/>
              <a:gd name="connsiteX0" fmla="*/ 0 w 1608270"/>
              <a:gd name="connsiteY0" fmla="*/ 166017 h 298971"/>
              <a:gd name="connsiteX1" fmla="*/ 74180 w 1608270"/>
              <a:gd name="connsiteY1" fmla="*/ 0 h 298971"/>
              <a:gd name="connsiteX2" fmla="*/ 1608270 w 1608270"/>
              <a:gd name="connsiteY2" fmla="*/ 14287 h 298971"/>
              <a:gd name="connsiteX3" fmla="*/ 1597126 w 1608270"/>
              <a:gd name="connsiteY3" fmla="*/ 192212 h 298971"/>
              <a:gd name="connsiteX4" fmla="*/ 861772 w 1608270"/>
              <a:gd name="connsiteY4" fmla="*/ 187052 h 298971"/>
              <a:gd name="connsiteX5" fmla="*/ 833198 w 1608270"/>
              <a:gd name="connsiteY5" fmla="*/ 298971 h 298971"/>
              <a:gd name="connsiteX6" fmla="*/ 380760 w 1608270"/>
              <a:gd name="connsiteY6" fmla="*/ 296590 h 298971"/>
              <a:gd name="connsiteX7" fmla="*/ 426004 w 1608270"/>
              <a:gd name="connsiteY7" fmla="*/ 175146 h 298971"/>
              <a:gd name="connsiteX8" fmla="*/ 0 w 1608270"/>
              <a:gd name="connsiteY8" fmla="*/ 166017 h 298971"/>
              <a:gd name="connsiteX0" fmla="*/ 0 w 1608270"/>
              <a:gd name="connsiteY0" fmla="*/ 166017 h 298971"/>
              <a:gd name="connsiteX1" fmla="*/ 74180 w 1608270"/>
              <a:gd name="connsiteY1" fmla="*/ 0 h 298971"/>
              <a:gd name="connsiteX2" fmla="*/ 1608270 w 1608270"/>
              <a:gd name="connsiteY2" fmla="*/ 14287 h 298971"/>
              <a:gd name="connsiteX3" fmla="*/ 1597126 w 1608270"/>
              <a:gd name="connsiteY3" fmla="*/ 192212 h 298971"/>
              <a:gd name="connsiteX4" fmla="*/ 861772 w 1608270"/>
              <a:gd name="connsiteY4" fmla="*/ 187052 h 298971"/>
              <a:gd name="connsiteX5" fmla="*/ 833198 w 1608270"/>
              <a:gd name="connsiteY5" fmla="*/ 298971 h 298971"/>
              <a:gd name="connsiteX6" fmla="*/ 380760 w 1608270"/>
              <a:gd name="connsiteY6" fmla="*/ 296590 h 298971"/>
              <a:gd name="connsiteX7" fmla="*/ 466336 w 1608270"/>
              <a:gd name="connsiteY7" fmla="*/ 184671 h 298971"/>
              <a:gd name="connsiteX8" fmla="*/ 0 w 1608270"/>
              <a:gd name="connsiteY8" fmla="*/ 166017 h 298971"/>
              <a:gd name="connsiteX0" fmla="*/ 0 w 1608270"/>
              <a:gd name="connsiteY0" fmla="*/ 166017 h 298971"/>
              <a:gd name="connsiteX1" fmla="*/ 74180 w 1608270"/>
              <a:gd name="connsiteY1" fmla="*/ 0 h 298971"/>
              <a:gd name="connsiteX2" fmla="*/ 1608270 w 1608270"/>
              <a:gd name="connsiteY2" fmla="*/ 14287 h 298971"/>
              <a:gd name="connsiteX3" fmla="*/ 1597126 w 1608270"/>
              <a:gd name="connsiteY3" fmla="*/ 192212 h 298971"/>
              <a:gd name="connsiteX4" fmla="*/ 861772 w 1608270"/>
              <a:gd name="connsiteY4" fmla="*/ 187052 h 298971"/>
              <a:gd name="connsiteX5" fmla="*/ 833198 w 1608270"/>
              <a:gd name="connsiteY5" fmla="*/ 298971 h 298971"/>
              <a:gd name="connsiteX6" fmla="*/ 380760 w 1608270"/>
              <a:gd name="connsiteY6" fmla="*/ 296590 h 298971"/>
              <a:gd name="connsiteX7" fmla="*/ 468577 w 1608270"/>
              <a:gd name="connsiteY7" fmla="*/ 175146 h 298971"/>
              <a:gd name="connsiteX8" fmla="*/ 0 w 1608270"/>
              <a:gd name="connsiteY8" fmla="*/ 166017 h 298971"/>
              <a:gd name="connsiteX0" fmla="*/ 0 w 1608270"/>
              <a:gd name="connsiteY0" fmla="*/ 166017 h 301352"/>
              <a:gd name="connsiteX1" fmla="*/ 74180 w 1608270"/>
              <a:gd name="connsiteY1" fmla="*/ 0 h 301352"/>
              <a:gd name="connsiteX2" fmla="*/ 1608270 w 1608270"/>
              <a:gd name="connsiteY2" fmla="*/ 14287 h 301352"/>
              <a:gd name="connsiteX3" fmla="*/ 1597126 w 1608270"/>
              <a:gd name="connsiteY3" fmla="*/ 192212 h 301352"/>
              <a:gd name="connsiteX4" fmla="*/ 861772 w 1608270"/>
              <a:gd name="connsiteY4" fmla="*/ 187052 h 301352"/>
              <a:gd name="connsiteX5" fmla="*/ 833198 w 1608270"/>
              <a:gd name="connsiteY5" fmla="*/ 298971 h 301352"/>
              <a:gd name="connsiteX6" fmla="*/ 423334 w 1608270"/>
              <a:gd name="connsiteY6" fmla="*/ 301352 h 301352"/>
              <a:gd name="connsiteX7" fmla="*/ 468577 w 1608270"/>
              <a:gd name="connsiteY7" fmla="*/ 175146 h 301352"/>
              <a:gd name="connsiteX8" fmla="*/ 0 w 1608270"/>
              <a:gd name="connsiteY8" fmla="*/ 166017 h 301352"/>
              <a:gd name="connsiteX0" fmla="*/ 0 w 1608270"/>
              <a:gd name="connsiteY0" fmla="*/ 166017 h 310877"/>
              <a:gd name="connsiteX1" fmla="*/ 74180 w 1608270"/>
              <a:gd name="connsiteY1" fmla="*/ 0 h 310877"/>
              <a:gd name="connsiteX2" fmla="*/ 1608270 w 1608270"/>
              <a:gd name="connsiteY2" fmla="*/ 14287 h 310877"/>
              <a:gd name="connsiteX3" fmla="*/ 1597126 w 1608270"/>
              <a:gd name="connsiteY3" fmla="*/ 192212 h 310877"/>
              <a:gd name="connsiteX4" fmla="*/ 861772 w 1608270"/>
              <a:gd name="connsiteY4" fmla="*/ 187052 h 310877"/>
              <a:gd name="connsiteX5" fmla="*/ 837679 w 1608270"/>
              <a:gd name="connsiteY5" fmla="*/ 310877 h 310877"/>
              <a:gd name="connsiteX6" fmla="*/ 423334 w 1608270"/>
              <a:gd name="connsiteY6" fmla="*/ 301352 h 310877"/>
              <a:gd name="connsiteX7" fmla="*/ 468577 w 1608270"/>
              <a:gd name="connsiteY7" fmla="*/ 175146 h 310877"/>
              <a:gd name="connsiteX8" fmla="*/ 0 w 1608270"/>
              <a:gd name="connsiteY8" fmla="*/ 166017 h 310877"/>
              <a:gd name="connsiteX0" fmla="*/ 0 w 1612811"/>
              <a:gd name="connsiteY0" fmla="*/ 166017 h 310877"/>
              <a:gd name="connsiteX1" fmla="*/ 74180 w 1612811"/>
              <a:gd name="connsiteY1" fmla="*/ 0 h 310877"/>
              <a:gd name="connsiteX2" fmla="*/ 1608270 w 1612811"/>
              <a:gd name="connsiteY2" fmla="*/ 14287 h 310877"/>
              <a:gd name="connsiteX3" fmla="*/ 1612811 w 1612811"/>
              <a:gd name="connsiteY3" fmla="*/ 192212 h 310877"/>
              <a:gd name="connsiteX4" fmla="*/ 861772 w 1612811"/>
              <a:gd name="connsiteY4" fmla="*/ 187052 h 310877"/>
              <a:gd name="connsiteX5" fmla="*/ 837679 w 1612811"/>
              <a:gd name="connsiteY5" fmla="*/ 310877 h 310877"/>
              <a:gd name="connsiteX6" fmla="*/ 423334 w 1612811"/>
              <a:gd name="connsiteY6" fmla="*/ 301352 h 310877"/>
              <a:gd name="connsiteX7" fmla="*/ 468577 w 1612811"/>
              <a:gd name="connsiteY7" fmla="*/ 175146 h 310877"/>
              <a:gd name="connsiteX8" fmla="*/ 0 w 1612811"/>
              <a:gd name="connsiteY8" fmla="*/ 166017 h 310877"/>
              <a:gd name="connsiteX0" fmla="*/ 0 w 1623955"/>
              <a:gd name="connsiteY0" fmla="*/ 166017 h 310877"/>
              <a:gd name="connsiteX1" fmla="*/ 74180 w 1623955"/>
              <a:gd name="connsiteY1" fmla="*/ 0 h 310877"/>
              <a:gd name="connsiteX2" fmla="*/ 1623955 w 1623955"/>
              <a:gd name="connsiteY2" fmla="*/ 14287 h 310877"/>
              <a:gd name="connsiteX3" fmla="*/ 1612811 w 1623955"/>
              <a:gd name="connsiteY3" fmla="*/ 192212 h 310877"/>
              <a:gd name="connsiteX4" fmla="*/ 861772 w 1623955"/>
              <a:gd name="connsiteY4" fmla="*/ 187052 h 310877"/>
              <a:gd name="connsiteX5" fmla="*/ 837679 w 1623955"/>
              <a:gd name="connsiteY5" fmla="*/ 310877 h 310877"/>
              <a:gd name="connsiteX6" fmla="*/ 423334 w 1623955"/>
              <a:gd name="connsiteY6" fmla="*/ 301352 h 310877"/>
              <a:gd name="connsiteX7" fmla="*/ 468577 w 1623955"/>
              <a:gd name="connsiteY7" fmla="*/ 175146 h 310877"/>
              <a:gd name="connsiteX8" fmla="*/ 0 w 1623955"/>
              <a:gd name="connsiteY8" fmla="*/ 166017 h 3108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23955" h="310877">
                <a:moveTo>
                  <a:pt x="0" y="166017"/>
                </a:moveTo>
                <a:lnTo>
                  <a:pt x="74180" y="0"/>
                </a:lnTo>
                <a:lnTo>
                  <a:pt x="1623955" y="14287"/>
                </a:lnTo>
                <a:lnTo>
                  <a:pt x="1612811" y="192212"/>
                </a:lnTo>
                <a:lnTo>
                  <a:pt x="861772" y="187052"/>
                </a:lnTo>
                <a:lnTo>
                  <a:pt x="837679" y="310877"/>
                </a:lnTo>
                <a:lnTo>
                  <a:pt x="423334" y="301352"/>
                </a:lnTo>
                <a:lnTo>
                  <a:pt x="468577" y="175146"/>
                </a:lnTo>
                <a:lnTo>
                  <a:pt x="0" y="166017"/>
                </a:lnTo>
                <a:close/>
              </a:path>
            </a:pathLst>
          </a:custGeom>
          <a:solidFill>
            <a:schemeClr val="accent5">
              <a:lumMod val="75000"/>
              <a:alpha val="60000"/>
            </a:schemeClr>
          </a:solidFill>
          <a:ln w="1270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sp>
        <p:nvSpPr>
          <p:cNvPr id="34" name="Параллелограмм 3"/>
          <p:cNvSpPr/>
          <p:nvPr/>
        </p:nvSpPr>
        <p:spPr>
          <a:xfrm>
            <a:off x="3818722" y="2125267"/>
            <a:ext cx="1108697" cy="416343"/>
          </a:xfrm>
          <a:custGeom>
            <a:avLst/>
            <a:gdLst>
              <a:gd name="connsiteX0" fmla="*/ 0 w 700459"/>
              <a:gd name="connsiteY0" fmla="*/ 412564 h 412564"/>
              <a:gd name="connsiteX1" fmla="*/ 103141 w 700459"/>
              <a:gd name="connsiteY1" fmla="*/ 0 h 412564"/>
              <a:gd name="connsiteX2" fmla="*/ 700459 w 700459"/>
              <a:gd name="connsiteY2" fmla="*/ 0 h 412564"/>
              <a:gd name="connsiteX3" fmla="*/ 597318 w 700459"/>
              <a:gd name="connsiteY3" fmla="*/ 412564 h 412564"/>
              <a:gd name="connsiteX4" fmla="*/ 0 w 700459"/>
              <a:gd name="connsiteY4" fmla="*/ 412564 h 412564"/>
              <a:gd name="connsiteX0" fmla="*/ 0 w 755228"/>
              <a:gd name="connsiteY0" fmla="*/ 403039 h 412564"/>
              <a:gd name="connsiteX1" fmla="*/ 157910 w 755228"/>
              <a:gd name="connsiteY1" fmla="*/ 0 h 412564"/>
              <a:gd name="connsiteX2" fmla="*/ 755228 w 755228"/>
              <a:gd name="connsiteY2" fmla="*/ 0 h 412564"/>
              <a:gd name="connsiteX3" fmla="*/ 652087 w 755228"/>
              <a:gd name="connsiteY3" fmla="*/ 412564 h 412564"/>
              <a:gd name="connsiteX4" fmla="*/ 0 w 755228"/>
              <a:gd name="connsiteY4" fmla="*/ 403039 h 412564"/>
              <a:gd name="connsiteX0" fmla="*/ 0 w 994987"/>
              <a:gd name="connsiteY0" fmla="*/ 403039 h 419708"/>
              <a:gd name="connsiteX1" fmla="*/ 157910 w 994987"/>
              <a:gd name="connsiteY1" fmla="*/ 0 h 419708"/>
              <a:gd name="connsiteX2" fmla="*/ 755228 w 994987"/>
              <a:gd name="connsiteY2" fmla="*/ 0 h 419708"/>
              <a:gd name="connsiteX3" fmla="*/ 994987 w 994987"/>
              <a:gd name="connsiteY3" fmla="*/ 419708 h 419708"/>
              <a:gd name="connsiteX4" fmla="*/ 0 w 994987"/>
              <a:gd name="connsiteY4" fmla="*/ 403039 h 419708"/>
              <a:gd name="connsiteX0" fmla="*/ 0 w 1062409"/>
              <a:gd name="connsiteY0" fmla="*/ 403039 h 419708"/>
              <a:gd name="connsiteX1" fmla="*/ 157910 w 1062409"/>
              <a:gd name="connsiteY1" fmla="*/ 0 h 419708"/>
              <a:gd name="connsiteX2" fmla="*/ 1062409 w 1062409"/>
              <a:gd name="connsiteY2" fmla="*/ 164306 h 419708"/>
              <a:gd name="connsiteX3" fmla="*/ 994987 w 1062409"/>
              <a:gd name="connsiteY3" fmla="*/ 419708 h 419708"/>
              <a:gd name="connsiteX4" fmla="*/ 0 w 1062409"/>
              <a:gd name="connsiteY4" fmla="*/ 403039 h 419708"/>
              <a:gd name="connsiteX0" fmla="*/ 0 w 1062409"/>
              <a:gd name="connsiteY0" fmla="*/ 403039 h 419708"/>
              <a:gd name="connsiteX1" fmla="*/ 157910 w 1062409"/>
              <a:gd name="connsiteY1" fmla="*/ 0 h 419708"/>
              <a:gd name="connsiteX2" fmla="*/ 1062409 w 1062409"/>
              <a:gd name="connsiteY2" fmla="*/ 161924 h 419708"/>
              <a:gd name="connsiteX3" fmla="*/ 994987 w 1062409"/>
              <a:gd name="connsiteY3" fmla="*/ 419708 h 419708"/>
              <a:gd name="connsiteX4" fmla="*/ 0 w 1062409"/>
              <a:gd name="connsiteY4" fmla="*/ 403039 h 419708"/>
              <a:gd name="connsiteX0" fmla="*/ 0 w 1062409"/>
              <a:gd name="connsiteY0" fmla="*/ 403039 h 419708"/>
              <a:gd name="connsiteX1" fmla="*/ 157910 w 1062409"/>
              <a:gd name="connsiteY1" fmla="*/ 0 h 419708"/>
              <a:gd name="connsiteX2" fmla="*/ 631379 w 1062409"/>
              <a:gd name="connsiteY2" fmla="*/ 80702 h 419708"/>
              <a:gd name="connsiteX3" fmla="*/ 1062409 w 1062409"/>
              <a:gd name="connsiteY3" fmla="*/ 161924 h 419708"/>
              <a:gd name="connsiteX4" fmla="*/ 994987 w 1062409"/>
              <a:gd name="connsiteY4" fmla="*/ 419708 h 419708"/>
              <a:gd name="connsiteX5" fmla="*/ 0 w 1062409"/>
              <a:gd name="connsiteY5" fmla="*/ 403039 h 419708"/>
              <a:gd name="connsiteX0" fmla="*/ 0 w 1062409"/>
              <a:gd name="connsiteY0" fmla="*/ 403039 h 419708"/>
              <a:gd name="connsiteX1" fmla="*/ 157910 w 1062409"/>
              <a:gd name="connsiteY1" fmla="*/ 0 h 419708"/>
              <a:gd name="connsiteX2" fmla="*/ 590898 w 1062409"/>
              <a:gd name="connsiteY2" fmla="*/ 149759 h 419708"/>
              <a:gd name="connsiteX3" fmla="*/ 1062409 w 1062409"/>
              <a:gd name="connsiteY3" fmla="*/ 161924 h 419708"/>
              <a:gd name="connsiteX4" fmla="*/ 994987 w 1062409"/>
              <a:gd name="connsiteY4" fmla="*/ 419708 h 419708"/>
              <a:gd name="connsiteX5" fmla="*/ 0 w 1062409"/>
              <a:gd name="connsiteY5" fmla="*/ 403039 h 419708"/>
              <a:gd name="connsiteX0" fmla="*/ 0 w 1062409"/>
              <a:gd name="connsiteY0" fmla="*/ 376845 h 393514"/>
              <a:gd name="connsiteX1" fmla="*/ 212679 w 1062409"/>
              <a:gd name="connsiteY1" fmla="*/ 0 h 393514"/>
              <a:gd name="connsiteX2" fmla="*/ 590898 w 1062409"/>
              <a:gd name="connsiteY2" fmla="*/ 123565 h 393514"/>
              <a:gd name="connsiteX3" fmla="*/ 1062409 w 1062409"/>
              <a:gd name="connsiteY3" fmla="*/ 135730 h 393514"/>
              <a:gd name="connsiteX4" fmla="*/ 994987 w 1062409"/>
              <a:gd name="connsiteY4" fmla="*/ 393514 h 393514"/>
              <a:gd name="connsiteX5" fmla="*/ 0 w 1062409"/>
              <a:gd name="connsiteY5" fmla="*/ 376845 h 393514"/>
              <a:gd name="connsiteX0" fmla="*/ 0 w 1062409"/>
              <a:gd name="connsiteY0" fmla="*/ 376845 h 393514"/>
              <a:gd name="connsiteX1" fmla="*/ 212679 w 1062409"/>
              <a:gd name="connsiteY1" fmla="*/ 0 h 393514"/>
              <a:gd name="connsiteX2" fmla="*/ 371822 w 1062409"/>
              <a:gd name="connsiteY2" fmla="*/ 56889 h 393514"/>
              <a:gd name="connsiteX3" fmla="*/ 590898 w 1062409"/>
              <a:gd name="connsiteY3" fmla="*/ 123565 h 393514"/>
              <a:gd name="connsiteX4" fmla="*/ 1062409 w 1062409"/>
              <a:gd name="connsiteY4" fmla="*/ 135730 h 393514"/>
              <a:gd name="connsiteX5" fmla="*/ 994987 w 1062409"/>
              <a:gd name="connsiteY5" fmla="*/ 393514 h 393514"/>
              <a:gd name="connsiteX6" fmla="*/ 0 w 1062409"/>
              <a:gd name="connsiteY6" fmla="*/ 376845 h 393514"/>
              <a:gd name="connsiteX0" fmla="*/ 0 w 1062409"/>
              <a:gd name="connsiteY0" fmla="*/ 376845 h 393514"/>
              <a:gd name="connsiteX1" fmla="*/ 212679 w 1062409"/>
              <a:gd name="connsiteY1" fmla="*/ 0 h 393514"/>
              <a:gd name="connsiteX2" fmla="*/ 650428 w 1062409"/>
              <a:gd name="connsiteY2" fmla="*/ 4502 h 393514"/>
              <a:gd name="connsiteX3" fmla="*/ 590898 w 1062409"/>
              <a:gd name="connsiteY3" fmla="*/ 123565 h 393514"/>
              <a:gd name="connsiteX4" fmla="*/ 1062409 w 1062409"/>
              <a:gd name="connsiteY4" fmla="*/ 135730 h 393514"/>
              <a:gd name="connsiteX5" fmla="*/ 994987 w 1062409"/>
              <a:gd name="connsiteY5" fmla="*/ 393514 h 393514"/>
              <a:gd name="connsiteX6" fmla="*/ 0 w 1062409"/>
              <a:gd name="connsiteY6" fmla="*/ 376845 h 393514"/>
              <a:gd name="connsiteX0" fmla="*/ 0 w 1062409"/>
              <a:gd name="connsiteY0" fmla="*/ 376845 h 393514"/>
              <a:gd name="connsiteX1" fmla="*/ 212679 w 1062409"/>
              <a:gd name="connsiteY1" fmla="*/ 0 h 393514"/>
              <a:gd name="connsiteX2" fmla="*/ 636140 w 1062409"/>
              <a:gd name="connsiteY2" fmla="*/ 11645 h 393514"/>
              <a:gd name="connsiteX3" fmla="*/ 590898 w 1062409"/>
              <a:gd name="connsiteY3" fmla="*/ 123565 h 393514"/>
              <a:gd name="connsiteX4" fmla="*/ 1062409 w 1062409"/>
              <a:gd name="connsiteY4" fmla="*/ 135730 h 393514"/>
              <a:gd name="connsiteX5" fmla="*/ 994987 w 1062409"/>
              <a:gd name="connsiteY5" fmla="*/ 393514 h 393514"/>
              <a:gd name="connsiteX6" fmla="*/ 0 w 1062409"/>
              <a:gd name="connsiteY6" fmla="*/ 376845 h 393514"/>
              <a:gd name="connsiteX0" fmla="*/ 0 w 1062409"/>
              <a:gd name="connsiteY0" fmla="*/ 376845 h 393514"/>
              <a:gd name="connsiteX1" fmla="*/ 212679 w 1062409"/>
              <a:gd name="connsiteY1" fmla="*/ 0 h 393514"/>
              <a:gd name="connsiteX2" fmla="*/ 633759 w 1062409"/>
              <a:gd name="connsiteY2" fmla="*/ 11645 h 393514"/>
              <a:gd name="connsiteX3" fmla="*/ 590898 w 1062409"/>
              <a:gd name="connsiteY3" fmla="*/ 123565 h 393514"/>
              <a:gd name="connsiteX4" fmla="*/ 1062409 w 1062409"/>
              <a:gd name="connsiteY4" fmla="*/ 135730 h 393514"/>
              <a:gd name="connsiteX5" fmla="*/ 994987 w 1062409"/>
              <a:gd name="connsiteY5" fmla="*/ 393514 h 393514"/>
              <a:gd name="connsiteX6" fmla="*/ 0 w 1062409"/>
              <a:gd name="connsiteY6" fmla="*/ 376845 h 393514"/>
              <a:gd name="connsiteX0" fmla="*/ 0 w 1062409"/>
              <a:gd name="connsiteY0" fmla="*/ 376845 h 393514"/>
              <a:gd name="connsiteX1" fmla="*/ 212679 w 1062409"/>
              <a:gd name="connsiteY1" fmla="*/ 0 h 393514"/>
              <a:gd name="connsiteX2" fmla="*/ 636140 w 1062409"/>
              <a:gd name="connsiteY2" fmla="*/ 9264 h 393514"/>
              <a:gd name="connsiteX3" fmla="*/ 590898 w 1062409"/>
              <a:gd name="connsiteY3" fmla="*/ 123565 h 393514"/>
              <a:gd name="connsiteX4" fmla="*/ 1062409 w 1062409"/>
              <a:gd name="connsiteY4" fmla="*/ 135730 h 393514"/>
              <a:gd name="connsiteX5" fmla="*/ 994987 w 1062409"/>
              <a:gd name="connsiteY5" fmla="*/ 393514 h 393514"/>
              <a:gd name="connsiteX6" fmla="*/ 0 w 1062409"/>
              <a:gd name="connsiteY6" fmla="*/ 376845 h 393514"/>
              <a:gd name="connsiteX0" fmla="*/ 0 w 1062409"/>
              <a:gd name="connsiteY0" fmla="*/ 376845 h 393514"/>
              <a:gd name="connsiteX1" fmla="*/ 212679 w 1062409"/>
              <a:gd name="connsiteY1" fmla="*/ 0 h 393514"/>
              <a:gd name="connsiteX2" fmla="*/ 633759 w 1062409"/>
              <a:gd name="connsiteY2" fmla="*/ 9264 h 393514"/>
              <a:gd name="connsiteX3" fmla="*/ 590898 w 1062409"/>
              <a:gd name="connsiteY3" fmla="*/ 123565 h 393514"/>
              <a:gd name="connsiteX4" fmla="*/ 1062409 w 1062409"/>
              <a:gd name="connsiteY4" fmla="*/ 135730 h 393514"/>
              <a:gd name="connsiteX5" fmla="*/ 994987 w 1062409"/>
              <a:gd name="connsiteY5" fmla="*/ 393514 h 393514"/>
              <a:gd name="connsiteX6" fmla="*/ 0 w 1062409"/>
              <a:gd name="connsiteY6" fmla="*/ 376845 h 393514"/>
              <a:gd name="connsiteX0" fmla="*/ 0 w 1062409"/>
              <a:gd name="connsiteY0" fmla="*/ 376845 h 393514"/>
              <a:gd name="connsiteX1" fmla="*/ 212679 w 1062409"/>
              <a:gd name="connsiteY1" fmla="*/ 0 h 393514"/>
              <a:gd name="connsiteX2" fmla="*/ 633759 w 1062409"/>
              <a:gd name="connsiteY2" fmla="*/ 9264 h 393514"/>
              <a:gd name="connsiteX3" fmla="*/ 586136 w 1062409"/>
              <a:gd name="connsiteY3" fmla="*/ 125946 h 393514"/>
              <a:gd name="connsiteX4" fmla="*/ 1062409 w 1062409"/>
              <a:gd name="connsiteY4" fmla="*/ 135730 h 393514"/>
              <a:gd name="connsiteX5" fmla="*/ 994987 w 1062409"/>
              <a:gd name="connsiteY5" fmla="*/ 393514 h 393514"/>
              <a:gd name="connsiteX6" fmla="*/ 0 w 1062409"/>
              <a:gd name="connsiteY6" fmla="*/ 376845 h 393514"/>
              <a:gd name="connsiteX0" fmla="*/ 0 w 1062409"/>
              <a:gd name="connsiteY0" fmla="*/ 376845 h 393514"/>
              <a:gd name="connsiteX1" fmla="*/ 212679 w 1062409"/>
              <a:gd name="connsiteY1" fmla="*/ 0 h 393514"/>
              <a:gd name="connsiteX2" fmla="*/ 633759 w 1062409"/>
              <a:gd name="connsiteY2" fmla="*/ 9264 h 393514"/>
              <a:gd name="connsiteX3" fmla="*/ 586136 w 1062409"/>
              <a:gd name="connsiteY3" fmla="*/ 130709 h 393514"/>
              <a:gd name="connsiteX4" fmla="*/ 1062409 w 1062409"/>
              <a:gd name="connsiteY4" fmla="*/ 135730 h 393514"/>
              <a:gd name="connsiteX5" fmla="*/ 994987 w 1062409"/>
              <a:gd name="connsiteY5" fmla="*/ 393514 h 393514"/>
              <a:gd name="connsiteX6" fmla="*/ 0 w 1062409"/>
              <a:gd name="connsiteY6" fmla="*/ 376845 h 393514"/>
              <a:gd name="connsiteX0" fmla="*/ 0 w 1062409"/>
              <a:gd name="connsiteY0" fmla="*/ 376845 h 393514"/>
              <a:gd name="connsiteX1" fmla="*/ 212679 w 1062409"/>
              <a:gd name="connsiteY1" fmla="*/ 0 h 393514"/>
              <a:gd name="connsiteX2" fmla="*/ 633759 w 1062409"/>
              <a:gd name="connsiteY2" fmla="*/ 9264 h 393514"/>
              <a:gd name="connsiteX3" fmla="*/ 586136 w 1062409"/>
              <a:gd name="connsiteY3" fmla="*/ 137852 h 393514"/>
              <a:gd name="connsiteX4" fmla="*/ 1062409 w 1062409"/>
              <a:gd name="connsiteY4" fmla="*/ 135730 h 393514"/>
              <a:gd name="connsiteX5" fmla="*/ 994987 w 1062409"/>
              <a:gd name="connsiteY5" fmla="*/ 393514 h 393514"/>
              <a:gd name="connsiteX6" fmla="*/ 0 w 1062409"/>
              <a:gd name="connsiteY6" fmla="*/ 376845 h 393514"/>
              <a:gd name="connsiteX0" fmla="*/ 0 w 1062409"/>
              <a:gd name="connsiteY0" fmla="*/ 376845 h 393514"/>
              <a:gd name="connsiteX1" fmla="*/ 212679 w 1062409"/>
              <a:gd name="connsiteY1" fmla="*/ 0 h 393514"/>
              <a:gd name="connsiteX2" fmla="*/ 633759 w 1062409"/>
              <a:gd name="connsiteY2" fmla="*/ 9264 h 393514"/>
              <a:gd name="connsiteX3" fmla="*/ 586136 w 1062409"/>
              <a:gd name="connsiteY3" fmla="*/ 128327 h 393514"/>
              <a:gd name="connsiteX4" fmla="*/ 1062409 w 1062409"/>
              <a:gd name="connsiteY4" fmla="*/ 135730 h 393514"/>
              <a:gd name="connsiteX5" fmla="*/ 994987 w 1062409"/>
              <a:gd name="connsiteY5" fmla="*/ 393514 h 393514"/>
              <a:gd name="connsiteX6" fmla="*/ 0 w 1062409"/>
              <a:gd name="connsiteY6" fmla="*/ 376845 h 393514"/>
              <a:gd name="connsiteX0" fmla="*/ 0 w 1051120"/>
              <a:gd name="connsiteY0" fmla="*/ 381320 h 393514"/>
              <a:gd name="connsiteX1" fmla="*/ 201390 w 1051120"/>
              <a:gd name="connsiteY1" fmla="*/ 0 h 393514"/>
              <a:gd name="connsiteX2" fmla="*/ 622470 w 1051120"/>
              <a:gd name="connsiteY2" fmla="*/ 9264 h 393514"/>
              <a:gd name="connsiteX3" fmla="*/ 574847 w 1051120"/>
              <a:gd name="connsiteY3" fmla="*/ 128327 h 393514"/>
              <a:gd name="connsiteX4" fmla="*/ 1051120 w 1051120"/>
              <a:gd name="connsiteY4" fmla="*/ 135730 h 393514"/>
              <a:gd name="connsiteX5" fmla="*/ 983698 w 1051120"/>
              <a:gd name="connsiteY5" fmla="*/ 393514 h 393514"/>
              <a:gd name="connsiteX6" fmla="*/ 0 w 1051120"/>
              <a:gd name="connsiteY6" fmla="*/ 381320 h 393514"/>
              <a:gd name="connsiteX0" fmla="*/ 0 w 1051120"/>
              <a:gd name="connsiteY0" fmla="*/ 379082 h 391276"/>
              <a:gd name="connsiteX1" fmla="*/ 199133 w 1051120"/>
              <a:gd name="connsiteY1" fmla="*/ 0 h 391276"/>
              <a:gd name="connsiteX2" fmla="*/ 622470 w 1051120"/>
              <a:gd name="connsiteY2" fmla="*/ 7026 h 391276"/>
              <a:gd name="connsiteX3" fmla="*/ 574847 w 1051120"/>
              <a:gd name="connsiteY3" fmla="*/ 126089 h 391276"/>
              <a:gd name="connsiteX4" fmla="*/ 1051120 w 1051120"/>
              <a:gd name="connsiteY4" fmla="*/ 133492 h 391276"/>
              <a:gd name="connsiteX5" fmla="*/ 983698 w 1051120"/>
              <a:gd name="connsiteY5" fmla="*/ 391276 h 391276"/>
              <a:gd name="connsiteX6" fmla="*/ 0 w 1051120"/>
              <a:gd name="connsiteY6" fmla="*/ 379082 h 391276"/>
              <a:gd name="connsiteX0" fmla="*/ 0 w 1057893"/>
              <a:gd name="connsiteY0" fmla="*/ 379082 h 391276"/>
              <a:gd name="connsiteX1" fmla="*/ 199133 w 1057893"/>
              <a:gd name="connsiteY1" fmla="*/ 0 h 391276"/>
              <a:gd name="connsiteX2" fmla="*/ 622470 w 1057893"/>
              <a:gd name="connsiteY2" fmla="*/ 7026 h 391276"/>
              <a:gd name="connsiteX3" fmla="*/ 574847 w 1057893"/>
              <a:gd name="connsiteY3" fmla="*/ 126089 h 391276"/>
              <a:gd name="connsiteX4" fmla="*/ 1057893 w 1057893"/>
              <a:gd name="connsiteY4" fmla="*/ 131253 h 391276"/>
              <a:gd name="connsiteX5" fmla="*/ 983698 w 1057893"/>
              <a:gd name="connsiteY5" fmla="*/ 391276 h 391276"/>
              <a:gd name="connsiteX6" fmla="*/ 0 w 1057893"/>
              <a:gd name="connsiteY6" fmla="*/ 379082 h 391276"/>
              <a:gd name="connsiteX0" fmla="*/ 0 w 1051120"/>
              <a:gd name="connsiteY0" fmla="*/ 379082 h 391276"/>
              <a:gd name="connsiteX1" fmla="*/ 199133 w 1051120"/>
              <a:gd name="connsiteY1" fmla="*/ 0 h 391276"/>
              <a:gd name="connsiteX2" fmla="*/ 622470 w 1051120"/>
              <a:gd name="connsiteY2" fmla="*/ 7026 h 391276"/>
              <a:gd name="connsiteX3" fmla="*/ 574847 w 1051120"/>
              <a:gd name="connsiteY3" fmla="*/ 126089 h 391276"/>
              <a:gd name="connsiteX4" fmla="*/ 1051120 w 1051120"/>
              <a:gd name="connsiteY4" fmla="*/ 133491 h 391276"/>
              <a:gd name="connsiteX5" fmla="*/ 983698 w 1051120"/>
              <a:gd name="connsiteY5" fmla="*/ 391276 h 391276"/>
              <a:gd name="connsiteX6" fmla="*/ 0 w 1051120"/>
              <a:gd name="connsiteY6" fmla="*/ 379082 h 391276"/>
              <a:gd name="connsiteX0" fmla="*/ 0 w 1051120"/>
              <a:gd name="connsiteY0" fmla="*/ 379082 h 391276"/>
              <a:gd name="connsiteX1" fmla="*/ 199133 w 1051120"/>
              <a:gd name="connsiteY1" fmla="*/ 0 h 391276"/>
              <a:gd name="connsiteX2" fmla="*/ 622470 w 1051120"/>
              <a:gd name="connsiteY2" fmla="*/ 7026 h 391276"/>
              <a:gd name="connsiteX3" fmla="*/ 574847 w 1051120"/>
              <a:gd name="connsiteY3" fmla="*/ 126089 h 391276"/>
              <a:gd name="connsiteX4" fmla="*/ 1051120 w 1051120"/>
              <a:gd name="connsiteY4" fmla="*/ 133491 h 391276"/>
              <a:gd name="connsiteX5" fmla="*/ 979183 w 1051120"/>
              <a:gd name="connsiteY5" fmla="*/ 391276 h 391276"/>
              <a:gd name="connsiteX6" fmla="*/ 0 w 1051120"/>
              <a:gd name="connsiteY6" fmla="*/ 379082 h 391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1120" h="391276">
                <a:moveTo>
                  <a:pt x="0" y="379082"/>
                </a:moveTo>
                <a:lnTo>
                  <a:pt x="199133" y="0"/>
                </a:lnTo>
                <a:lnTo>
                  <a:pt x="622470" y="7026"/>
                </a:lnTo>
                <a:lnTo>
                  <a:pt x="574847" y="126089"/>
                </a:lnTo>
                <a:lnTo>
                  <a:pt x="1051120" y="133491"/>
                </a:lnTo>
                <a:lnTo>
                  <a:pt x="979183" y="391276"/>
                </a:lnTo>
                <a:lnTo>
                  <a:pt x="0" y="379082"/>
                </a:lnTo>
                <a:close/>
              </a:path>
            </a:pathLst>
          </a:custGeom>
          <a:solidFill>
            <a:schemeClr val="accent5">
              <a:lumMod val="75000"/>
              <a:alpha val="60000"/>
            </a:schemeClr>
          </a:solidFill>
          <a:ln w="12700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sp>
        <p:nvSpPr>
          <p:cNvPr id="35" name="Параллелограмм 4"/>
          <p:cNvSpPr/>
          <p:nvPr/>
        </p:nvSpPr>
        <p:spPr>
          <a:xfrm>
            <a:off x="5092661" y="2365245"/>
            <a:ext cx="657043" cy="169005"/>
          </a:xfrm>
          <a:custGeom>
            <a:avLst/>
            <a:gdLst>
              <a:gd name="connsiteX0" fmla="*/ 0 w 576064"/>
              <a:gd name="connsiteY0" fmla="*/ 142810 h 142810"/>
              <a:gd name="connsiteX1" fmla="*/ 35703 w 576064"/>
              <a:gd name="connsiteY1" fmla="*/ 0 h 142810"/>
              <a:gd name="connsiteX2" fmla="*/ 576064 w 576064"/>
              <a:gd name="connsiteY2" fmla="*/ 0 h 142810"/>
              <a:gd name="connsiteX3" fmla="*/ 540362 w 576064"/>
              <a:gd name="connsiteY3" fmla="*/ 142810 h 142810"/>
              <a:gd name="connsiteX4" fmla="*/ 0 w 576064"/>
              <a:gd name="connsiteY4" fmla="*/ 142810 h 142810"/>
              <a:gd name="connsiteX0" fmla="*/ 0 w 576064"/>
              <a:gd name="connsiteY0" fmla="*/ 164242 h 164242"/>
              <a:gd name="connsiteX1" fmla="*/ 4747 w 576064"/>
              <a:gd name="connsiteY1" fmla="*/ 0 h 164242"/>
              <a:gd name="connsiteX2" fmla="*/ 576064 w 576064"/>
              <a:gd name="connsiteY2" fmla="*/ 21432 h 164242"/>
              <a:gd name="connsiteX3" fmla="*/ 540362 w 576064"/>
              <a:gd name="connsiteY3" fmla="*/ 164242 h 164242"/>
              <a:gd name="connsiteX4" fmla="*/ 0 w 576064"/>
              <a:gd name="connsiteY4" fmla="*/ 164242 h 164242"/>
              <a:gd name="connsiteX0" fmla="*/ 0 w 614164"/>
              <a:gd name="connsiteY0" fmla="*/ 164242 h 164242"/>
              <a:gd name="connsiteX1" fmla="*/ 4747 w 614164"/>
              <a:gd name="connsiteY1" fmla="*/ 0 h 164242"/>
              <a:gd name="connsiteX2" fmla="*/ 614164 w 614164"/>
              <a:gd name="connsiteY2" fmla="*/ 4763 h 164242"/>
              <a:gd name="connsiteX3" fmla="*/ 540362 w 614164"/>
              <a:gd name="connsiteY3" fmla="*/ 164242 h 164242"/>
              <a:gd name="connsiteX4" fmla="*/ 0 w 614164"/>
              <a:gd name="connsiteY4" fmla="*/ 164242 h 164242"/>
              <a:gd name="connsiteX0" fmla="*/ 0 w 645120"/>
              <a:gd name="connsiteY0" fmla="*/ 176148 h 176148"/>
              <a:gd name="connsiteX1" fmla="*/ 35703 w 645120"/>
              <a:gd name="connsiteY1" fmla="*/ 0 h 176148"/>
              <a:gd name="connsiteX2" fmla="*/ 645120 w 645120"/>
              <a:gd name="connsiteY2" fmla="*/ 4763 h 176148"/>
              <a:gd name="connsiteX3" fmla="*/ 571318 w 645120"/>
              <a:gd name="connsiteY3" fmla="*/ 164242 h 176148"/>
              <a:gd name="connsiteX4" fmla="*/ 0 w 645120"/>
              <a:gd name="connsiteY4" fmla="*/ 176148 h 176148"/>
              <a:gd name="connsiteX0" fmla="*/ 0 w 654662"/>
              <a:gd name="connsiteY0" fmla="*/ 176148 h 176148"/>
              <a:gd name="connsiteX1" fmla="*/ 35703 w 654662"/>
              <a:gd name="connsiteY1" fmla="*/ 0 h 176148"/>
              <a:gd name="connsiteX2" fmla="*/ 645120 w 654662"/>
              <a:gd name="connsiteY2" fmla="*/ 4763 h 176148"/>
              <a:gd name="connsiteX3" fmla="*/ 654662 w 654662"/>
              <a:gd name="connsiteY3" fmla="*/ 169005 h 176148"/>
              <a:gd name="connsiteX4" fmla="*/ 0 w 654662"/>
              <a:gd name="connsiteY4" fmla="*/ 176148 h 176148"/>
              <a:gd name="connsiteX0" fmla="*/ 0 w 654662"/>
              <a:gd name="connsiteY0" fmla="*/ 176148 h 176148"/>
              <a:gd name="connsiteX1" fmla="*/ 35703 w 654662"/>
              <a:gd name="connsiteY1" fmla="*/ 0 h 176148"/>
              <a:gd name="connsiteX2" fmla="*/ 649882 w 654662"/>
              <a:gd name="connsiteY2" fmla="*/ 2382 h 176148"/>
              <a:gd name="connsiteX3" fmla="*/ 654662 w 654662"/>
              <a:gd name="connsiteY3" fmla="*/ 169005 h 176148"/>
              <a:gd name="connsiteX4" fmla="*/ 0 w 654662"/>
              <a:gd name="connsiteY4" fmla="*/ 176148 h 176148"/>
              <a:gd name="connsiteX0" fmla="*/ 0 w 657043"/>
              <a:gd name="connsiteY0" fmla="*/ 169004 h 169005"/>
              <a:gd name="connsiteX1" fmla="*/ 38084 w 657043"/>
              <a:gd name="connsiteY1" fmla="*/ 0 h 169005"/>
              <a:gd name="connsiteX2" fmla="*/ 652263 w 657043"/>
              <a:gd name="connsiteY2" fmla="*/ 2382 h 169005"/>
              <a:gd name="connsiteX3" fmla="*/ 657043 w 657043"/>
              <a:gd name="connsiteY3" fmla="*/ 169005 h 169005"/>
              <a:gd name="connsiteX4" fmla="*/ 0 w 657043"/>
              <a:gd name="connsiteY4" fmla="*/ 169004 h 169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7043" h="169005">
                <a:moveTo>
                  <a:pt x="0" y="169004"/>
                </a:moveTo>
                <a:lnTo>
                  <a:pt x="38084" y="0"/>
                </a:lnTo>
                <a:lnTo>
                  <a:pt x="652263" y="2382"/>
                </a:lnTo>
                <a:lnTo>
                  <a:pt x="657043" y="169005"/>
                </a:lnTo>
                <a:lnTo>
                  <a:pt x="0" y="169004"/>
                </a:lnTo>
                <a:close/>
              </a:path>
            </a:pathLst>
          </a:custGeom>
          <a:solidFill>
            <a:schemeClr val="accent5">
              <a:lumMod val="75000"/>
              <a:alpha val="60000"/>
            </a:schemeClr>
          </a:solidFill>
          <a:ln w="12700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sp>
        <p:nvSpPr>
          <p:cNvPr id="36" name="Параллелограмм 5"/>
          <p:cNvSpPr/>
          <p:nvPr/>
        </p:nvSpPr>
        <p:spPr>
          <a:xfrm>
            <a:off x="3518783" y="2584892"/>
            <a:ext cx="1355615" cy="527592"/>
          </a:xfrm>
          <a:custGeom>
            <a:avLst/>
            <a:gdLst>
              <a:gd name="connsiteX0" fmla="*/ 0 w 630833"/>
              <a:gd name="connsiteY0" fmla="*/ 504056 h 504056"/>
              <a:gd name="connsiteX1" fmla="*/ 126014 w 630833"/>
              <a:gd name="connsiteY1" fmla="*/ 0 h 504056"/>
              <a:gd name="connsiteX2" fmla="*/ 630833 w 630833"/>
              <a:gd name="connsiteY2" fmla="*/ 0 h 504056"/>
              <a:gd name="connsiteX3" fmla="*/ 504819 w 630833"/>
              <a:gd name="connsiteY3" fmla="*/ 504056 h 504056"/>
              <a:gd name="connsiteX4" fmla="*/ 0 w 630833"/>
              <a:gd name="connsiteY4" fmla="*/ 504056 h 504056"/>
              <a:gd name="connsiteX0" fmla="*/ 0 w 630833"/>
              <a:gd name="connsiteY0" fmla="*/ 504056 h 518343"/>
              <a:gd name="connsiteX1" fmla="*/ 126014 w 630833"/>
              <a:gd name="connsiteY1" fmla="*/ 0 h 518343"/>
              <a:gd name="connsiteX2" fmla="*/ 630833 w 630833"/>
              <a:gd name="connsiteY2" fmla="*/ 0 h 518343"/>
              <a:gd name="connsiteX3" fmla="*/ 523869 w 630833"/>
              <a:gd name="connsiteY3" fmla="*/ 518343 h 518343"/>
              <a:gd name="connsiteX4" fmla="*/ 0 w 630833"/>
              <a:gd name="connsiteY4" fmla="*/ 504056 h 518343"/>
              <a:gd name="connsiteX0" fmla="*/ 0 w 630833"/>
              <a:gd name="connsiteY0" fmla="*/ 504056 h 518343"/>
              <a:gd name="connsiteX1" fmla="*/ 126014 w 630833"/>
              <a:gd name="connsiteY1" fmla="*/ 0 h 518343"/>
              <a:gd name="connsiteX2" fmla="*/ 630833 w 630833"/>
              <a:gd name="connsiteY2" fmla="*/ 0 h 518343"/>
              <a:gd name="connsiteX3" fmla="*/ 584095 w 630833"/>
              <a:gd name="connsiteY3" fmla="*/ 245607 h 518343"/>
              <a:gd name="connsiteX4" fmla="*/ 523869 w 630833"/>
              <a:gd name="connsiteY4" fmla="*/ 518343 h 518343"/>
              <a:gd name="connsiteX5" fmla="*/ 0 w 630833"/>
              <a:gd name="connsiteY5" fmla="*/ 504056 h 518343"/>
              <a:gd name="connsiteX0" fmla="*/ 0 w 636483"/>
              <a:gd name="connsiteY0" fmla="*/ 504056 h 518343"/>
              <a:gd name="connsiteX1" fmla="*/ 126014 w 636483"/>
              <a:gd name="connsiteY1" fmla="*/ 0 h 518343"/>
              <a:gd name="connsiteX2" fmla="*/ 630833 w 636483"/>
              <a:gd name="connsiteY2" fmla="*/ 0 h 518343"/>
              <a:gd name="connsiteX3" fmla="*/ 636483 w 636483"/>
              <a:gd name="connsiteY3" fmla="*/ 252751 h 518343"/>
              <a:gd name="connsiteX4" fmla="*/ 523869 w 636483"/>
              <a:gd name="connsiteY4" fmla="*/ 518343 h 518343"/>
              <a:gd name="connsiteX5" fmla="*/ 0 w 636483"/>
              <a:gd name="connsiteY5" fmla="*/ 504056 h 518343"/>
              <a:gd name="connsiteX0" fmla="*/ 0 w 636483"/>
              <a:gd name="connsiteY0" fmla="*/ 504056 h 518343"/>
              <a:gd name="connsiteX1" fmla="*/ 259364 w 636483"/>
              <a:gd name="connsiteY1" fmla="*/ 28575 h 518343"/>
              <a:gd name="connsiteX2" fmla="*/ 630833 w 636483"/>
              <a:gd name="connsiteY2" fmla="*/ 0 h 518343"/>
              <a:gd name="connsiteX3" fmla="*/ 636483 w 636483"/>
              <a:gd name="connsiteY3" fmla="*/ 252751 h 518343"/>
              <a:gd name="connsiteX4" fmla="*/ 523869 w 636483"/>
              <a:gd name="connsiteY4" fmla="*/ 518343 h 518343"/>
              <a:gd name="connsiteX5" fmla="*/ 0 w 636483"/>
              <a:gd name="connsiteY5" fmla="*/ 504056 h 518343"/>
              <a:gd name="connsiteX0" fmla="*/ 0 w 1254720"/>
              <a:gd name="connsiteY0" fmla="*/ 475481 h 489768"/>
              <a:gd name="connsiteX1" fmla="*/ 259364 w 1254720"/>
              <a:gd name="connsiteY1" fmla="*/ 0 h 489768"/>
              <a:gd name="connsiteX2" fmla="*/ 1254720 w 1254720"/>
              <a:gd name="connsiteY2" fmla="*/ 19050 h 489768"/>
              <a:gd name="connsiteX3" fmla="*/ 636483 w 1254720"/>
              <a:gd name="connsiteY3" fmla="*/ 224176 h 489768"/>
              <a:gd name="connsiteX4" fmla="*/ 523869 w 1254720"/>
              <a:gd name="connsiteY4" fmla="*/ 489768 h 489768"/>
              <a:gd name="connsiteX5" fmla="*/ 0 w 1254720"/>
              <a:gd name="connsiteY5" fmla="*/ 475481 h 489768"/>
              <a:gd name="connsiteX0" fmla="*/ 0 w 1254720"/>
              <a:gd name="connsiteY0" fmla="*/ 475481 h 489768"/>
              <a:gd name="connsiteX1" fmla="*/ 259364 w 1254720"/>
              <a:gd name="connsiteY1" fmla="*/ 0 h 489768"/>
              <a:gd name="connsiteX2" fmla="*/ 1254720 w 1254720"/>
              <a:gd name="connsiteY2" fmla="*/ 19050 h 489768"/>
              <a:gd name="connsiteX3" fmla="*/ 926994 w 1254720"/>
              <a:gd name="connsiteY3" fmla="*/ 126544 h 489768"/>
              <a:gd name="connsiteX4" fmla="*/ 636483 w 1254720"/>
              <a:gd name="connsiteY4" fmla="*/ 224176 h 489768"/>
              <a:gd name="connsiteX5" fmla="*/ 523869 w 1254720"/>
              <a:gd name="connsiteY5" fmla="*/ 489768 h 489768"/>
              <a:gd name="connsiteX6" fmla="*/ 0 w 1254720"/>
              <a:gd name="connsiteY6" fmla="*/ 475481 h 489768"/>
              <a:gd name="connsiteX0" fmla="*/ 0 w 1254720"/>
              <a:gd name="connsiteY0" fmla="*/ 475481 h 489768"/>
              <a:gd name="connsiteX1" fmla="*/ 259364 w 1254720"/>
              <a:gd name="connsiteY1" fmla="*/ 0 h 489768"/>
              <a:gd name="connsiteX2" fmla="*/ 1254720 w 1254720"/>
              <a:gd name="connsiteY2" fmla="*/ 19050 h 489768"/>
              <a:gd name="connsiteX3" fmla="*/ 1207982 w 1254720"/>
              <a:gd name="connsiteY3" fmla="*/ 238462 h 489768"/>
              <a:gd name="connsiteX4" fmla="*/ 636483 w 1254720"/>
              <a:gd name="connsiteY4" fmla="*/ 224176 h 489768"/>
              <a:gd name="connsiteX5" fmla="*/ 523869 w 1254720"/>
              <a:gd name="connsiteY5" fmla="*/ 489768 h 489768"/>
              <a:gd name="connsiteX6" fmla="*/ 0 w 1254720"/>
              <a:gd name="connsiteY6" fmla="*/ 475481 h 489768"/>
              <a:gd name="connsiteX0" fmla="*/ 0 w 1254720"/>
              <a:gd name="connsiteY0" fmla="*/ 475481 h 489768"/>
              <a:gd name="connsiteX1" fmla="*/ 259364 w 1254720"/>
              <a:gd name="connsiteY1" fmla="*/ 0 h 489768"/>
              <a:gd name="connsiteX2" fmla="*/ 1254720 w 1254720"/>
              <a:gd name="connsiteY2" fmla="*/ 19050 h 489768"/>
              <a:gd name="connsiteX3" fmla="*/ 1203220 w 1254720"/>
              <a:gd name="connsiteY3" fmla="*/ 236080 h 489768"/>
              <a:gd name="connsiteX4" fmla="*/ 636483 w 1254720"/>
              <a:gd name="connsiteY4" fmla="*/ 224176 h 489768"/>
              <a:gd name="connsiteX5" fmla="*/ 523869 w 1254720"/>
              <a:gd name="connsiteY5" fmla="*/ 489768 h 489768"/>
              <a:gd name="connsiteX6" fmla="*/ 0 w 1254720"/>
              <a:gd name="connsiteY6" fmla="*/ 475481 h 489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54720" h="489768">
                <a:moveTo>
                  <a:pt x="0" y="475481"/>
                </a:moveTo>
                <a:lnTo>
                  <a:pt x="259364" y="0"/>
                </a:lnTo>
                <a:lnTo>
                  <a:pt x="1254720" y="19050"/>
                </a:lnTo>
                <a:lnTo>
                  <a:pt x="1203220" y="236080"/>
                </a:lnTo>
                <a:lnTo>
                  <a:pt x="636483" y="224176"/>
                </a:lnTo>
                <a:lnTo>
                  <a:pt x="523869" y="489768"/>
                </a:lnTo>
                <a:lnTo>
                  <a:pt x="0" y="475481"/>
                </a:lnTo>
                <a:close/>
              </a:path>
            </a:pathLst>
          </a:custGeom>
          <a:solidFill>
            <a:schemeClr val="accent5">
              <a:lumMod val="75000"/>
              <a:alpha val="60000"/>
            </a:schemeClr>
          </a:solidFill>
          <a:ln w="12700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sp>
        <p:nvSpPr>
          <p:cNvPr id="37" name="Параллелограмм 6"/>
          <p:cNvSpPr/>
          <p:nvPr/>
        </p:nvSpPr>
        <p:spPr>
          <a:xfrm>
            <a:off x="3322454" y="2863573"/>
            <a:ext cx="1492473" cy="593926"/>
          </a:xfrm>
          <a:custGeom>
            <a:avLst/>
            <a:gdLst>
              <a:gd name="connsiteX0" fmla="*/ 0 w 1302778"/>
              <a:gd name="connsiteY0" fmla="*/ 551076 h 551076"/>
              <a:gd name="connsiteX1" fmla="*/ 137769 w 1302778"/>
              <a:gd name="connsiteY1" fmla="*/ 0 h 551076"/>
              <a:gd name="connsiteX2" fmla="*/ 1302778 w 1302778"/>
              <a:gd name="connsiteY2" fmla="*/ 0 h 551076"/>
              <a:gd name="connsiteX3" fmla="*/ 1165009 w 1302778"/>
              <a:gd name="connsiteY3" fmla="*/ 551076 h 551076"/>
              <a:gd name="connsiteX4" fmla="*/ 0 w 1302778"/>
              <a:gd name="connsiteY4" fmla="*/ 551076 h 551076"/>
              <a:gd name="connsiteX0" fmla="*/ 0 w 1383740"/>
              <a:gd name="connsiteY0" fmla="*/ 551076 h 551076"/>
              <a:gd name="connsiteX1" fmla="*/ 137769 w 1383740"/>
              <a:gd name="connsiteY1" fmla="*/ 0 h 551076"/>
              <a:gd name="connsiteX2" fmla="*/ 1383740 w 1383740"/>
              <a:gd name="connsiteY2" fmla="*/ 2381 h 551076"/>
              <a:gd name="connsiteX3" fmla="*/ 1165009 w 1383740"/>
              <a:gd name="connsiteY3" fmla="*/ 551076 h 551076"/>
              <a:gd name="connsiteX4" fmla="*/ 0 w 1383740"/>
              <a:gd name="connsiteY4" fmla="*/ 551076 h 551076"/>
              <a:gd name="connsiteX0" fmla="*/ 0 w 1383740"/>
              <a:gd name="connsiteY0" fmla="*/ 551076 h 553457"/>
              <a:gd name="connsiteX1" fmla="*/ 137769 w 1383740"/>
              <a:gd name="connsiteY1" fmla="*/ 0 h 553457"/>
              <a:gd name="connsiteX2" fmla="*/ 1383740 w 1383740"/>
              <a:gd name="connsiteY2" fmla="*/ 2381 h 553457"/>
              <a:gd name="connsiteX3" fmla="*/ 1236446 w 1383740"/>
              <a:gd name="connsiteY3" fmla="*/ 553457 h 553457"/>
              <a:gd name="connsiteX4" fmla="*/ 0 w 1383740"/>
              <a:gd name="connsiteY4" fmla="*/ 551076 h 553457"/>
              <a:gd name="connsiteX0" fmla="*/ 0 w 1383740"/>
              <a:gd name="connsiteY0" fmla="*/ 551076 h 553457"/>
              <a:gd name="connsiteX1" fmla="*/ 137769 w 1383740"/>
              <a:gd name="connsiteY1" fmla="*/ 0 h 553457"/>
              <a:gd name="connsiteX2" fmla="*/ 851556 w 1383740"/>
              <a:gd name="connsiteY2" fmla="*/ 1612 h 553457"/>
              <a:gd name="connsiteX3" fmla="*/ 1383740 w 1383740"/>
              <a:gd name="connsiteY3" fmla="*/ 2381 h 553457"/>
              <a:gd name="connsiteX4" fmla="*/ 1236446 w 1383740"/>
              <a:gd name="connsiteY4" fmla="*/ 553457 h 553457"/>
              <a:gd name="connsiteX5" fmla="*/ 0 w 1383740"/>
              <a:gd name="connsiteY5" fmla="*/ 551076 h 553457"/>
              <a:gd name="connsiteX0" fmla="*/ 0 w 1383740"/>
              <a:gd name="connsiteY0" fmla="*/ 561371 h 563752"/>
              <a:gd name="connsiteX1" fmla="*/ 137769 w 1383740"/>
              <a:gd name="connsiteY1" fmla="*/ 10295 h 563752"/>
              <a:gd name="connsiteX2" fmla="*/ 834887 w 1383740"/>
              <a:gd name="connsiteY2" fmla="*/ 0 h 563752"/>
              <a:gd name="connsiteX3" fmla="*/ 1383740 w 1383740"/>
              <a:gd name="connsiteY3" fmla="*/ 12676 h 563752"/>
              <a:gd name="connsiteX4" fmla="*/ 1236446 w 1383740"/>
              <a:gd name="connsiteY4" fmla="*/ 563752 h 563752"/>
              <a:gd name="connsiteX5" fmla="*/ 0 w 1383740"/>
              <a:gd name="connsiteY5" fmla="*/ 561371 h 563752"/>
              <a:gd name="connsiteX0" fmla="*/ 0 w 1383740"/>
              <a:gd name="connsiteY0" fmla="*/ 561371 h 563752"/>
              <a:gd name="connsiteX1" fmla="*/ 137769 w 1383740"/>
              <a:gd name="connsiteY1" fmla="*/ 10295 h 563752"/>
              <a:gd name="connsiteX2" fmla="*/ 487225 w 1383740"/>
              <a:gd name="connsiteY2" fmla="*/ 4763 h 563752"/>
              <a:gd name="connsiteX3" fmla="*/ 834887 w 1383740"/>
              <a:gd name="connsiteY3" fmla="*/ 0 h 563752"/>
              <a:gd name="connsiteX4" fmla="*/ 1383740 w 1383740"/>
              <a:gd name="connsiteY4" fmla="*/ 12676 h 563752"/>
              <a:gd name="connsiteX5" fmla="*/ 1236446 w 1383740"/>
              <a:gd name="connsiteY5" fmla="*/ 563752 h 563752"/>
              <a:gd name="connsiteX6" fmla="*/ 0 w 1383740"/>
              <a:gd name="connsiteY6" fmla="*/ 561371 h 563752"/>
              <a:gd name="connsiteX0" fmla="*/ 0 w 1383740"/>
              <a:gd name="connsiteY0" fmla="*/ 561371 h 563752"/>
              <a:gd name="connsiteX1" fmla="*/ 137769 w 1383740"/>
              <a:gd name="connsiteY1" fmla="*/ 10295 h 563752"/>
              <a:gd name="connsiteX2" fmla="*/ 727731 w 1383740"/>
              <a:gd name="connsiteY2" fmla="*/ 269082 h 563752"/>
              <a:gd name="connsiteX3" fmla="*/ 834887 w 1383740"/>
              <a:gd name="connsiteY3" fmla="*/ 0 h 563752"/>
              <a:gd name="connsiteX4" fmla="*/ 1383740 w 1383740"/>
              <a:gd name="connsiteY4" fmla="*/ 12676 h 563752"/>
              <a:gd name="connsiteX5" fmla="*/ 1236446 w 1383740"/>
              <a:gd name="connsiteY5" fmla="*/ 563752 h 563752"/>
              <a:gd name="connsiteX6" fmla="*/ 0 w 1383740"/>
              <a:gd name="connsiteY6" fmla="*/ 561371 h 563752"/>
              <a:gd name="connsiteX0" fmla="*/ 0 w 1383740"/>
              <a:gd name="connsiteY0" fmla="*/ 561371 h 563752"/>
              <a:gd name="connsiteX1" fmla="*/ 168725 w 1383740"/>
              <a:gd name="connsiteY1" fmla="*/ 255564 h 563752"/>
              <a:gd name="connsiteX2" fmla="*/ 727731 w 1383740"/>
              <a:gd name="connsiteY2" fmla="*/ 269082 h 563752"/>
              <a:gd name="connsiteX3" fmla="*/ 834887 w 1383740"/>
              <a:gd name="connsiteY3" fmla="*/ 0 h 563752"/>
              <a:gd name="connsiteX4" fmla="*/ 1383740 w 1383740"/>
              <a:gd name="connsiteY4" fmla="*/ 12676 h 563752"/>
              <a:gd name="connsiteX5" fmla="*/ 1236446 w 1383740"/>
              <a:gd name="connsiteY5" fmla="*/ 563752 h 563752"/>
              <a:gd name="connsiteX6" fmla="*/ 0 w 1383740"/>
              <a:gd name="connsiteY6" fmla="*/ 561371 h 563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83740" h="563752">
                <a:moveTo>
                  <a:pt x="0" y="561371"/>
                </a:moveTo>
                <a:lnTo>
                  <a:pt x="168725" y="255564"/>
                </a:lnTo>
                <a:lnTo>
                  <a:pt x="727731" y="269082"/>
                </a:lnTo>
                <a:lnTo>
                  <a:pt x="834887" y="0"/>
                </a:lnTo>
                <a:lnTo>
                  <a:pt x="1383740" y="12676"/>
                </a:lnTo>
                <a:lnTo>
                  <a:pt x="1236446" y="563752"/>
                </a:lnTo>
                <a:lnTo>
                  <a:pt x="0" y="561371"/>
                </a:lnTo>
                <a:close/>
              </a:path>
            </a:pathLst>
          </a:custGeom>
          <a:solidFill>
            <a:schemeClr val="accent5">
              <a:lumMod val="75000"/>
              <a:alpha val="60000"/>
            </a:schemeClr>
          </a:solidFill>
          <a:ln w="12700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sp>
        <p:nvSpPr>
          <p:cNvPr id="38" name="Полилиния 37"/>
          <p:cNvSpPr/>
          <p:nvPr/>
        </p:nvSpPr>
        <p:spPr>
          <a:xfrm>
            <a:off x="4869830" y="3260829"/>
            <a:ext cx="298454" cy="196670"/>
          </a:xfrm>
          <a:custGeom>
            <a:avLst/>
            <a:gdLst>
              <a:gd name="connsiteX0" fmla="*/ 114413 w 248050"/>
              <a:gd name="connsiteY0" fmla="*/ 169069 h 174965"/>
              <a:gd name="connsiteX1" fmla="*/ 7257 w 248050"/>
              <a:gd name="connsiteY1" fmla="*/ 169069 h 174965"/>
              <a:gd name="connsiteX2" fmla="*/ 12019 w 248050"/>
              <a:gd name="connsiteY2" fmla="*/ 100012 h 174965"/>
              <a:gd name="connsiteX3" fmla="*/ 31069 w 248050"/>
              <a:gd name="connsiteY3" fmla="*/ 69056 h 174965"/>
              <a:gd name="connsiteX4" fmla="*/ 26307 w 248050"/>
              <a:gd name="connsiteY4" fmla="*/ 30956 h 174965"/>
              <a:gd name="connsiteX5" fmla="*/ 71550 w 248050"/>
              <a:gd name="connsiteY5" fmla="*/ 0 h 174965"/>
              <a:gd name="connsiteX6" fmla="*/ 112032 w 248050"/>
              <a:gd name="connsiteY6" fmla="*/ 30956 h 174965"/>
              <a:gd name="connsiteX7" fmla="*/ 166800 w 248050"/>
              <a:gd name="connsiteY7" fmla="*/ 35719 h 174965"/>
              <a:gd name="connsiteX8" fmla="*/ 235857 w 248050"/>
              <a:gd name="connsiteY8" fmla="*/ 47625 h 174965"/>
              <a:gd name="connsiteX9" fmla="*/ 238238 w 248050"/>
              <a:gd name="connsiteY9" fmla="*/ 150019 h 174965"/>
              <a:gd name="connsiteX10" fmla="*/ 114413 w 248050"/>
              <a:gd name="connsiteY10" fmla="*/ 169069 h 174965"/>
              <a:gd name="connsiteX0" fmla="*/ 118125 w 251762"/>
              <a:gd name="connsiteY0" fmla="*/ 169069 h 175313"/>
              <a:gd name="connsiteX1" fmla="*/ 10969 w 251762"/>
              <a:gd name="connsiteY1" fmla="*/ 169069 h 175313"/>
              <a:gd name="connsiteX2" fmla="*/ 6206 w 251762"/>
              <a:gd name="connsiteY2" fmla="*/ 95250 h 175313"/>
              <a:gd name="connsiteX3" fmla="*/ 34781 w 251762"/>
              <a:gd name="connsiteY3" fmla="*/ 69056 h 175313"/>
              <a:gd name="connsiteX4" fmla="*/ 30019 w 251762"/>
              <a:gd name="connsiteY4" fmla="*/ 30956 h 175313"/>
              <a:gd name="connsiteX5" fmla="*/ 75262 w 251762"/>
              <a:gd name="connsiteY5" fmla="*/ 0 h 175313"/>
              <a:gd name="connsiteX6" fmla="*/ 115744 w 251762"/>
              <a:gd name="connsiteY6" fmla="*/ 30956 h 175313"/>
              <a:gd name="connsiteX7" fmla="*/ 170512 w 251762"/>
              <a:gd name="connsiteY7" fmla="*/ 35719 h 175313"/>
              <a:gd name="connsiteX8" fmla="*/ 239569 w 251762"/>
              <a:gd name="connsiteY8" fmla="*/ 47625 h 175313"/>
              <a:gd name="connsiteX9" fmla="*/ 241950 w 251762"/>
              <a:gd name="connsiteY9" fmla="*/ 150019 h 175313"/>
              <a:gd name="connsiteX10" fmla="*/ 118125 w 251762"/>
              <a:gd name="connsiteY10" fmla="*/ 169069 h 175313"/>
              <a:gd name="connsiteX0" fmla="*/ 123215 w 253273"/>
              <a:gd name="connsiteY0" fmla="*/ 161925 h 173094"/>
              <a:gd name="connsiteX1" fmla="*/ 11296 w 253273"/>
              <a:gd name="connsiteY1" fmla="*/ 169069 h 173094"/>
              <a:gd name="connsiteX2" fmla="*/ 6533 w 253273"/>
              <a:gd name="connsiteY2" fmla="*/ 95250 h 173094"/>
              <a:gd name="connsiteX3" fmla="*/ 35108 w 253273"/>
              <a:gd name="connsiteY3" fmla="*/ 69056 h 173094"/>
              <a:gd name="connsiteX4" fmla="*/ 30346 w 253273"/>
              <a:gd name="connsiteY4" fmla="*/ 30956 h 173094"/>
              <a:gd name="connsiteX5" fmla="*/ 75589 w 253273"/>
              <a:gd name="connsiteY5" fmla="*/ 0 h 173094"/>
              <a:gd name="connsiteX6" fmla="*/ 116071 w 253273"/>
              <a:gd name="connsiteY6" fmla="*/ 30956 h 173094"/>
              <a:gd name="connsiteX7" fmla="*/ 170839 w 253273"/>
              <a:gd name="connsiteY7" fmla="*/ 35719 h 173094"/>
              <a:gd name="connsiteX8" fmla="*/ 239896 w 253273"/>
              <a:gd name="connsiteY8" fmla="*/ 47625 h 173094"/>
              <a:gd name="connsiteX9" fmla="*/ 242277 w 253273"/>
              <a:gd name="connsiteY9" fmla="*/ 150019 h 173094"/>
              <a:gd name="connsiteX10" fmla="*/ 123215 w 253273"/>
              <a:gd name="connsiteY10" fmla="*/ 161925 h 173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3273" h="173094">
                <a:moveTo>
                  <a:pt x="123215" y="161925"/>
                </a:moveTo>
                <a:cubicBezTo>
                  <a:pt x="84718" y="165100"/>
                  <a:pt x="30743" y="180182"/>
                  <a:pt x="11296" y="169069"/>
                </a:cubicBezTo>
                <a:cubicBezTo>
                  <a:pt x="-8151" y="157956"/>
                  <a:pt x="2564" y="111919"/>
                  <a:pt x="6533" y="95250"/>
                </a:cubicBezTo>
                <a:cubicBezTo>
                  <a:pt x="10502" y="78581"/>
                  <a:pt x="31139" y="79772"/>
                  <a:pt x="35108" y="69056"/>
                </a:cubicBezTo>
                <a:cubicBezTo>
                  <a:pt x="39077" y="58340"/>
                  <a:pt x="23599" y="42465"/>
                  <a:pt x="30346" y="30956"/>
                </a:cubicBezTo>
                <a:cubicBezTo>
                  <a:pt x="37093" y="19447"/>
                  <a:pt x="61302" y="0"/>
                  <a:pt x="75589" y="0"/>
                </a:cubicBezTo>
                <a:cubicBezTo>
                  <a:pt x="89876" y="0"/>
                  <a:pt x="100196" y="25003"/>
                  <a:pt x="116071" y="30956"/>
                </a:cubicBezTo>
                <a:cubicBezTo>
                  <a:pt x="131946" y="36909"/>
                  <a:pt x="150202" y="32941"/>
                  <a:pt x="170839" y="35719"/>
                </a:cubicBezTo>
                <a:cubicBezTo>
                  <a:pt x="191477" y="38497"/>
                  <a:pt x="227990" y="28575"/>
                  <a:pt x="239896" y="47625"/>
                </a:cubicBezTo>
                <a:cubicBezTo>
                  <a:pt x="251802" y="66675"/>
                  <a:pt x="261724" y="130969"/>
                  <a:pt x="242277" y="150019"/>
                </a:cubicBezTo>
                <a:cubicBezTo>
                  <a:pt x="222830" y="169069"/>
                  <a:pt x="161712" y="158750"/>
                  <a:pt x="123215" y="161925"/>
                </a:cubicBezTo>
                <a:close/>
              </a:path>
            </a:pathLst>
          </a:custGeom>
          <a:solidFill>
            <a:srgbClr val="00B0F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sp>
        <p:nvSpPr>
          <p:cNvPr id="39" name="Полилиния 38"/>
          <p:cNvSpPr/>
          <p:nvPr/>
        </p:nvSpPr>
        <p:spPr>
          <a:xfrm>
            <a:off x="5560161" y="2556673"/>
            <a:ext cx="391669" cy="178654"/>
          </a:xfrm>
          <a:custGeom>
            <a:avLst/>
            <a:gdLst>
              <a:gd name="connsiteX0" fmla="*/ 273342 w 376856"/>
              <a:gd name="connsiteY0" fmla="*/ 159411 h 159491"/>
              <a:gd name="connsiteX1" fmla="*/ 363829 w 376856"/>
              <a:gd name="connsiteY1" fmla="*/ 85592 h 159491"/>
              <a:gd name="connsiteX2" fmla="*/ 366211 w 376856"/>
              <a:gd name="connsiteY2" fmla="*/ 7011 h 159491"/>
              <a:gd name="connsiteX3" fmla="*/ 268579 w 376856"/>
              <a:gd name="connsiteY3" fmla="*/ 4629 h 159491"/>
              <a:gd name="connsiteX4" fmla="*/ 63792 w 376856"/>
              <a:gd name="connsiteY4" fmla="*/ 14154 h 159491"/>
              <a:gd name="connsiteX5" fmla="*/ 11404 w 376856"/>
              <a:gd name="connsiteY5" fmla="*/ 71304 h 159491"/>
              <a:gd name="connsiteX6" fmla="*/ 273342 w 376856"/>
              <a:gd name="connsiteY6" fmla="*/ 159411 h 159491"/>
              <a:gd name="connsiteX0" fmla="*/ 276906 w 380420"/>
              <a:gd name="connsiteY0" fmla="*/ 159191 h 159271"/>
              <a:gd name="connsiteX1" fmla="*/ 367393 w 380420"/>
              <a:gd name="connsiteY1" fmla="*/ 85372 h 159271"/>
              <a:gd name="connsiteX2" fmla="*/ 369775 w 380420"/>
              <a:gd name="connsiteY2" fmla="*/ 6791 h 159271"/>
              <a:gd name="connsiteX3" fmla="*/ 272143 w 380420"/>
              <a:gd name="connsiteY3" fmla="*/ 4409 h 159271"/>
              <a:gd name="connsiteX4" fmla="*/ 57831 w 380420"/>
              <a:gd name="connsiteY4" fmla="*/ 9171 h 159271"/>
              <a:gd name="connsiteX5" fmla="*/ 14968 w 380420"/>
              <a:gd name="connsiteY5" fmla="*/ 71084 h 159271"/>
              <a:gd name="connsiteX6" fmla="*/ 276906 w 380420"/>
              <a:gd name="connsiteY6" fmla="*/ 159191 h 159271"/>
              <a:gd name="connsiteX0" fmla="*/ 276906 w 385278"/>
              <a:gd name="connsiteY0" fmla="*/ 157560 h 157640"/>
              <a:gd name="connsiteX1" fmla="*/ 367393 w 385278"/>
              <a:gd name="connsiteY1" fmla="*/ 83741 h 157640"/>
              <a:gd name="connsiteX2" fmla="*/ 376919 w 385278"/>
              <a:gd name="connsiteY2" fmla="*/ 7542 h 157640"/>
              <a:gd name="connsiteX3" fmla="*/ 272143 w 385278"/>
              <a:gd name="connsiteY3" fmla="*/ 2778 h 157640"/>
              <a:gd name="connsiteX4" fmla="*/ 57831 w 385278"/>
              <a:gd name="connsiteY4" fmla="*/ 7540 h 157640"/>
              <a:gd name="connsiteX5" fmla="*/ 14968 w 385278"/>
              <a:gd name="connsiteY5" fmla="*/ 69453 h 157640"/>
              <a:gd name="connsiteX6" fmla="*/ 276906 w 385278"/>
              <a:gd name="connsiteY6" fmla="*/ 157560 h 157640"/>
              <a:gd name="connsiteX0" fmla="*/ 267764 w 376136"/>
              <a:gd name="connsiteY0" fmla="*/ 157560 h 157569"/>
              <a:gd name="connsiteX1" fmla="*/ 358251 w 376136"/>
              <a:gd name="connsiteY1" fmla="*/ 83741 h 157569"/>
              <a:gd name="connsiteX2" fmla="*/ 367777 w 376136"/>
              <a:gd name="connsiteY2" fmla="*/ 7542 h 157569"/>
              <a:gd name="connsiteX3" fmla="*/ 263001 w 376136"/>
              <a:gd name="connsiteY3" fmla="*/ 2778 h 157569"/>
              <a:gd name="connsiteX4" fmla="*/ 48689 w 376136"/>
              <a:gd name="connsiteY4" fmla="*/ 7540 h 157569"/>
              <a:gd name="connsiteX5" fmla="*/ 17732 w 376136"/>
              <a:gd name="connsiteY5" fmla="*/ 78978 h 157569"/>
              <a:gd name="connsiteX6" fmla="*/ 267764 w 376136"/>
              <a:gd name="connsiteY6" fmla="*/ 157560 h 157569"/>
              <a:gd name="connsiteX0" fmla="*/ 267764 w 376136"/>
              <a:gd name="connsiteY0" fmla="*/ 157560 h 157569"/>
              <a:gd name="connsiteX1" fmla="*/ 358251 w 376136"/>
              <a:gd name="connsiteY1" fmla="*/ 83741 h 157569"/>
              <a:gd name="connsiteX2" fmla="*/ 367777 w 376136"/>
              <a:gd name="connsiteY2" fmla="*/ 7542 h 157569"/>
              <a:gd name="connsiteX3" fmla="*/ 263001 w 376136"/>
              <a:gd name="connsiteY3" fmla="*/ 2778 h 157569"/>
              <a:gd name="connsiteX4" fmla="*/ 48689 w 376136"/>
              <a:gd name="connsiteY4" fmla="*/ 7540 h 157569"/>
              <a:gd name="connsiteX5" fmla="*/ 17732 w 376136"/>
              <a:gd name="connsiteY5" fmla="*/ 78978 h 157569"/>
              <a:gd name="connsiteX6" fmla="*/ 267764 w 376136"/>
              <a:gd name="connsiteY6" fmla="*/ 157560 h 157569"/>
              <a:gd name="connsiteX0" fmla="*/ 267764 w 366309"/>
              <a:gd name="connsiteY0" fmla="*/ 159189 h 159198"/>
              <a:gd name="connsiteX1" fmla="*/ 358251 w 366309"/>
              <a:gd name="connsiteY1" fmla="*/ 85370 h 159198"/>
              <a:gd name="connsiteX2" fmla="*/ 351108 w 366309"/>
              <a:gd name="connsiteY2" fmla="*/ 6790 h 159198"/>
              <a:gd name="connsiteX3" fmla="*/ 263001 w 366309"/>
              <a:gd name="connsiteY3" fmla="*/ 4407 h 159198"/>
              <a:gd name="connsiteX4" fmla="*/ 48689 w 366309"/>
              <a:gd name="connsiteY4" fmla="*/ 9169 h 159198"/>
              <a:gd name="connsiteX5" fmla="*/ 17732 w 366309"/>
              <a:gd name="connsiteY5" fmla="*/ 80607 h 159198"/>
              <a:gd name="connsiteX6" fmla="*/ 267764 w 366309"/>
              <a:gd name="connsiteY6" fmla="*/ 159189 h 159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6309" h="159198">
                <a:moveTo>
                  <a:pt x="267764" y="159189"/>
                </a:moveTo>
                <a:cubicBezTo>
                  <a:pt x="324517" y="159983"/>
                  <a:pt x="344360" y="110770"/>
                  <a:pt x="358251" y="85370"/>
                </a:cubicBezTo>
                <a:cubicBezTo>
                  <a:pt x="372142" y="59970"/>
                  <a:pt x="366983" y="20284"/>
                  <a:pt x="351108" y="6790"/>
                </a:cubicBezTo>
                <a:cubicBezTo>
                  <a:pt x="335233" y="-6704"/>
                  <a:pt x="313404" y="4011"/>
                  <a:pt x="263001" y="4407"/>
                </a:cubicBezTo>
                <a:cubicBezTo>
                  <a:pt x="212598" y="4803"/>
                  <a:pt x="91551" y="-1943"/>
                  <a:pt x="48689" y="9169"/>
                </a:cubicBezTo>
                <a:cubicBezTo>
                  <a:pt x="5827" y="20281"/>
                  <a:pt x="-18781" y="55604"/>
                  <a:pt x="17732" y="80607"/>
                </a:cubicBezTo>
                <a:cubicBezTo>
                  <a:pt x="54245" y="105610"/>
                  <a:pt x="211011" y="158395"/>
                  <a:pt x="267764" y="159189"/>
                </a:cubicBezTo>
                <a:close/>
              </a:path>
            </a:pathLst>
          </a:custGeom>
          <a:solidFill>
            <a:srgbClr val="00B0F0">
              <a:alpha val="6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sp>
        <p:nvSpPr>
          <p:cNvPr id="40" name="Полилиния 39"/>
          <p:cNvSpPr/>
          <p:nvPr/>
        </p:nvSpPr>
        <p:spPr>
          <a:xfrm>
            <a:off x="4918337" y="2901667"/>
            <a:ext cx="494711" cy="466370"/>
          </a:xfrm>
          <a:custGeom>
            <a:avLst/>
            <a:gdLst>
              <a:gd name="connsiteX0" fmla="*/ 200096 w 455364"/>
              <a:gd name="connsiteY0" fmla="*/ 344730 h 404727"/>
              <a:gd name="connsiteX1" fmla="*/ 304871 w 455364"/>
              <a:gd name="connsiteY1" fmla="*/ 404262 h 404727"/>
              <a:gd name="connsiteX2" fmla="*/ 359640 w 455364"/>
              <a:gd name="connsiteY2" fmla="*/ 356637 h 404727"/>
              <a:gd name="connsiteX3" fmla="*/ 450127 w 455364"/>
              <a:gd name="connsiteY3" fmla="*/ 120893 h 404727"/>
              <a:gd name="connsiteX4" fmla="*/ 426315 w 455364"/>
              <a:gd name="connsiteY4" fmla="*/ 4212 h 404727"/>
              <a:gd name="connsiteX5" fmla="*/ 276296 w 455364"/>
              <a:gd name="connsiteY5" fmla="*/ 35168 h 404727"/>
              <a:gd name="connsiteX6" fmla="*/ 233433 w 455364"/>
              <a:gd name="connsiteY6" fmla="*/ 125655 h 404727"/>
              <a:gd name="connsiteX7" fmla="*/ 123896 w 455364"/>
              <a:gd name="connsiteY7" fmla="*/ 116130 h 404727"/>
              <a:gd name="connsiteX8" fmla="*/ 71 w 455364"/>
              <a:gd name="connsiteY8" fmla="*/ 268530 h 404727"/>
              <a:gd name="connsiteX9" fmla="*/ 107227 w 455364"/>
              <a:gd name="connsiteY9" fmla="*/ 320918 h 404727"/>
              <a:gd name="connsiteX10" fmla="*/ 200096 w 455364"/>
              <a:gd name="connsiteY10" fmla="*/ 344730 h 404727"/>
              <a:gd name="connsiteX0" fmla="*/ 200096 w 455364"/>
              <a:gd name="connsiteY0" fmla="*/ 344730 h 404727"/>
              <a:gd name="connsiteX1" fmla="*/ 304871 w 455364"/>
              <a:gd name="connsiteY1" fmla="*/ 404262 h 404727"/>
              <a:gd name="connsiteX2" fmla="*/ 359640 w 455364"/>
              <a:gd name="connsiteY2" fmla="*/ 356637 h 404727"/>
              <a:gd name="connsiteX3" fmla="*/ 450127 w 455364"/>
              <a:gd name="connsiteY3" fmla="*/ 120893 h 404727"/>
              <a:gd name="connsiteX4" fmla="*/ 426315 w 455364"/>
              <a:gd name="connsiteY4" fmla="*/ 4212 h 404727"/>
              <a:gd name="connsiteX5" fmla="*/ 276296 w 455364"/>
              <a:gd name="connsiteY5" fmla="*/ 35168 h 404727"/>
              <a:gd name="connsiteX6" fmla="*/ 233433 w 455364"/>
              <a:gd name="connsiteY6" fmla="*/ 125655 h 404727"/>
              <a:gd name="connsiteX7" fmla="*/ 114371 w 455364"/>
              <a:gd name="connsiteY7" fmla="*/ 130417 h 404727"/>
              <a:gd name="connsiteX8" fmla="*/ 71 w 455364"/>
              <a:gd name="connsiteY8" fmla="*/ 268530 h 404727"/>
              <a:gd name="connsiteX9" fmla="*/ 107227 w 455364"/>
              <a:gd name="connsiteY9" fmla="*/ 320918 h 404727"/>
              <a:gd name="connsiteX10" fmla="*/ 200096 w 455364"/>
              <a:gd name="connsiteY10" fmla="*/ 344730 h 404727"/>
              <a:gd name="connsiteX0" fmla="*/ 200096 w 451536"/>
              <a:gd name="connsiteY0" fmla="*/ 355756 h 415753"/>
              <a:gd name="connsiteX1" fmla="*/ 304871 w 451536"/>
              <a:gd name="connsiteY1" fmla="*/ 415288 h 415753"/>
              <a:gd name="connsiteX2" fmla="*/ 359640 w 451536"/>
              <a:gd name="connsiteY2" fmla="*/ 367663 h 415753"/>
              <a:gd name="connsiteX3" fmla="*/ 450127 w 451536"/>
              <a:gd name="connsiteY3" fmla="*/ 131919 h 415753"/>
              <a:gd name="connsiteX4" fmla="*/ 404883 w 451536"/>
              <a:gd name="connsiteY4" fmla="*/ 3332 h 415753"/>
              <a:gd name="connsiteX5" fmla="*/ 276296 w 451536"/>
              <a:gd name="connsiteY5" fmla="*/ 46194 h 415753"/>
              <a:gd name="connsiteX6" fmla="*/ 233433 w 451536"/>
              <a:gd name="connsiteY6" fmla="*/ 136681 h 415753"/>
              <a:gd name="connsiteX7" fmla="*/ 114371 w 451536"/>
              <a:gd name="connsiteY7" fmla="*/ 141443 h 415753"/>
              <a:gd name="connsiteX8" fmla="*/ 71 w 451536"/>
              <a:gd name="connsiteY8" fmla="*/ 279556 h 415753"/>
              <a:gd name="connsiteX9" fmla="*/ 107227 w 451536"/>
              <a:gd name="connsiteY9" fmla="*/ 331944 h 415753"/>
              <a:gd name="connsiteX10" fmla="*/ 200096 w 451536"/>
              <a:gd name="connsiteY10" fmla="*/ 355756 h 415753"/>
              <a:gd name="connsiteX0" fmla="*/ 200096 w 438068"/>
              <a:gd name="connsiteY0" fmla="*/ 355096 h 415207"/>
              <a:gd name="connsiteX1" fmla="*/ 304871 w 438068"/>
              <a:gd name="connsiteY1" fmla="*/ 414628 h 415207"/>
              <a:gd name="connsiteX2" fmla="*/ 359640 w 438068"/>
              <a:gd name="connsiteY2" fmla="*/ 367003 h 415207"/>
              <a:gd name="connsiteX3" fmla="*/ 435840 w 438068"/>
              <a:gd name="connsiteY3" fmla="*/ 119352 h 415207"/>
              <a:gd name="connsiteX4" fmla="*/ 404883 w 438068"/>
              <a:gd name="connsiteY4" fmla="*/ 2672 h 415207"/>
              <a:gd name="connsiteX5" fmla="*/ 276296 w 438068"/>
              <a:gd name="connsiteY5" fmla="*/ 45534 h 415207"/>
              <a:gd name="connsiteX6" fmla="*/ 233433 w 438068"/>
              <a:gd name="connsiteY6" fmla="*/ 136021 h 415207"/>
              <a:gd name="connsiteX7" fmla="*/ 114371 w 438068"/>
              <a:gd name="connsiteY7" fmla="*/ 140783 h 415207"/>
              <a:gd name="connsiteX8" fmla="*/ 71 w 438068"/>
              <a:gd name="connsiteY8" fmla="*/ 278896 h 415207"/>
              <a:gd name="connsiteX9" fmla="*/ 107227 w 438068"/>
              <a:gd name="connsiteY9" fmla="*/ 331284 h 415207"/>
              <a:gd name="connsiteX10" fmla="*/ 200096 w 438068"/>
              <a:gd name="connsiteY10" fmla="*/ 355096 h 415207"/>
              <a:gd name="connsiteX0" fmla="*/ 200096 w 449249"/>
              <a:gd name="connsiteY0" fmla="*/ 355621 h 415638"/>
              <a:gd name="connsiteX1" fmla="*/ 304871 w 449249"/>
              <a:gd name="connsiteY1" fmla="*/ 415153 h 415638"/>
              <a:gd name="connsiteX2" fmla="*/ 359640 w 449249"/>
              <a:gd name="connsiteY2" fmla="*/ 367528 h 415638"/>
              <a:gd name="connsiteX3" fmla="*/ 447746 w 449249"/>
              <a:gd name="connsiteY3" fmla="*/ 129402 h 415638"/>
              <a:gd name="connsiteX4" fmla="*/ 404883 w 449249"/>
              <a:gd name="connsiteY4" fmla="*/ 3197 h 415638"/>
              <a:gd name="connsiteX5" fmla="*/ 276296 w 449249"/>
              <a:gd name="connsiteY5" fmla="*/ 46059 h 415638"/>
              <a:gd name="connsiteX6" fmla="*/ 233433 w 449249"/>
              <a:gd name="connsiteY6" fmla="*/ 136546 h 415638"/>
              <a:gd name="connsiteX7" fmla="*/ 114371 w 449249"/>
              <a:gd name="connsiteY7" fmla="*/ 141308 h 415638"/>
              <a:gd name="connsiteX8" fmla="*/ 71 w 449249"/>
              <a:gd name="connsiteY8" fmla="*/ 279421 h 415638"/>
              <a:gd name="connsiteX9" fmla="*/ 107227 w 449249"/>
              <a:gd name="connsiteY9" fmla="*/ 331809 h 415638"/>
              <a:gd name="connsiteX10" fmla="*/ 200096 w 449249"/>
              <a:gd name="connsiteY10" fmla="*/ 355621 h 415638"/>
              <a:gd name="connsiteX0" fmla="*/ 200096 w 486090"/>
              <a:gd name="connsiteY0" fmla="*/ 355621 h 415638"/>
              <a:gd name="connsiteX1" fmla="*/ 304871 w 486090"/>
              <a:gd name="connsiteY1" fmla="*/ 415153 h 415638"/>
              <a:gd name="connsiteX2" fmla="*/ 359640 w 486090"/>
              <a:gd name="connsiteY2" fmla="*/ 367528 h 415638"/>
              <a:gd name="connsiteX3" fmla="*/ 447746 w 486090"/>
              <a:gd name="connsiteY3" fmla="*/ 129402 h 415638"/>
              <a:gd name="connsiteX4" fmla="*/ 404883 w 486090"/>
              <a:gd name="connsiteY4" fmla="*/ 3197 h 415638"/>
              <a:gd name="connsiteX5" fmla="*/ 276296 w 486090"/>
              <a:gd name="connsiteY5" fmla="*/ 46059 h 415638"/>
              <a:gd name="connsiteX6" fmla="*/ 233433 w 486090"/>
              <a:gd name="connsiteY6" fmla="*/ 136546 h 415638"/>
              <a:gd name="connsiteX7" fmla="*/ 114371 w 486090"/>
              <a:gd name="connsiteY7" fmla="*/ 141308 h 415638"/>
              <a:gd name="connsiteX8" fmla="*/ 71 w 486090"/>
              <a:gd name="connsiteY8" fmla="*/ 279421 h 415638"/>
              <a:gd name="connsiteX9" fmla="*/ 107227 w 486090"/>
              <a:gd name="connsiteY9" fmla="*/ 331809 h 415638"/>
              <a:gd name="connsiteX10" fmla="*/ 200096 w 486090"/>
              <a:gd name="connsiteY10" fmla="*/ 355621 h 415638"/>
              <a:gd name="connsiteX0" fmla="*/ 200096 w 491738"/>
              <a:gd name="connsiteY0" fmla="*/ 352430 h 412447"/>
              <a:gd name="connsiteX1" fmla="*/ 304871 w 491738"/>
              <a:gd name="connsiteY1" fmla="*/ 411962 h 412447"/>
              <a:gd name="connsiteX2" fmla="*/ 359640 w 491738"/>
              <a:gd name="connsiteY2" fmla="*/ 364337 h 412447"/>
              <a:gd name="connsiteX3" fmla="*/ 447746 w 491738"/>
              <a:gd name="connsiteY3" fmla="*/ 126211 h 412447"/>
              <a:gd name="connsiteX4" fmla="*/ 490607 w 491738"/>
              <a:gd name="connsiteY4" fmla="*/ 45249 h 412447"/>
              <a:gd name="connsiteX5" fmla="*/ 404883 w 491738"/>
              <a:gd name="connsiteY5" fmla="*/ 6 h 412447"/>
              <a:gd name="connsiteX6" fmla="*/ 276296 w 491738"/>
              <a:gd name="connsiteY6" fmla="*/ 42868 h 412447"/>
              <a:gd name="connsiteX7" fmla="*/ 233433 w 491738"/>
              <a:gd name="connsiteY7" fmla="*/ 133355 h 412447"/>
              <a:gd name="connsiteX8" fmla="*/ 114371 w 491738"/>
              <a:gd name="connsiteY8" fmla="*/ 138117 h 412447"/>
              <a:gd name="connsiteX9" fmla="*/ 71 w 491738"/>
              <a:gd name="connsiteY9" fmla="*/ 276230 h 412447"/>
              <a:gd name="connsiteX10" fmla="*/ 107227 w 491738"/>
              <a:gd name="connsiteY10" fmla="*/ 328618 h 412447"/>
              <a:gd name="connsiteX11" fmla="*/ 200096 w 491738"/>
              <a:gd name="connsiteY11" fmla="*/ 352430 h 412447"/>
              <a:gd name="connsiteX0" fmla="*/ 200096 w 453507"/>
              <a:gd name="connsiteY0" fmla="*/ 352594 h 412611"/>
              <a:gd name="connsiteX1" fmla="*/ 304871 w 453507"/>
              <a:gd name="connsiteY1" fmla="*/ 412126 h 412611"/>
              <a:gd name="connsiteX2" fmla="*/ 359640 w 453507"/>
              <a:gd name="connsiteY2" fmla="*/ 364501 h 412611"/>
              <a:gd name="connsiteX3" fmla="*/ 447746 w 453507"/>
              <a:gd name="connsiteY3" fmla="*/ 126375 h 412611"/>
              <a:gd name="connsiteX4" fmla="*/ 440601 w 453507"/>
              <a:gd name="connsiteY4" fmla="*/ 57319 h 412611"/>
              <a:gd name="connsiteX5" fmla="*/ 404883 w 453507"/>
              <a:gd name="connsiteY5" fmla="*/ 170 h 412611"/>
              <a:gd name="connsiteX6" fmla="*/ 276296 w 453507"/>
              <a:gd name="connsiteY6" fmla="*/ 43032 h 412611"/>
              <a:gd name="connsiteX7" fmla="*/ 233433 w 453507"/>
              <a:gd name="connsiteY7" fmla="*/ 133519 h 412611"/>
              <a:gd name="connsiteX8" fmla="*/ 114371 w 453507"/>
              <a:gd name="connsiteY8" fmla="*/ 138281 h 412611"/>
              <a:gd name="connsiteX9" fmla="*/ 71 w 453507"/>
              <a:gd name="connsiteY9" fmla="*/ 276394 h 412611"/>
              <a:gd name="connsiteX10" fmla="*/ 107227 w 453507"/>
              <a:gd name="connsiteY10" fmla="*/ 328782 h 412611"/>
              <a:gd name="connsiteX11" fmla="*/ 200096 w 453507"/>
              <a:gd name="connsiteY11" fmla="*/ 352594 h 412611"/>
              <a:gd name="connsiteX0" fmla="*/ 200096 w 448515"/>
              <a:gd name="connsiteY0" fmla="*/ 352594 h 412611"/>
              <a:gd name="connsiteX1" fmla="*/ 304871 w 448515"/>
              <a:gd name="connsiteY1" fmla="*/ 412126 h 412611"/>
              <a:gd name="connsiteX2" fmla="*/ 359640 w 448515"/>
              <a:gd name="connsiteY2" fmla="*/ 364501 h 412611"/>
              <a:gd name="connsiteX3" fmla="*/ 440602 w 448515"/>
              <a:gd name="connsiteY3" fmla="*/ 126375 h 412611"/>
              <a:gd name="connsiteX4" fmla="*/ 440601 w 448515"/>
              <a:gd name="connsiteY4" fmla="*/ 57319 h 412611"/>
              <a:gd name="connsiteX5" fmla="*/ 404883 w 448515"/>
              <a:gd name="connsiteY5" fmla="*/ 170 h 412611"/>
              <a:gd name="connsiteX6" fmla="*/ 276296 w 448515"/>
              <a:gd name="connsiteY6" fmla="*/ 43032 h 412611"/>
              <a:gd name="connsiteX7" fmla="*/ 233433 w 448515"/>
              <a:gd name="connsiteY7" fmla="*/ 133519 h 412611"/>
              <a:gd name="connsiteX8" fmla="*/ 114371 w 448515"/>
              <a:gd name="connsiteY8" fmla="*/ 138281 h 412611"/>
              <a:gd name="connsiteX9" fmla="*/ 71 w 448515"/>
              <a:gd name="connsiteY9" fmla="*/ 276394 h 412611"/>
              <a:gd name="connsiteX10" fmla="*/ 107227 w 448515"/>
              <a:gd name="connsiteY10" fmla="*/ 328782 h 412611"/>
              <a:gd name="connsiteX11" fmla="*/ 200096 w 448515"/>
              <a:gd name="connsiteY11" fmla="*/ 352594 h 412611"/>
              <a:gd name="connsiteX0" fmla="*/ 200096 w 443606"/>
              <a:gd name="connsiteY0" fmla="*/ 352594 h 412611"/>
              <a:gd name="connsiteX1" fmla="*/ 304871 w 443606"/>
              <a:gd name="connsiteY1" fmla="*/ 412126 h 412611"/>
              <a:gd name="connsiteX2" fmla="*/ 359640 w 443606"/>
              <a:gd name="connsiteY2" fmla="*/ 364501 h 412611"/>
              <a:gd name="connsiteX3" fmla="*/ 440602 w 443606"/>
              <a:gd name="connsiteY3" fmla="*/ 126375 h 412611"/>
              <a:gd name="connsiteX4" fmla="*/ 440601 w 443606"/>
              <a:gd name="connsiteY4" fmla="*/ 57319 h 412611"/>
              <a:gd name="connsiteX5" fmla="*/ 404883 w 443606"/>
              <a:gd name="connsiteY5" fmla="*/ 170 h 412611"/>
              <a:gd name="connsiteX6" fmla="*/ 276296 w 443606"/>
              <a:gd name="connsiteY6" fmla="*/ 43032 h 412611"/>
              <a:gd name="connsiteX7" fmla="*/ 233433 w 443606"/>
              <a:gd name="connsiteY7" fmla="*/ 133519 h 412611"/>
              <a:gd name="connsiteX8" fmla="*/ 114371 w 443606"/>
              <a:gd name="connsiteY8" fmla="*/ 138281 h 412611"/>
              <a:gd name="connsiteX9" fmla="*/ 71 w 443606"/>
              <a:gd name="connsiteY9" fmla="*/ 276394 h 412611"/>
              <a:gd name="connsiteX10" fmla="*/ 107227 w 443606"/>
              <a:gd name="connsiteY10" fmla="*/ 328782 h 412611"/>
              <a:gd name="connsiteX11" fmla="*/ 200096 w 443606"/>
              <a:gd name="connsiteY11" fmla="*/ 352594 h 412611"/>
              <a:gd name="connsiteX0" fmla="*/ 200096 w 445959"/>
              <a:gd name="connsiteY0" fmla="*/ 352594 h 412245"/>
              <a:gd name="connsiteX1" fmla="*/ 304871 w 445959"/>
              <a:gd name="connsiteY1" fmla="*/ 412126 h 412245"/>
              <a:gd name="connsiteX2" fmla="*/ 359640 w 445959"/>
              <a:gd name="connsiteY2" fmla="*/ 364501 h 412245"/>
              <a:gd name="connsiteX3" fmla="*/ 397740 w 445959"/>
              <a:gd name="connsiteY3" fmla="*/ 252582 h 412245"/>
              <a:gd name="connsiteX4" fmla="*/ 440602 w 445959"/>
              <a:gd name="connsiteY4" fmla="*/ 126375 h 412245"/>
              <a:gd name="connsiteX5" fmla="*/ 440601 w 445959"/>
              <a:gd name="connsiteY5" fmla="*/ 57319 h 412245"/>
              <a:gd name="connsiteX6" fmla="*/ 404883 w 445959"/>
              <a:gd name="connsiteY6" fmla="*/ 170 h 412245"/>
              <a:gd name="connsiteX7" fmla="*/ 276296 w 445959"/>
              <a:gd name="connsiteY7" fmla="*/ 43032 h 412245"/>
              <a:gd name="connsiteX8" fmla="*/ 233433 w 445959"/>
              <a:gd name="connsiteY8" fmla="*/ 133519 h 412245"/>
              <a:gd name="connsiteX9" fmla="*/ 114371 w 445959"/>
              <a:gd name="connsiteY9" fmla="*/ 138281 h 412245"/>
              <a:gd name="connsiteX10" fmla="*/ 71 w 445959"/>
              <a:gd name="connsiteY10" fmla="*/ 276394 h 412245"/>
              <a:gd name="connsiteX11" fmla="*/ 107227 w 445959"/>
              <a:gd name="connsiteY11" fmla="*/ 328782 h 412245"/>
              <a:gd name="connsiteX12" fmla="*/ 200096 w 445959"/>
              <a:gd name="connsiteY12" fmla="*/ 352594 h 412245"/>
              <a:gd name="connsiteX0" fmla="*/ 200096 w 447364"/>
              <a:gd name="connsiteY0" fmla="*/ 352594 h 412241"/>
              <a:gd name="connsiteX1" fmla="*/ 304871 w 447364"/>
              <a:gd name="connsiteY1" fmla="*/ 412126 h 412241"/>
              <a:gd name="connsiteX2" fmla="*/ 359640 w 447364"/>
              <a:gd name="connsiteY2" fmla="*/ 364501 h 412241"/>
              <a:gd name="connsiteX3" fmla="*/ 376309 w 447364"/>
              <a:gd name="connsiteY3" fmla="*/ 257345 h 412241"/>
              <a:gd name="connsiteX4" fmla="*/ 440602 w 447364"/>
              <a:gd name="connsiteY4" fmla="*/ 126375 h 412241"/>
              <a:gd name="connsiteX5" fmla="*/ 440601 w 447364"/>
              <a:gd name="connsiteY5" fmla="*/ 57319 h 412241"/>
              <a:gd name="connsiteX6" fmla="*/ 404883 w 447364"/>
              <a:gd name="connsiteY6" fmla="*/ 170 h 412241"/>
              <a:gd name="connsiteX7" fmla="*/ 276296 w 447364"/>
              <a:gd name="connsiteY7" fmla="*/ 43032 h 412241"/>
              <a:gd name="connsiteX8" fmla="*/ 233433 w 447364"/>
              <a:gd name="connsiteY8" fmla="*/ 133519 h 412241"/>
              <a:gd name="connsiteX9" fmla="*/ 114371 w 447364"/>
              <a:gd name="connsiteY9" fmla="*/ 138281 h 412241"/>
              <a:gd name="connsiteX10" fmla="*/ 71 w 447364"/>
              <a:gd name="connsiteY10" fmla="*/ 276394 h 412241"/>
              <a:gd name="connsiteX11" fmla="*/ 107227 w 447364"/>
              <a:gd name="connsiteY11" fmla="*/ 328782 h 412241"/>
              <a:gd name="connsiteX12" fmla="*/ 200096 w 447364"/>
              <a:gd name="connsiteY12" fmla="*/ 352594 h 412241"/>
              <a:gd name="connsiteX0" fmla="*/ 200096 w 447364"/>
              <a:gd name="connsiteY0" fmla="*/ 352594 h 415919"/>
              <a:gd name="connsiteX1" fmla="*/ 304871 w 447364"/>
              <a:gd name="connsiteY1" fmla="*/ 412126 h 415919"/>
              <a:gd name="connsiteX2" fmla="*/ 350115 w 447364"/>
              <a:gd name="connsiteY2" fmla="*/ 393076 h 415919"/>
              <a:gd name="connsiteX3" fmla="*/ 376309 w 447364"/>
              <a:gd name="connsiteY3" fmla="*/ 257345 h 415919"/>
              <a:gd name="connsiteX4" fmla="*/ 440602 w 447364"/>
              <a:gd name="connsiteY4" fmla="*/ 126375 h 415919"/>
              <a:gd name="connsiteX5" fmla="*/ 440601 w 447364"/>
              <a:gd name="connsiteY5" fmla="*/ 57319 h 415919"/>
              <a:gd name="connsiteX6" fmla="*/ 404883 w 447364"/>
              <a:gd name="connsiteY6" fmla="*/ 170 h 415919"/>
              <a:gd name="connsiteX7" fmla="*/ 276296 w 447364"/>
              <a:gd name="connsiteY7" fmla="*/ 43032 h 415919"/>
              <a:gd name="connsiteX8" fmla="*/ 233433 w 447364"/>
              <a:gd name="connsiteY8" fmla="*/ 133519 h 415919"/>
              <a:gd name="connsiteX9" fmla="*/ 114371 w 447364"/>
              <a:gd name="connsiteY9" fmla="*/ 138281 h 415919"/>
              <a:gd name="connsiteX10" fmla="*/ 71 w 447364"/>
              <a:gd name="connsiteY10" fmla="*/ 276394 h 415919"/>
              <a:gd name="connsiteX11" fmla="*/ 107227 w 447364"/>
              <a:gd name="connsiteY11" fmla="*/ 328782 h 415919"/>
              <a:gd name="connsiteX12" fmla="*/ 200096 w 447364"/>
              <a:gd name="connsiteY12" fmla="*/ 352594 h 415919"/>
              <a:gd name="connsiteX0" fmla="*/ 200096 w 447364"/>
              <a:gd name="connsiteY0" fmla="*/ 352594 h 421819"/>
              <a:gd name="connsiteX1" fmla="*/ 304871 w 447364"/>
              <a:gd name="connsiteY1" fmla="*/ 419270 h 421819"/>
              <a:gd name="connsiteX2" fmla="*/ 350115 w 447364"/>
              <a:gd name="connsiteY2" fmla="*/ 393076 h 421819"/>
              <a:gd name="connsiteX3" fmla="*/ 376309 w 447364"/>
              <a:gd name="connsiteY3" fmla="*/ 257345 h 421819"/>
              <a:gd name="connsiteX4" fmla="*/ 440602 w 447364"/>
              <a:gd name="connsiteY4" fmla="*/ 126375 h 421819"/>
              <a:gd name="connsiteX5" fmla="*/ 440601 w 447364"/>
              <a:gd name="connsiteY5" fmla="*/ 57319 h 421819"/>
              <a:gd name="connsiteX6" fmla="*/ 404883 w 447364"/>
              <a:gd name="connsiteY6" fmla="*/ 170 h 421819"/>
              <a:gd name="connsiteX7" fmla="*/ 276296 w 447364"/>
              <a:gd name="connsiteY7" fmla="*/ 43032 h 421819"/>
              <a:gd name="connsiteX8" fmla="*/ 233433 w 447364"/>
              <a:gd name="connsiteY8" fmla="*/ 133519 h 421819"/>
              <a:gd name="connsiteX9" fmla="*/ 114371 w 447364"/>
              <a:gd name="connsiteY9" fmla="*/ 138281 h 421819"/>
              <a:gd name="connsiteX10" fmla="*/ 71 w 447364"/>
              <a:gd name="connsiteY10" fmla="*/ 276394 h 421819"/>
              <a:gd name="connsiteX11" fmla="*/ 107227 w 447364"/>
              <a:gd name="connsiteY11" fmla="*/ 328782 h 421819"/>
              <a:gd name="connsiteX12" fmla="*/ 200096 w 447364"/>
              <a:gd name="connsiteY12" fmla="*/ 352594 h 421819"/>
              <a:gd name="connsiteX0" fmla="*/ 200093 w 447361"/>
              <a:gd name="connsiteY0" fmla="*/ 352594 h 421819"/>
              <a:gd name="connsiteX1" fmla="*/ 304868 w 447361"/>
              <a:gd name="connsiteY1" fmla="*/ 419270 h 421819"/>
              <a:gd name="connsiteX2" fmla="*/ 350112 w 447361"/>
              <a:gd name="connsiteY2" fmla="*/ 393076 h 421819"/>
              <a:gd name="connsiteX3" fmla="*/ 376306 w 447361"/>
              <a:gd name="connsiteY3" fmla="*/ 257345 h 421819"/>
              <a:gd name="connsiteX4" fmla="*/ 440599 w 447361"/>
              <a:gd name="connsiteY4" fmla="*/ 126375 h 421819"/>
              <a:gd name="connsiteX5" fmla="*/ 440598 w 447361"/>
              <a:gd name="connsiteY5" fmla="*/ 57319 h 421819"/>
              <a:gd name="connsiteX6" fmla="*/ 404880 w 447361"/>
              <a:gd name="connsiteY6" fmla="*/ 170 h 421819"/>
              <a:gd name="connsiteX7" fmla="*/ 276293 w 447361"/>
              <a:gd name="connsiteY7" fmla="*/ 43032 h 421819"/>
              <a:gd name="connsiteX8" fmla="*/ 233430 w 447361"/>
              <a:gd name="connsiteY8" fmla="*/ 133519 h 421819"/>
              <a:gd name="connsiteX9" fmla="*/ 114368 w 447361"/>
              <a:gd name="connsiteY9" fmla="*/ 138281 h 421819"/>
              <a:gd name="connsiteX10" fmla="*/ 68 w 447361"/>
              <a:gd name="connsiteY10" fmla="*/ 276394 h 421819"/>
              <a:gd name="connsiteX11" fmla="*/ 107224 w 447361"/>
              <a:gd name="connsiteY11" fmla="*/ 328782 h 421819"/>
              <a:gd name="connsiteX12" fmla="*/ 157229 w 447361"/>
              <a:gd name="connsiteY12" fmla="*/ 343069 h 421819"/>
              <a:gd name="connsiteX13" fmla="*/ 200093 w 447361"/>
              <a:gd name="connsiteY13" fmla="*/ 352594 h 421819"/>
              <a:gd name="connsiteX0" fmla="*/ 200096 w 447364"/>
              <a:gd name="connsiteY0" fmla="*/ 352594 h 421819"/>
              <a:gd name="connsiteX1" fmla="*/ 304871 w 447364"/>
              <a:gd name="connsiteY1" fmla="*/ 419270 h 421819"/>
              <a:gd name="connsiteX2" fmla="*/ 350115 w 447364"/>
              <a:gd name="connsiteY2" fmla="*/ 393076 h 421819"/>
              <a:gd name="connsiteX3" fmla="*/ 376309 w 447364"/>
              <a:gd name="connsiteY3" fmla="*/ 257345 h 421819"/>
              <a:gd name="connsiteX4" fmla="*/ 440602 w 447364"/>
              <a:gd name="connsiteY4" fmla="*/ 126375 h 421819"/>
              <a:gd name="connsiteX5" fmla="*/ 440601 w 447364"/>
              <a:gd name="connsiteY5" fmla="*/ 57319 h 421819"/>
              <a:gd name="connsiteX6" fmla="*/ 404883 w 447364"/>
              <a:gd name="connsiteY6" fmla="*/ 170 h 421819"/>
              <a:gd name="connsiteX7" fmla="*/ 276296 w 447364"/>
              <a:gd name="connsiteY7" fmla="*/ 43032 h 421819"/>
              <a:gd name="connsiteX8" fmla="*/ 233433 w 447364"/>
              <a:gd name="connsiteY8" fmla="*/ 133519 h 421819"/>
              <a:gd name="connsiteX9" fmla="*/ 114371 w 447364"/>
              <a:gd name="connsiteY9" fmla="*/ 138281 h 421819"/>
              <a:gd name="connsiteX10" fmla="*/ 71 w 447364"/>
              <a:gd name="connsiteY10" fmla="*/ 276394 h 421819"/>
              <a:gd name="connsiteX11" fmla="*/ 107227 w 447364"/>
              <a:gd name="connsiteY11" fmla="*/ 328782 h 421819"/>
              <a:gd name="connsiteX12" fmla="*/ 188189 w 447364"/>
              <a:gd name="connsiteY12" fmla="*/ 304969 h 421819"/>
              <a:gd name="connsiteX13" fmla="*/ 200096 w 447364"/>
              <a:gd name="connsiteY13" fmla="*/ 352594 h 421819"/>
              <a:gd name="connsiteX0" fmla="*/ 200096 w 447364"/>
              <a:gd name="connsiteY0" fmla="*/ 359705 h 428930"/>
              <a:gd name="connsiteX1" fmla="*/ 304871 w 447364"/>
              <a:gd name="connsiteY1" fmla="*/ 426381 h 428930"/>
              <a:gd name="connsiteX2" fmla="*/ 350115 w 447364"/>
              <a:gd name="connsiteY2" fmla="*/ 400187 h 428930"/>
              <a:gd name="connsiteX3" fmla="*/ 376309 w 447364"/>
              <a:gd name="connsiteY3" fmla="*/ 264456 h 428930"/>
              <a:gd name="connsiteX4" fmla="*/ 440602 w 447364"/>
              <a:gd name="connsiteY4" fmla="*/ 133486 h 428930"/>
              <a:gd name="connsiteX5" fmla="*/ 440601 w 447364"/>
              <a:gd name="connsiteY5" fmla="*/ 64430 h 428930"/>
              <a:gd name="connsiteX6" fmla="*/ 400120 w 447364"/>
              <a:gd name="connsiteY6" fmla="*/ 137 h 428930"/>
              <a:gd name="connsiteX7" fmla="*/ 276296 w 447364"/>
              <a:gd name="connsiteY7" fmla="*/ 50143 h 428930"/>
              <a:gd name="connsiteX8" fmla="*/ 233433 w 447364"/>
              <a:gd name="connsiteY8" fmla="*/ 140630 h 428930"/>
              <a:gd name="connsiteX9" fmla="*/ 114371 w 447364"/>
              <a:gd name="connsiteY9" fmla="*/ 145392 h 428930"/>
              <a:gd name="connsiteX10" fmla="*/ 71 w 447364"/>
              <a:gd name="connsiteY10" fmla="*/ 283505 h 428930"/>
              <a:gd name="connsiteX11" fmla="*/ 107227 w 447364"/>
              <a:gd name="connsiteY11" fmla="*/ 335893 h 428930"/>
              <a:gd name="connsiteX12" fmla="*/ 188189 w 447364"/>
              <a:gd name="connsiteY12" fmla="*/ 312080 h 428930"/>
              <a:gd name="connsiteX13" fmla="*/ 200096 w 447364"/>
              <a:gd name="connsiteY13" fmla="*/ 359705 h 428930"/>
              <a:gd name="connsiteX0" fmla="*/ 201026 w 448294"/>
              <a:gd name="connsiteY0" fmla="*/ 359705 h 428930"/>
              <a:gd name="connsiteX1" fmla="*/ 305801 w 448294"/>
              <a:gd name="connsiteY1" fmla="*/ 426381 h 428930"/>
              <a:gd name="connsiteX2" fmla="*/ 351045 w 448294"/>
              <a:gd name="connsiteY2" fmla="*/ 400187 h 428930"/>
              <a:gd name="connsiteX3" fmla="*/ 377239 w 448294"/>
              <a:gd name="connsiteY3" fmla="*/ 264456 h 428930"/>
              <a:gd name="connsiteX4" fmla="*/ 441532 w 448294"/>
              <a:gd name="connsiteY4" fmla="*/ 133486 h 428930"/>
              <a:gd name="connsiteX5" fmla="*/ 441531 w 448294"/>
              <a:gd name="connsiteY5" fmla="*/ 64430 h 428930"/>
              <a:gd name="connsiteX6" fmla="*/ 401050 w 448294"/>
              <a:gd name="connsiteY6" fmla="*/ 137 h 428930"/>
              <a:gd name="connsiteX7" fmla="*/ 277226 w 448294"/>
              <a:gd name="connsiteY7" fmla="*/ 50143 h 428930"/>
              <a:gd name="connsiteX8" fmla="*/ 234363 w 448294"/>
              <a:gd name="connsiteY8" fmla="*/ 140630 h 428930"/>
              <a:gd name="connsiteX9" fmla="*/ 115301 w 448294"/>
              <a:gd name="connsiteY9" fmla="*/ 145392 h 428930"/>
              <a:gd name="connsiteX10" fmla="*/ 53387 w 448294"/>
              <a:gd name="connsiteY10" fmla="*/ 190637 h 428930"/>
              <a:gd name="connsiteX11" fmla="*/ 1001 w 448294"/>
              <a:gd name="connsiteY11" fmla="*/ 283505 h 428930"/>
              <a:gd name="connsiteX12" fmla="*/ 108157 w 448294"/>
              <a:gd name="connsiteY12" fmla="*/ 335893 h 428930"/>
              <a:gd name="connsiteX13" fmla="*/ 189119 w 448294"/>
              <a:gd name="connsiteY13" fmla="*/ 312080 h 428930"/>
              <a:gd name="connsiteX14" fmla="*/ 201026 w 448294"/>
              <a:gd name="connsiteY14" fmla="*/ 359705 h 428930"/>
              <a:gd name="connsiteX0" fmla="*/ 196375 w 443643"/>
              <a:gd name="connsiteY0" fmla="*/ 359705 h 428930"/>
              <a:gd name="connsiteX1" fmla="*/ 301150 w 443643"/>
              <a:gd name="connsiteY1" fmla="*/ 426381 h 428930"/>
              <a:gd name="connsiteX2" fmla="*/ 346394 w 443643"/>
              <a:gd name="connsiteY2" fmla="*/ 400187 h 428930"/>
              <a:gd name="connsiteX3" fmla="*/ 372588 w 443643"/>
              <a:gd name="connsiteY3" fmla="*/ 264456 h 428930"/>
              <a:gd name="connsiteX4" fmla="*/ 436881 w 443643"/>
              <a:gd name="connsiteY4" fmla="*/ 133486 h 428930"/>
              <a:gd name="connsiteX5" fmla="*/ 436880 w 443643"/>
              <a:gd name="connsiteY5" fmla="*/ 64430 h 428930"/>
              <a:gd name="connsiteX6" fmla="*/ 396399 w 443643"/>
              <a:gd name="connsiteY6" fmla="*/ 137 h 428930"/>
              <a:gd name="connsiteX7" fmla="*/ 272575 w 443643"/>
              <a:gd name="connsiteY7" fmla="*/ 50143 h 428930"/>
              <a:gd name="connsiteX8" fmla="*/ 229712 w 443643"/>
              <a:gd name="connsiteY8" fmla="*/ 140630 h 428930"/>
              <a:gd name="connsiteX9" fmla="*/ 110650 w 443643"/>
              <a:gd name="connsiteY9" fmla="*/ 145392 h 428930"/>
              <a:gd name="connsiteX10" fmla="*/ 48736 w 443643"/>
              <a:gd name="connsiteY10" fmla="*/ 190637 h 428930"/>
              <a:gd name="connsiteX11" fmla="*/ 1113 w 443643"/>
              <a:gd name="connsiteY11" fmla="*/ 281123 h 428930"/>
              <a:gd name="connsiteX12" fmla="*/ 103506 w 443643"/>
              <a:gd name="connsiteY12" fmla="*/ 335893 h 428930"/>
              <a:gd name="connsiteX13" fmla="*/ 184468 w 443643"/>
              <a:gd name="connsiteY13" fmla="*/ 312080 h 428930"/>
              <a:gd name="connsiteX14" fmla="*/ 196375 w 443643"/>
              <a:gd name="connsiteY14" fmla="*/ 359705 h 428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43643" h="428930">
                <a:moveTo>
                  <a:pt x="196375" y="359705"/>
                </a:moveTo>
                <a:cubicBezTo>
                  <a:pt x="215822" y="378755"/>
                  <a:pt x="276147" y="419634"/>
                  <a:pt x="301150" y="426381"/>
                </a:cubicBezTo>
                <a:cubicBezTo>
                  <a:pt x="326153" y="433128"/>
                  <a:pt x="334488" y="427174"/>
                  <a:pt x="346394" y="400187"/>
                </a:cubicBezTo>
                <a:cubicBezTo>
                  <a:pt x="358300" y="373200"/>
                  <a:pt x="359094" y="304144"/>
                  <a:pt x="372588" y="264456"/>
                </a:cubicBezTo>
                <a:cubicBezTo>
                  <a:pt x="386082" y="224768"/>
                  <a:pt x="426166" y="166824"/>
                  <a:pt x="436881" y="133486"/>
                </a:cubicBezTo>
                <a:cubicBezTo>
                  <a:pt x="447596" y="100148"/>
                  <a:pt x="444024" y="85464"/>
                  <a:pt x="436880" y="64430"/>
                </a:cubicBezTo>
                <a:cubicBezTo>
                  <a:pt x="429736" y="43396"/>
                  <a:pt x="423783" y="2518"/>
                  <a:pt x="396399" y="137"/>
                </a:cubicBezTo>
                <a:cubicBezTo>
                  <a:pt x="369015" y="-2244"/>
                  <a:pt x="300356" y="26728"/>
                  <a:pt x="272575" y="50143"/>
                </a:cubicBezTo>
                <a:cubicBezTo>
                  <a:pt x="244794" y="73558"/>
                  <a:pt x="256699" y="124755"/>
                  <a:pt x="229712" y="140630"/>
                </a:cubicBezTo>
                <a:cubicBezTo>
                  <a:pt x="202725" y="156505"/>
                  <a:pt x="140813" y="137058"/>
                  <a:pt x="110650" y="145392"/>
                </a:cubicBezTo>
                <a:cubicBezTo>
                  <a:pt x="80487" y="153726"/>
                  <a:pt x="67786" y="167618"/>
                  <a:pt x="48736" y="190637"/>
                </a:cubicBezTo>
                <a:cubicBezTo>
                  <a:pt x="29686" y="213656"/>
                  <a:pt x="-6825" y="258104"/>
                  <a:pt x="1113" y="281123"/>
                </a:cubicBezTo>
                <a:cubicBezTo>
                  <a:pt x="9051" y="304142"/>
                  <a:pt x="72947" y="330734"/>
                  <a:pt x="103506" y="335893"/>
                </a:cubicBezTo>
                <a:cubicBezTo>
                  <a:pt x="134065" y="341052"/>
                  <a:pt x="168990" y="308111"/>
                  <a:pt x="184468" y="312080"/>
                </a:cubicBezTo>
                <a:cubicBezTo>
                  <a:pt x="199946" y="316049"/>
                  <a:pt x="176928" y="340655"/>
                  <a:pt x="196375" y="359705"/>
                </a:cubicBezTo>
                <a:close/>
              </a:path>
            </a:pathLst>
          </a:custGeom>
          <a:solidFill>
            <a:srgbClr val="00B0F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sp>
        <p:nvSpPr>
          <p:cNvPr id="41" name="Полилиния 40"/>
          <p:cNvSpPr/>
          <p:nvPr/>
        </p:nvSpPr>
        <p:spPr>
          <a:xfrm>
            <a:off x="5098697" y="2620305"/>
            <a:ext cx="564084" cy="330081"/>
          </a:xfrm>
          <a:custGeom>
            <a:avLst/>
            <a:gdLst>
              <a:gd name="connsiteX0" fmla="*/ 106082 w 500272"/>
              <a:gd name="connsiteY0" fmla="*/ 259025 h 280243"/>
              <a:gd name="connsiteX1" fmla="*/ 1307 w 500272"/>
              <a:gd name="connsiteY1" fmla="*/ 151869 h 280243"/>
              <a:gd name="connsiteX2" fmla="*/ 65601 w 500272"/>
              <a:gd name="connsiteY2" fmla="*/ 37569 h 280243"/>
              <a:gd name="connsiteX3" fmla="*/ 313251 w 500272"/>
              <a:gd name="connsiteY3" fmla="*/ 1850 h 280243"/>
              <a:gd name="connsiteX4" fmla="*/ 460888 w 500272"/>
              <a:gd name="connsiteY4" fmla="*/ 85194 h 280243"/>
              <a:gd name="connsiteX5" fmla="*/ 496607 w 500272"/>
              <a:gd name="connsiteY5" fmla="*/ 170919 h 280243"/>
              <a:gd name="connsiteX6" fmla="*/ 477557 w 500272"/>
              <a:gd name="connsiteY6" fmla="*/ 232831 h 280243"/>
              <a:gd name="connsiteX7" fmla="*/ 306107 w 500272"/>
              <a:gd name="connsiteY7" fmla="*/ 278075 h 280243"/>
              <a:gd name="connsiteX8" fmla="*/ 106082 w 500272"/>
              <a:gd name="connsiteY8" fmla="*/ 259025 h 280243"/>
              <a:gd name="connsiteX0" fmla="*/ 106082 w 499939"/>
              <a:gd name="connsiteY0" fmla="*/ 259025 h 280243"/>
              <a:gd name="connsiteX1" fmla="*/ 1307 w 499939"/>
              <a:gd name="connsiteY1" fmla="*/ 151869 h 280243"/>
              <a:gd name="connsiteX2" fmla="*/ 65601 w 499939"/>
              <a:gd name="connsiteY2" fmla="*/ 37569 h 280243"/>
              <a:gd name="connsiteX3" fmla="*/ 313251 w 499939"/>
              <a:gd name="connsiteY3" fmla="*/ 1850 h 280243"/>
              <a:gd name="connsiteX4" fmla="*/ 465651 w 499939"/>
              <a:gd name="connsiteY4" fmla="*/ 85194 h 280243"/>
              <a:gd name="connsiteX5" fmla="*/ 496607 w 499939"/>
              <a:gd name="connsiteY5" fmla="*/ 170919 h 280243"/>
              <a:gd name="connsiteX6" fmla="*/ 477557 w 499939"/>
              <a:gd name="connsiteY6" fmla="*/ 232831 h 280243"/>
              <a:gd name="connsiteX7" fmla="*/ 306107 w 499939"/>
              <a:gd name="connsiteY7" fmla="*/ 278075 h 280243"/>
              <a:gd name="connsiteX8" fmla="*/ 106082 w 499939"/>
              <a:gd name="connsiteY8" fmla="*/ 259025 h 280243"/>
              <a:gd name="connsiteX0" fmla="*/ 106082 w 503132"/>
              <a:gd name="connsiteY0" fmla="*/ 259025 h 280243"/>
              <a:gd name="connsiteX1" fmla="*/ 1307 w 503132"/>
              <a:gd name="connsiteY1" fmla="*/ 151869 h 280243"/>
              <a:gd name="connsiteX2" fmla="*/ 65601 w 503132"/>
              <a:gd name="connsiteY2" fmla="*/ 37569 h 280243"/>
              <a:gd name="connsiteX3" fmla="*/ 313251 w 503132"/>
              <a:gd name="connsiteY3" fmla="*/ 1850 h 280243"/>
              <a:gd name="connsiteX4" fmla="*/ 465651 w 503132"/>
              <a:gd name="connsiteY4" fmla="*/ 85194 h 280243"/>
              <a:gd name="connsiteX5" fmla="*/ 501369 w 503132"/>
              <a:gd name="connsiteY5" fmla="*/ 151869 h 280243"/>
              <a:gd name="connsiteX6" fmla="*/ 477557 w 503132"/>
              <a:gd name="connsiteY6" fmla="*/ 232831 h 280243"/>
              <a:gd name="connsiteX7" fmla="*/ 306107 w 503132"/>
              <a:gd name="connsiteY7" fmla="*/ 278075 h 280243"/>
              <a:gd name="connsiteX8" fmla="*/ 106082 w 503132"/>
              <a:gd name="connsiteY8" fmla="*/ 259025 h 280243"/>
              <a:gd name="connsiteX0" fmla="*/ 106082 w 502420"/>
              <a:gd name="connsiteY0" fmla="*/ 259025 h 280243"/>
              <a:gd name="connsiteX1" fmla="*/ 1307 w 502420"/>
              <a:gd name="connsiteY1" fmla="*/ 151869 h 280243"/>
              <a:gd name="connsiteX2" fmla="*/ 65601 w 502420"/>
              <a:gd name="connsiteY2" fmla="*/ 37569 h 280243"/>
              <a:gd name="connsiteX3" fmla="*/ 313251 w 502420"/>
              <a:gd name="connsiteY3" fmla="*/ 1850 h 280243"/>
              <a:gd name="connsiteX4" fmla="*/ 465651 w 502420"/>
              <a:gd name="connsiteY4" fmla="*/ 85194 h 280243"/>
              <a:gd name="connsiteX5" fmla="*/ 501369 w 502420"/>
              <a:gd name="connsiteY5" fmla="*/ 151869 h 280243"/>
              <a:gd name="connsiteX6" fmla="*/ 439457 w 502420"/>
              <a:gd name="connsiteY6" fmla="*/ 228068 h 280243"/>
              <a:gd name="connsiteX7" fmla="*/ 306107 w 502420"/>
              <a:gd name="connsiteY7" fmla="*/ 278075 h 280243"/>
              <a:gd name="connsiteX8" fmla="*/ 106082 w 502420"/>
              <a:gd name="connsiteY8" fmla="*/ 259025 h 280243"/>
              <a:gd name="connsiteX0" fmla="*/ 136194 w 503957"/>
              <a:gd name="connsiteY0" fmla="*/ 244737 h 278404"/>
              <a:gd name="connsiteX1" fmla="*/ 2844 w 503957"/>
              <a:gd name="connsiteY1" fmla="*/ 151869 h 278404"/>
              <a:gd name="connsiteX2" fmla="*/ 67138 w 503957"/>
              <a:gd name="connsiteY2" fmla="*/ 37569 h 278404"/>
              <a:gd name="connsiteX3" fmla="*/ 314788 w 503957"/>
              <a:gd name="connsiteY3" fmla="*/ 1850 h 278404"/>
              <a:gd name="connsiteX4" fmla="*/ 467188 w 503957"/>
              <a:gd name="connsiteY4" fmla="*/ 85194 h 278404"/>
              <a:gd name="connsiteX5" fmla="*/ 502906 w 503957"/>
              <a:gd name="connsiteY5" fmla="*/ 151869 h 278404"/>
              <a:gd name="connsiteX6" fmla="*/ 440994 w 503957"/>
              <a:gd name="connsiteY6" fmla="*/ 228068 h 278404"/>
              <a:gd name="connsiteX7" fmla="*/ 307644 w 503957"/>
              <a:gd name="connsiteY7" fmla="*/ 278075 h 278404"/>
              <a:gd name="connsiteX8" fmla="*/ 136194 w 503957"/>
              <a:gd name="connsiteY8" fmla="*/ 244737 h 278404"/>
              <a:gd name="connsiteX0" fmla="*/ 140688 w 508451"/>
              <a:gd name="connsiteY0" fmla="*/ 244665 h 278355"/>
              <a:gd name="connsiteX1" fmla="*/ 2575 w 508451"/>
              <a:gd name="connsiteY1" fmla="*/ 144653 h 278355"/>
              <a:gd name="connsiteX2" fmla="*/ 71632 w 508451"/>
              <a:gd name="connsiteY2" fmla="*/ 37497 h 278355"/>
              <a:gd name="connsiteX3" fmla="*/ 319282 w 508451"/>
              <a:gd name="connsiteY3" fmla="*/ 1778 h 278355"/>
              <a:gd name="connsiteX4" fmla="*/ 471682 w 508451"/>
              <a:gd name="connsiteY4" fmla="*/ 85122 h 278355"/>
              <a:gd name="connsiteX5" fmla="*/ 507400 w 508451"/>
              <a:gd name="connsiteY5" fmla="*/ 151797 h 278355"/>
              <a:gd name="connsiteX6" fmla="*/ 445488 w 508451"/>
              <a:gd name="connsiteY6" fmla="*/ 227996 h 278355"/>
              <a:gd name="connsiteX7" fmla="*/ 312138 w 508451"/>
              <a:gd name="connsiteY7" fmla="*/ 278003 h 278355"/>
              <a:gd name="connsiteX8" fmla="*/ 140688 w 508451"/>
              <a:gd name="connsiteY8" fmla="*/ 244665 h 278355"/>
              <a:gd name="connsiteX0" fmla="*/ 145225 w 512988"/>
              <a:gd name="connsiteY0" fmla="*/ 244642 h 278340"/>
              <a:gd name="connsiteX1" fmla="*/ 2349 w 512988"/>
              <a:gd name="connsiteY1" fmla="*/ 142249 h 278340"/>
              <a:gd name="connsiteX2" fmla="*/ 76169 w 512988"/>
              <a:gd name="connsiteY2" fmla="*/ 37474 h 278340"/>
              <a:gd name="connsiteX3" fmla="*/ 323819 w 512988"/>
              <a:gd name="connsiteY3" fmla="*/ 1755 h 278340"/>
              <a:gd name="connsiteX4" fmla="*/ 476219 w 512988"/>
              <a:gd name="connsiteY4" fmla="*/ 85099 h 278340"/>
              <a:gd name="connsiteX5" fmla="*/ 511937 w 512988"/>
              <a:gd name="connsiteY5" fmla="*/ 151774 h 278340"/>
              <a:gd name="connsiteX6" fmla="*/ 450025 w 512988"/>
              <a:gd name="connsiteY6" fmla="*/ 227973 h 278340"/>
              <a:gd name="connsiteX7" fmla="*/ 316675 w 512988"/>
              <a:gd name="connsiteY7" fmla="*/ 277980 h 278340"/>
              <a:gd name="connsiteX8" fmla="*/ 145225 w 512988"/>
              <a:gd name="connsiteY8" fmla="*/ 244642 h 278340"/>
              <a:gd name="connsiteX0" fmla="*/ 133969 w 501732"/>
              <a:gd name="connsiteY0" fmla="*/ 244597 h 278312"/>
              <a:gd name="connsiteX1" fmla="*/ 2999 w 501732"/>
              <a:gd name="connsiteY1" fmla="*/ 137441 h 278312"/>
              <a:gd name="connsiteX2" fmla="*/ 64913 w 501732"/>
              <a:gd name="connsiteY2" fmla="*/ 37429 h 278312"/>
              <a:gd name="connsiteX3" fmla="*/ 312563 w 501732"/>
              <a:gd name="connsiteY3" fmla="*/ 1710 h 278312"/>
              <a:gd name="connsiteX4" fmla="*/ 464963 w 501732"/>
              <a:gd name="connsiteY4" fmla="*/ 85054 h 278312"/>
              <a:gd name="connsiteX5" fmla="*/ 500681 w 501732"/>
              <a:gd name="connsiteY5" fmla="*/ 151729 h 278312"/>
              <a:gd name="connsiteX6" fmla="*/ 438769 w 501732"/>
              <a:gd name="connsiteY6" fmla="*/ 227928 h 278312"/>
              <a:gd name="connsiteX7" fmla="*/ 305419 w 501732"/>
              <a:gd name="connsiteY7" fmla="*/ 277935 h 278312"/>
              <a:gd name="connsiteX8" fmla="*/ 133969 w 501732"/>
              <a:gd name="connsiteY8" fmla="*/ 244597 h 278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01732" h="278312">
                <a:moveTo>
                  <a:pt x="133969" y="244597"/>
                </a:moveTo>
                <a:cubicBezTo>
                  <a:pt x="83566" y="221181"/>
                  <a:pt x="14508" y="171969"/>
                  <a:pt x="2999" y="137441"/>
                </a:cubicBezTo>
                <a:cubicBezTo>
                  <a:pt x="-8510" y="102913"/>
                  <a:pt x="13319" y="60051"/>
                  <a:pt x="64913" y="37429"/>
                </a:cubicBezTo>
                <a:cubicBezTo>
                  <a:pt x="116507" y="14807"/>
                  <a:pt x="245888" y="-6227"/>
                  <a:pt x="312563" y="1710"/>
                </a:cubicBezTo>
                <a:cubicBezTo>
                  <a:pt x="379238" y="9647"/>
                  <a:pt x="433610" y="60051"/>
                  <a:pt x="464963" y="85054"/>
                </a:cubicBezTo>
                <a:cubicBezTo>
                  <a:pt x="496316" y="110057"/>
                  <a:pt x="505047" y="127917"/>
                  <a:pt x="500681" y="151729"/>
                </a:cubicBezTo>
                <a:cubicBezTo>
                  <a:pt x="496315" y="175541"/>
                  <a:pt x="470519" y="210069"/>
                  <a:pt x="438769" y="227928"/>
                </a:cubicBezTo>
                <a:cubicBezTo>
                  <a:pt x="407019" y="245787"/>
                  <a:pt x="356219" y="275157"/>
                  <a:pt x="305419" y="277935"/>
                </a:cubicBezTo>
                <a:cubicBezTo>
                  <a:pt x="254619" y="280713"/>
                  <a:pt x="184372" y="268013"/>
                  <a:pt x="133969" y="244597"/>
                </a:cubicBezTo>
                <a:close/>
              </a:path>
            </a:pathLst>
          </a:custGeom>
          <a:solidFill>
            <a:srgbClr val="00B0F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sp>
        <p:nvSpPr>
          <p:cNvPr id="42" name="Параллелограмм 12"/>
          <p:cNvSpPr/>
          <p:nvPr/>
        </p:nvSpPr>
        <p:spPr>
          <a:xfrm>
            <a:off x="3022071" y="3497072"/>
            <a:ext cx="2872976" cy="546872"/>
          </a:xfrm>
          <a:custGeom>
            <a:avLst/>
            <a:gdLst>
              <a:gd name="connsiteX0" fmla="*/ 0 w 2219647"/>
              <a:gd name="connsiteY0" fmla="*/ 410847 h 410847"/>
              <a:gd name="connsiteX1" fmla="*/ 102712 w 2219647"/>
              <a:gd name="connsiteY1" fmla="*/ 0 h 410847"/>
              <a:gd name="connsiteX2" fmla="*/ 2219647 w 2219647"/>
              <a:gd name="connsiteY2" fmla="*/ 0 h 410847"/>
              <a:gd name="connsiteX3" fmla="*/ 2116935 w 2219647"/>
              <a:gd name="connsiteY3" fmla="*/ 410847 h 410847"/>
              <a:gd name="connsiteX4" fmla="*/ 0 w 2219647"/>
              <a:gd name="connsiteY4" fmla="*/ 410847 h 410847"/>
              <a:gd name="connsiteX0" fmla="*/ 0 w 2433960"/>
              <a:gd name="connsiteY0" fmla="*/ 413228 h 413228"/>
              <a:gd name="connsiteX1" fmla="*/ 317025 w 2433960"/>
              <a:gd name="connsiteY1" fmla="*/ 0 h 413228"/>
              <a:gd name="connsiteX2" fmla="*/ 2433960 w 2433960"/>
              <a:gd name="connsiteY2" fmla="*/ 0 h 413228"/>
              <a:gd name="connsiteX3" fmla="*/ 2331248 w 2433960"/>
              <a:gd name="connsiteY3" fmla="*/ 410847 h 413228"/>
              <a:gd name="connsiteX4" fmla="*/ 0 w 2433960"/>
              <a:gd name="connsiteY4" fmla="*/ 413228 h 413228"/>
              <a:gd name="connsiteX0" fmla="*/ 0 w 2433960"/>
              <a:gd name="connsiteY0" fmla="*/ 458472 h 458472"/>
              <a:gd name="connsiteX1" fmla="*/ 240825 w 2433960"/>
              <a:gd name="connsiteY1" fmla="*/ 0 h 458472"/>
              <a:gd name="connsiteX2" fmla="*/ 2433960 w 2433960"/>
              <a:gd name="connsiteY2" fmla="*/ 45244 h 458472"/>
              <a:gd name="connsiteX3" fmla="*/ 2331248 w 2433960"/>
              <a:gd name="connsiteY3" fmla="*/ 456091 h 458472"/>
              <a:gd name="connsiteX4" fmla="*/ 0 w 2433960"/>
              <a:gd name="connsiteY4" fmla="*/ 458472 h 458472"/>
              <a:gd name="connsiteX0" fmla="*/ 0 w 2331248"/>
              <a:gd name="connsiteY0" fmla="*/ 520384 h 520384"/>
              <a:gd name="connsiteX1" fmla="*/ 240825 w 2331248"/>
              <a:gd name="connsiteY1" fmla="*/ 61912 h 520384"/>
              <a:gd name="connsiteX2" fmla="*/ 2210123 w 2331248"/>
              <a:gd name="connsiteY2" fmla="*/ 0 h 520384"/>
              <a:gd name="connsiteX3" fmla="*/ 2331248 w 2331248"/>
              <a:gd name="connsiteY3" fmla="*/ 518003 h 520384"/>
              <a:gd name="connsiteX4" fmla="*/ 0 w 2331248"/>
              <a:gd name="connsiteY4" fmla="*/ 520384 h 520384"/>
              <a:gd name="connsiteX0" fmla="*/ 0 w 2700342"/>
              <a:gd name="connsiteY0" fmla="*/ 520384 h 546578"/>
              <a:gd name="connsiteX1" fmla="*/ 240825 w 2700342"/>
              <a:gd name="connsiteY1" fmla="*/ 61912 h 546578"/>
              <a:gd name="connsiteX2" fmla="*/ 2210123 w 2700342"/>
              <a:gd name="connsiteY2" fmla="*/ 0 h 546578"/>
              <a:gd name="connsiteX3" fmla="*/ 2700342 w 2700342"/>
              <a:gd name="connsiteY3" fmla="*/ 546578 h 546578"/>
              <a:gd name="connsiteX4" fmla="*/ 0 w 2700342"/>
              <a:gd name="connsiteY4" fmla="*/ 520384 h 546578"/>
              <a:gd name="connsiteX0" fmla="*/ 0 w 2736061"/>
              <a:gd name="connsiteY0" fmla="*/ 520384 h 541815"/>
              <a:gd name="connsiteX1" fmla="*/ 240825 w 2736061"/>
              <a:gd name="connsiteY1" fmla="*/ 61912 h 541815"/>
              <a:gd name="connsiteX2" fmla="*/ 2210123 w 2736061"/>
              <a:gd name="connsiteY2" fmla="*/ 0 h 541815"/>
              <a:gd name="connsiteX3" fmla="*/ 2736061 w 2736061"/>
              <a:gd name="connsiteY3" fmla="*/ 541815 h 541815"/>
              <a:gd name="connsiteX4" fmla="*/ 0 w 2736061"/>
              <a:gd name="connsiteY4" fmla="*/ 520384 h 541815"/>
              <a:gd name="connsiteX0" fmla="*/ 0 w 2736061"/>
              <a:gd name="connsiteY0" fmla="*/ 508478 h 529909"/>
              <a:gd name="connsiteX1" fmla="*/ 240825 w 2736061"/>
              <a:gd name="connsiteY1" fmla="*/ 50006 h 529909"/>
              <a:gd name="connsiteX2" fmla="*/ 2243461 w 2736061"/>
              <a:gd name="connsiteY2" fmla="*/ 0 h 529909"/>
              <a:gd name="connsiteX3" fmla="*/ 2736061 w 2736061"/>
              <a:gd name="connsiteY3" fmla="*/ 529909 h 529909"/>
              <a:gd name="connsiteX4" fmla="*/ 0 w 2736061"/>
              <a:gd name="connsiteY4" fmla="*/ 508478 h 529909"/>
              <a:gd name="connsiteX0" fmla="*/ 0 w 2736061"/>
              <a:gd name="connsiteY0" fmla="*/ 508478 h 529909"/>
              <a:gd name="connsiteX1" fmla="*/ 240825 w 2736061"/>
              <a:gd name="connsiteY1" fmla="*/ 50006 h 529909"/>
              <a:gd name="connsiteX2" fmla="*/ 2243461 w 2736061"/>
              <a:gd name="connsiteY2" fmla="*/ 0 h 529909"/>
              <a:gd name="connsiteX3" fmla="*/ 2736061 w 2736061"/>
              <a:gd name="connsiteY3" fmla="*/ 529909 h 529909"/>
              <a:gd name="connsiteX4" fmla="*/ 0 w 2736061"/>
              <a:gd name="connsiteY4" fmla="*/ 508478 h 529909"/>
              <a:gd name="connsiteX0" fmla="*/ 0 w 2736061"/>
              <a:gd name="connsiteY0" fmla="*/ 508478 h 529909"/>
              <a:gd name="connsiteX1" fmla="*/ 240825 w 2736061"/>
              <a:gd name="connsiteY1" fmla="*/ 50006 h 529909"/>
              <a:gd name="connsiteX2" fmla="*/ 2243461 w 2736061"/>
              <a:gd name="connsiteY2" fmla="*/ 0 h 529909"/>
              <a:gd name="connsiteX3" fmla="*/ 2736061 w 2736061"/>
              <a:gd name="connsiteY3" fmla="*/ 529909 h 529909"/>
              <a:gd name="connsiteX4" fmla="*/ 0 w 2736061"/>
              <a:gd name="connsiteY4" fmla="*/ 508478 h 529909"/>
              <a:gd name="connsiteX0" fmla="*/ 0 w 2736061"/>
              <a:gd name="connsiteY0" fmla="*/ 508478 h 529909"/>
              <a:gd name="connsiteX1" fmla="*/ 240825 w 2736061"/>
              <a:gd name="connsiteY1" fmla="*/ 50006 h 529909"/>
              <a:gd name="connsiteX2" fmla="*/ 2243461 w 2736061"/>
              <a:gd name="connsiteY2" fmla="*/ 0 h 529909"/>
              <a:gd name="connsiteX3" fmla="*/ 2736061 w 2736061"/>
              <a:gd name="connsiteY3" fmla="*/ 529909 h 529909"/>
              <a:gd name="connsiteX4" fmla="*/ 0 w 2736061"/>
              <a:gd name="connsiteY4" fmla="*/ 508478 h 529909"/>
              <a:gd name="connsiteX0" fmla="*/ 0 w 2688436"/>
              <a:gd name="connsiteY0" fmla="*/ 508478 h 527528"/>
              <a:gd name="connsiteX1" fmla="*/ 240825 w 2688436"/>
              <a:gd name="connsiteY1" fmla="*/ 50006 h 527528"/>
              <a:gd name="connsiteX2" fmla="*/ 2243461 w 2688436"/>
              <a:gd name="connsiteY2" fmla="*/ 0 h 527528"/>
              <a:gd name="connsiteX3" fmla="*/ 2688436 w 2688436"/>
              <a:gd name="connsiteY3" fmla="*/ 527528 h 527528"/>
              <a:gd name="connsiteX4" fmla="*/ 0 w 2688436"/>
              <a:gd name="connsiteY4" fmla="*/ 508478 h 527528"/>
              <a:gd name="connsiteX0" fmla="*/ 0 w 2688436"/>
              <a:gd name="connsiteY0" fmla="*/ 508478 h 527528"/>
              <a:gd name="connsiteX1" fmla="*/ 240825 w 2688436"/>
              <a:gd name="connsiteY1" fmla="*/ 50006 h 527528"/>
              <a:gd name="connsiteX2" fmla="*/ 2243461 w 2688436"/>
              <a:gd name="connsiteY2" fmla="*/ 0 h 527528"/>
              <a:gd name="connsiteX3" fmla="*/ 2688436 w 2688436"/>
              <a:gd name="connsiteY3" fmla="*/ 527528 h 527528"/>
              <a:gd name="connsiteX4" fmla="*/ 0 w 2688436"/>
              <a:gd name="connsiteY4" fmla="*/ 508478 h 527528"/>
              <a:gd name="connsiteX0" fmla="*/ 0 w 2657480"/>
              <a:gd name="connsiteY0" fmla="*/ 508478 h 529909"/>
              <a:gd name="connsiteX1" fmla="*/ 240825 w 2657480"/>
              <a:gd name="connsiteY1" fmla="*/ 50006 h 529909"/>
              <a:gd name="connsiteX2" fmla="*/ 2243461 w 2657480"/>
              <a:gd name="connsiteY2" fmla="*/ 0 h 529909"/>
              <a:gd name="connsiteX3" fmla="*/ 2657480 w 2657480"/>
              <a:gd name="connsiteY3" fmla="*/ 529909 h 529909"/>
              <a:gd name="connsiteX4" fmla="*/ 0 w 2657480"/>
              <a:gd name="connsiteY4" fmla="*/ 508478 h 529909"/>
              <a:gd name="connsiteX0" fmla="*/ 0 w 2657480"/>
              <a:gd name="connsiteY0" fmla="*/ 508478 h 529909"/>
              <a:gd name="connsiteX1" fmla="*/ 240825 w 2657480"/>
              <a:gd name="connsiteY1" fmla="*/ 50006 h 529909"/>
              <a:gd name="connsiteX2" fmla="*/ 2243461 w 2657480"/>
              <a:gd name="connsiteY2" fmla="*/ 0 h 529909"/>
              <a:gd name="connsiteX3" fmla="*/ 2657480 w 2657480"/>
              <a:gd name="connsiteY3" fmla="*/ 529909 h 529909"/>
              <a:gd name="connsiteX4" fmla="*/ 0 w 2657480"/>
              <a:gd name="connsiteY4" fmla="*/ 508478 h 529909"/>
              <a:gd name="connsiteX0" fmla="*/ 0 w 2657480"/>
              <a:gd name="connsiteY0" fmla="*/ 477522 h 498953"/>
              <a:gd name="connsiteX1" fmla="*/ 240825 w 2657480"/>
              <a:gd name="connsiteY1" fmla="*/ 19050 h 498953"/>
              <a:gd name="connsiteX2" fmla="*/ 2252986 w 2657480"/>
              <a:gd name="connsiteY2" fmla="*/ 0 h 498953"/>
              <a:gd name="connsiteX3" fmla="*/ 2657480 w 2657480"/>
              <a:gd name="connsiteY3" fmla="*/ 498953 h 498953"/>
              <a:gd name="connsiteX4" fmla="*/ 0 w 2657480"/>
              <a:gd name="connsiteY4" fmla="*/ 477522 h 498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57480" h="498953">
                <a:moveTo>
                  <a:pt x="0" y="477522"/>
                </a:moveTo>
                <a:lnTo>
                  <a:pt x="240825" y="19050"/>
                </a:lnTo>
                <a:lnTo>
                  <a:pt x="2252986" y="0"/>
                </a:lnTo>
                <a:cubicBezTo>
                  <a:pt x="2348130" y="350468"/>
                  <a:pt x="2555192" y="455667"/>
                  <a:pt x="2657480" y="498953"/>
                </a:cubicBezTo>
                <a:lnTo>
                  <a:pt x="0" y="477522"/>
                </a:lnTo>
                <a:close/>
              </a:path>
            </a:pathLst>
          </a:custGeom>
          <a:solidFill>
            <a:schemeClr val="accent2">
              <a:lumMod val="75000"/>
              <a:alpha val="60000"/>
            </a:schemeClr>
          </a:solidFill>
          <a:ln w="12700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sp>
        <p:nvSpPr>
          <p:cNvPr id="43" name="Параллелограмм 67"/>
          <p:cNvSpPr/>
          <p:nvPr/>
        </p:nvSpPr>
        <p:spPr>
          <a:xfrm>
            <a:off x="5837071" y="1954265"/>
            <a:ext cx="391697" cy="576384"/>
          </a:xfrm>
          <a:custGeom>
            <a:avLst/>
            <a:gdLst>
              <a:gd name="connsiteX0" fmla="*/ 0 w 360040"/>
              <a:gd name="connsiteY0" fmla="*/ 569240 h 569240"/>
              <a:gd name="connsiteX1" fmla="*/ 90010 w 360040"/>
              <a:gd name="connsiteY1" fmla="*/ 0 h 569240"/>
              <a:gd name="connsiteX2" fmla="*/ 360040 w 360040"/>
              <a:gd name="connsiteY2" fmla="*/ 0 h 569240"/>
              <a:gd name="connsiteX3" fmla="*/ 270030 w 360040"/>
              <a:gd name="connsiteY3" fmla="*/ 569240 h 569240"/>
              <a:gd name="connsiteX4" fmla="*/ 0 w 360040"/>
              <a:gd name="connsiteY4" fmla="*/ 569240 h 569240"/>
              <a:gd name="connsiteX0" fmla="*/ 43340 w 403380"/>
              <a:gd name="connsiteY0" fmla="*/ 569240 h 569240"/>
              <a:gd name="connsiteX1" fmla="*/ 0 w 403380"/>
              <a:gd name="connsiteY1" fmla="*/ 0 h 569240"/>
              <a:gd name="connsiteX2" fmla="*/ 403380 w 403380"/>
              <a:gd name="connsiteY2" fmla="*/ 0 h 569240"/>
              <a:gd name="connsiteX3" fmla="*/ 313370 w 403380"/>
              <a:gd name="connsiteY3" fmla="*/ 569240 h 569240"/>
              <a:gd name="connsiteX4" fmla="*/ 43340 w 403380"/>
              <a:gd name="connsiteY4" fmla="*/ 569240 h 569240"/>
              <a:gd name="connsiteX0" fmla="*/ 0 w 417190"/>
              <a:gd name="connsiteY0" fmla="*/ 576384 h 576384"/>
              <a:gd name="connsiteX1" fmla="*/ 13810 w 417190"/>
              <a:gd name="connsiteY1" fmla="*/ 0 h 576384"/>
              <a:gd name="connsiteX2" fmla="*/ 417190 w 417190"/>
              <a:gd name="connsiteY2" fmla="*/ 0 h 576384"/>
              <a:gd name="connsiteX3" fmla="*/ 327180 w 417190"/>
              <a:gd name="connsiteY3" fmla="*/ 569240 h 576384"/>
              <a:gd name="connsiteX4" fmla="*/ 0 w 417190"/>
              <a:gd name="connsiteY4" fmla="*/ 576384 h 576384"/>
              <a:gd name="connsiteX0" fmla="*/ 0 w 381471"/>
              <a:gd name="connsiteY0" fmla="*/ 576384 h 576384"/>
              <a:gd name="connsiteX1" fmla="*/ 13810 w 381471"/>
              <a:gd name="connsiteY1" fmla="*/ 0 h 576384"/>
              <a:gd name="connsiteX2" fmla="*/ 381471 w 381471"/>
              <a:gd name="connsiteY2" fmla="*/ 4762 h 576384"/>
              <a:gd name="connsiteX3" fmla="*/ 327180 w 381471"/>
              <a:gd name="connsiteY3" fmla="*/ 569240 h 576384"/>
              <a:gd name="connsiteX4" fmla="*/ 0 w 381471"/>
              <a:gd name="connsiteY4" fmla="*/ 576384 h 576384"/>
              <a:gd name="connsiteX0" fmla="*/ 0 w 393480"/>
              <a:gd name="connsiteY0" fmla="*/ 576384 h 576384"/>
              <a:gd name="connsiteX1" fmla="*/ 13810 w 393480"/>
              <a:gd name="connsiteY1" fmla="*/ 0 h 576384"/>
              <a:gd name="connsiteX2" fmla="*/ 381471 w 393480"/>
              <a:gd name="connsiteY2" fmla="*/ 4762 h 576384"/>
              <a:gd name="connsiteX3" fmla="*/ 327180 w 393480"/>
              <a:gd name="connsiteY3" fmla="*/ 569240 h 576384"/>
              <a:gd name="connsiteX4" fmla="*/ 0 w 393480"/>
              <a:gd name="connsiteY4" fmla="*/ 576384 h 576384"/>
              <a:gd name="connsiteX0" fmla="*/ 0 w 392377"/>
              <a:gd name="connsiteY0" fmla="*/ 576384 h 576384"/>
              <a:gd name="connsiteX1" fmla="*/ 13810 w 392377"/>
              <a:gd name="connsiteY1" fmla="*/ 0 h 576384"/>
              <a:gd name="connsiteX2" fmla="*/ 381471 w 392377"/>
              <a:gd name="connsiteY2" fmla="*/ 4762 h 576384"/>
              <a:gd name="connsiteX3" fmla="*/ 327180 w 392377"/>
              <a:gd name="connsiteY3" fmla="*/ 569240 h 576384"/>
              <a:gd name="connsiteX4" fmla="*/ 0 w 392377"/>
              <a:gd name="connsiteY4" fmla="*/ 576384 h 576384"/>
              <a:gd name="connsiteX0" fmla="*/ 0 w 392377"/>
              <a:gd name="connsiteY0" fmla="*/ 576384 h 576384"/>
              <a:gd name="connsiteX1" fmla="*/ 13810 w 392377"/>
              <a:gd name="connsiteY1" fmla="*/ 0 h 576384"/>
              <a:gd name="connsiteX2" fmla="*/ 381471 w 392377"/>
              <a:gd name="connsiteY2" fmla="*/ 4762 h 576384"/>
              <a:gd name="connsiteX3" fmla="*/ 327180 w 392377"/>
              <a:gd name="connsiteY3" fmla="*/ 569240 h 576384"/>
              <a:gd name="connsiteX4" fmla="*/ 223739 w 392377"/>
              <a:gd name="connsiteY4" fmla="*/ 574427 h 576384"/>
              <a:gd name="connsiteX5" fmla="*/ 0 w 392377"/>
              <a:gd name="connsiteY5" fmla="*/ 576384 h 576384"/>
              <a:gd name="connsiteX0" fmla="*/ 0 w 387379"/>
              <a:gd name="connsiteY0" fmla="*/ 576384 h 576384"/>
              <a:gd name="connsiteX1" fmla="*/ 13810 w 387379"/>
              <a:gd name="connsiteY1" fmla="*/ 0 h 576384"/>
              <a:gd name="connsiteX2" fmla="*/ 381471 w 387379"/>
              <a:gd name="connsiteY2" fmla="*/ 4762 h 576384"/>
              <a:gd name="connsiteX3" fmla="*/ 223739 w 387379"/>
              <a:gd name="connsiteY3" fmla="*/ 574427 h 576384"/>
              <a:gd name="connsiteX4" fmla="*/ 0 w 387379"/>
              <a:gd name="connsiteY4" fmla="*/ 576384 h 576384"/>
              <a:gd name="connsiteX0" fmla="*/ 0 w 405250"/>
              <a:gd name="connsiteY0" fmla="*/ 576384 h 576384"/>
              <a:gd name="connsiteX1" fmla="*/ 13810 w 405250"/>
              <a:gd name="connsiteY1" fmla="*/ 0 h 576384"/>
              <a:gd name="connsiteX2" fmla="*/ 381471 w 405250"/>
              <a:gd name="connsiteY2" fmla="*/ 4762 h 576384"/>
              <a:gd name="connsiteX3" fmla="*/ 368996 w 405250"/>
              <a:gd name="connsiteY3" fmla="*/ 500608 h 576384"/>
              <a:gd name="connsiteX4" fmla="*/ 223739 w 405250"/>
              <a:gd name="connsiteY4" fmla="*/ 574427 h 576384"/>
              <a:gd name="connsiteX5" fmla="*/ 0 w 405250"/>
              <a:gd name="connsiteY5" fmla="*/ 576384 h 576384"/>
              <a:gd name="connsiteX0" fmla="*/ 0 w 405250"/>
              <a:gd name="connsiteY0" fmla="*/ 576384 h 576384"/>
              <a:gd name="connsiteX1" fmla="*/ 13810 w 405250"/>
              <a:gd name="connsiteY1" fmla="*/ 0 h 576384"/>
              <a:gd name="connsiteX2" fmla="*/ 381471 w 405250"/>
              <a:gd name="connsiteY2" fmla="*/ 4762 h 576384"/>
              <a:gd name="connsiteX3" fmla="*/ 368996 w 405250"/>
              <a:gd name="connsiteY3" fmla="*/ 500608 h 576384"/>
              <a:gd name="connsiteX4" fmla="*/ 223739 w 405250"/>
              <a:gd name="connsiteY4" fmla="*/ 574427 h 576384"/>
              <a:gd name="connsiteX5" fmla="*/ 0 w 405250"/>
              <a:gd name="connsiteY5" fmla="*/ 576384 h 576384"/>
              <a:gd name="connsiteX0" fmla="*/ 0 w 405250"/>
              <a:gd name="connsiteY0" fmla="*/ 576384 h 576384"/>
              <a:gd name="connsiteX1" fmla="*/ 13810 w 405250"/>
              <a:gd name="connsiteY1" fmla="*/ 0 h 576384"/>
              <a:gd name="connsiteX2" fmla="*/ 381471 w 405250"/>
              <a:gd name="connsiteY2" fmla="*/ 4762 h 576384"/>
              <a:gd name="connsiteX3" fmla="*/ 368996 w 405250"/>
              <a:gd name="connsiteY3" fmla="*/ 500608 h 576384"/>
              <a:gd name="connsiteX4" fmla="*/ 223739 w 405250"/>
              <a:gd name="connsiteY4" fmla="*/ 574427 h 576384"/>
              <a:gd name="connsiteX5" fmla="*/ 0 w 405250"/>
              <a:gd name="connsiteY5" fmla="*/ 576384 h 576384"/>
              <a:gd name="connsiteX0" fmla="*/ 0 w 389697"/>
              <a:gd name="connsiteY0" fmla="*/ 576384 h 576384"/>
              <a:gd name="connsiteX1" fmla="*/ 13810 w 389697"/>
              <a:gd name="connsiteY1" fmla="*/ 0 h 576384"/>
              <a:gd name="connsiteX2" fmla="*/ 381471 w 389697"/>
              <a:gd name="connsiteY2" fmla="*/ 4762 h 576384"/>
              <a:gd name="connsiteX3" fmla="*/ 368996 w 389697"/>
              <a:gd name="connsiteY3" fmla="*/ 500608 h 576384"/>
              <a:gd name="connsiteX4" fmla="*/ 223739 w 389697"/>
              <a:gd name="connsiteY4" fmla="*/ 574427 h 576384"/>
              <a:gd name="connsiteX5" fmla="*/ 0 w 389697"/>
              <a:gd name="connsiteY5" fmla="*/ 576384 h 576384"/>
              <a:gd name="connsiteX0" fmla="*/ 0 w 398943"/>
              <a:gd name="connsiteY0" fmla="*/ 576384 h 576384"/>
              <a:gd name="connsiteX1" fmla="*/ 13810 w 398943"/>
              <a:gd name="connsiteY1" fmla="*/ 0 h 576384"/>
              <a:gd name="connsiteX2" fmla="*/ 381471 w 398943"/>
              <a:gd name="connsiteY2" fmla="*/ 4762 h 576384"/>
              <a:gd name="connsiteX3" fmla="*/ 385665 w 398943"/>
              <a:gd name="connsiteY3" fmla="*/ 457746 h 576384"/>
              <a:gd name="connsiteX4" fmla="*/ 223739 w 398943"/>
              <a:gd name="connsiteY4" fmla="*/ 574427 h 576384"/>
              <a:gd name="connsiteX5" fmla="*/ 0 w 398943"/>
              <a:gd name="connsiteY5" fmla="*/ 576384 h 576384"/>
              <a:gd name="connsiteX0" fmla="*/ 0 w 398943"/>
              <a:gd name="connsiteY0" fmla="*/ 576384 h 576384"/>
              <a:gd name="connsiteX1" fmla="*/ 13810 w 398943"/>
              <a:gd name="connsiteY1" fmla="*/ 0 h 576384"/>
              <a:gd name="connsiteX2" fmla="*/ 381471 w 398943"/>
              <a:gd name="connsiteY2" fmla="*/ 4762 h 576384"/>
              <a:gd name="connsiteX3" fmla="*/ 385665 w 398943"/>
              <a:gd name="connsiteY3" fmla="*/ 457746 h 576384"/>
              <a:gd name="connsiteX4" fmla="*/ 223739 w 398943"/>
              <a:gd name="connsiteY4" fmla="*/ 574427 h 576384"/>
              <a:gd name="connsiteX5" fmla="*/ 0 w 398943"/>
              <a:gd name="connsiteY5" fmla="*/ 576384 h 576384"/>
              <a:gd name="connsiteX0" fmla="*/ 0 w 391697"/>
              <a:gd name="connsiteY0" fmla="*/ 576384 h 576384"/>
              <a:gd name="connsiteX1" fmla="*/ 13810 w 391697"/>
              <a:gd name="connsiteY1" fmla="*/ 0 h 576384"/>
              <a:gd name="connsiteX2" fmla="*/ 381471 w 391697"/>
              <a:gd name="connsiteY2" fmla="*/ 4762 h 576384"/>
              <a:gd name="connsiteX3" fmla="*/ 385665 w 391697"/>
              <a:gd name="connsiteY3" fmla="*/ 457746 h 576384"/>
              <a:gd name="connsiteX4" fmla="*/ 223739 w 391697"/>
              <a:gd name="connsiteY4" fmla="*/ 574427 h 576384"/>
              <a:gd name="connsiteX5" fmla="*/ 0 w 391697"/>
              <a:gd name="connsiteY5" fmla="*/ 576384 h 576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1697" h="576384">
                <a:moveTo>
                  <a:pt x="0" y="576384"/>
                </a:moveTo>
                <a:lnTo>
                  <a:pt x="13810" y="0"/>
                </a:lnTo>
                <a:lnTo>
                  <a:pt x="381471" y="4762"/>
                </a:lnTo>
                <a:cubicBezTo>
                  <a:pt x="393044" y="156459"/>
                  <a:pt x="395286" y="369945"/>
                  <a:pt x="385665" y="457746"/>
                </a:cubicBezTo>
                <a:cubicBezTo>
                  <a:pt x="349851" y="559834"/>
                  <a:pt x="278094" y="565766"/>
                  <a:pt x="223739" y="574427"/>
                </a:cubicBezTo>
                <a:lnTo>
                  <a:pt x="0" y="576384"/>
                </a:lnTo>
                <a:close/>
              </a:path>
            </a:pathLst>
          </a:custGeom>
          <a:solidFill>
            <a:schemeClr val="accent5">
              <a:lumMod val="75000"/>
              <a:alpha val="60000"/>
            </a:schemeClr>
          </a:solidFill>
          <a:ln w="12700"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>
            <a:off x="1938856" y="1772816"/>
            <a:ext cx="1723943" cy="0"/>
          </a:xfrm>
          <a:prstGeom prst="line">
            <a:avLst/>
          </a:prstGeom>
          <a:ln w="19050">
            <a:solidFill>
              <a:srgbClr val="92D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3662799" y="1772816"/>
            <a:ext cx="1152128" cy="247962"/>
          </a:xfrm>
          <a:prstGeom prst="line">
            <a:avLst/>
          </a:prstGeom>
          <a:ln w="19050">
            <a:solidFill>
              <a:srgbClr val="92D050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/>
        </p:nvCxnSpPr>
        <p:spPr>
          <a:xfrm>
            <a:off x="1934607" y="1988840"/>
            <a:ext cx="1512168" cy="0"/>
          </a:xfrm>
          <a:prstGeom prst="line">
            <a:avLst/>
          </a:prstGeom>
          <a:ln w="19050">
            <a:solidFill>
              <a:srgbClr val="92D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>
            <a:off x="3187730" y="2204864"/>
            <a:ext cx="2219578" cy="556487"/>
          </a:xfrm>
          <a:prstGeom prst="line">
            <a:avLst/>
          </a:prstGeom>
          <a:ln w="19050">
            <a:solidFill>
              <a:srgbClr val="92D050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1934607" y="2204864"/>
            <a:ext cx="1253123" cy="0"/>
          </a:xfrm>
          <a:prstGeom prst="line">
            <a:avLst/>
          </a:prstGeom>
          <a:ln w="19050">
            <a:solidFill>
              <a:srgbClr val="92D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1938856" y="2448003"/>
            <a:ext cx="1232488" cy="0"/>
          </a:xfrm>
          <a:prstGeom prst="line">
            <a:avLst/>
          </a:prstGeom>
          <a:ln w="19050">
            <a:solidFill>
              <a:srgbClr val="92D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3446775" y="1988840"/>
            <a:ext cx="2320925" cy="657160"/>
          </a:xfrm>
          <a:prstGeom prst="line">
            <a:avLst/>
          </a:prstGeom>
          <a:ln w="19050">
            <a:solidFill>
              <a:srgbClr val="92D050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1934607" y="2758340"/>
            <a:ext cx="1194685" cy="3405"/>
          </a:xfrm>
          <a:prstGeom prst="line">
            <a:avLst/>
          </a:prstGeom>
          <a:ln w="19050">
            <a:solidFill>
              <a:srgbClr val="92D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3139421" y="2448003"/>
            <a:ext cx="1221658" cy="261253"/>
          </a:xfrm>
          <a:prstGeom prst="line">
            <a:avLst/>
          </a:prstGeom>
          <a:ln w="19050">
            <a:solidFill>
              <a:srgbClr val="92D050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/>
          <p:nvPr/>
        </p:nvCxnSpPr>
        <p:spPr>
          <a:xfrm>
            <a:off x="1938856" y="3088333"/>
            <a:ext cx="1232488" cy="0"/>
          </a:xfrm>
          <a:prstGeom prst="line">
            <a:avLst/>
          </a:prstGeom>
          <a:ln w="19050">
            <a:solidFill>
              <a:srgbClr val="92D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>
            <a:endCxn id="38" idx="3"/>
          </p:cNvCxnSpPr>
          <p:nvPr/>
        </p:nvCxnSpPr>
        <p:spPr>
          <a:xfrm>
            <a:off x="3175555" y="3081883"/>
            <a:ext cx="1735646" cy="257408"/>
          </a:xfrm>
          <a:prstGeom prst="line">
            <a:avLst/>
          </a:prstGeom>
          <a:ln w="19050">
            <a:solidFill>
              <a:srgbClr val="92D050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>
            <a:off x="1956617" y="3432947"/>
            <a:ext cx="1214727" cy="1"/>
          </a:xfrm>
          <a:prstGeom prst="line">
            <a:avLst/>
          </a:prstGeom>
          <a:ln w="19050">
            <a:solidFill>
              <a:srgbClr val="92D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>
            <a:off x="5011503" y="3365732"/>
            <a:ext cx="0" cy="0"/>
          </a:xfrm>
          <a:prstGeom prst="line">
            <a:avLst/>
          </a:prstGeom>
          <a:ln w="12700">
            <a:solidFill>
              <a:srgbClr val="92D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>
            <a:off x="3187730" y="3432947"/>
            <a:ext cx="1210951" cy="150240"/>
          </a:xfrm>
          <a:prstGeom prst="line">
            <a:avLst/>
          </a:prstGeom>
          <a:ln w="19050">
            <a:solidFill>
              <a:srgbClr val="92D050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3129292" y="2755756"/>
            <a:ext cx="2080241" cy="403054"/>
          </a:xfrm>
          <a:prstGeom prst="line">
            <a:avLst/>
          </a:prstGeom>
          <a:ln w="19050">
            <a:solidFill>
              <a:srgbClr val="92D050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1833104" y="1556792"/>
            <a:ext cx="13292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>
                <a:latin typeface="Neo Sans Pro" panose="020B0504030504040204" pitchFamily="34" charset="-52"/>
              </a:rPr>
              <a:t>Жилые кварталы</a:t>
            </a:r>
          </a:p>
          <a:p>
            <a:endParaRPr lang="en-US" sz="1000" b="1" dirty="0" smtClean="0">
              <a:latin typeface="Neo Sans Pro" panose="020B0504030504040204" pitchFamily="34" charset="-52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831595" y="1804754"/>
            <a:ext cx="90441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>
                <a:latin typeface="Neo Sans Pro" panose="020B0504030504040204" pitchFamily="34" charset="-52"/>
              </a:rPr>
              <a:t>Отель </a:t>
            </a:r>
            <a:r>
              <a:rPr lang="en-US" sz="1000" b="1" dirty="0" smtClean="0">
                <a:latin typeface="Neo Sans Pro" panose="020B0504030504040204" pitchFamily="34" charset="-52"/>
              </a:rPr>
              <a:t>(3</a:t>
            </a:r>
            <a:r>
              <a:rPr lang="ru-RU" sz="1000" b="1" dirty="0" smtClean="0">
                <a:latin typeface="Neo Sans Pro" panose="020B0504030504040204" pitchFamily="34" charset="-52"/>
              </a:rPr>
              <a:t>*</a:t>
            </a:r>
            <a:r>
              <a:rPr lang="en-US" sz="1000" b="1" dirty="0" smtClean="0">
                <a:latin typeface="Neo Sans Pro" panose="020B0504030504040204" pitchFamily="34" charset="-52"/>
              </a:rPr>
              <a:t>)</a:t>
            </a:r>
            <a:endParaRPr lang="ru-RU" sz="1000" b="1" dirty="0" smtClean="0">
              <a:latin typeface="Neo Sans Pro" panose="020B0504030504040204" pitchFamily="34" charset="-52"/>
            </a:endParaRPr>
          </a:p>
          <a:p>
            <a:endParaRPr lang="en-US" sz="1000" b="1" dirty="0" smtClean="0">
              <a:latin typeface="Neo Sans Pro" panose="020B0504030504040204" pitchFamily="34" charset="-52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836382" y="2020778"/>
            <a:ext cx="12202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>
                <a:latin typeface="Neo Sans Pro" panose="020B0504030504040204" pitchFamily="34" charset="-52"/>
              </a:rPr>
              <a:t>Конгресс центр</a:t>
            </a:r>
          </a:p>
          <a:p>
            <a:endParaRPr lang="en-US" sz="1000" b="1" dirty="0" smtClean="0">
              <a:latin typeface="Neo Sans Pro" panose="020B0504030504040204" pitchFamily="34" charset="-52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855328" y="2245237"/>
            <a:ext cx="129559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latin typeface="Neo Sans Pro" panose="020B0504030504040204" pitchFamily="34" charset="-52"/>
              </a:rPr>
              <a:t>ЭКСПО городок</a:t>
            </a:r>
            <a:endParaRPr lang="en-US" sz="1000" b="1" dirty="0" smtClean="0">
              <a:latin typeface="Neo Sans Pro" panose="020B0504030504040204" pitchFamily="34" charset="-52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1855825" y="2556085"/>
            <a:ext cx="14298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latin typeface="Neo Sans Pro" panose="020B0504030504040204" pitchFamily="34" charset="-52"/>
              </a:rPr>
              <a:t>Конгресс отель</a:t>
            </a:r>
          </a:p>
          <a:p>
            <a:endParaRPr lang="en-US" sz="800" b="1" dirty="0" smtClean="0">
              <a:latin typeface="Neo Sans Pro" panose="020B0504030504040204" pitchFamily="34" charset="-52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1853645" y="2883099"/>
            <a:ext cx="11705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>
                <a:latin typeface="Neo Sans Pro" panose="020B0504030504040204" pitchFamily="34" charset="-52"/>
              </a:rPr>
              <a:t>Конгресс офис</a:t>
            </a:r>
            <a:endParaRPr lang="en-US" sz="1000" b="1" dirty="0" smtClean="0">
              <a:latin typeface="Neo Sans Pro" panose="020B0504030504040204" pitchFamily="34" charset="-52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1531357" y="3200661"/>
            <a:ext cx="19154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latin typeface="Neo Sans Pro" panose="020B0504030504040204" pitchFamily="34" charset="-52"/>
              </a:rPr>
              <a:t>Торговый центр</a:t>
            </a:r>
            <a:r>
              <a:rPr lang="en-US" sz="1000" b="1" dirty="0" smtClean="0">
                <a:latin typeface="Neo Sans Pro" panose="020B0504030504040204" pitchFamily="34" charset="-52"/>
              </a:rPr>
              <a:t> Silk way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>
          <a:xfrm flipH="1">
            <a:off x="8916100" y="1916831"/>
            <a:ext cx="1589441" cy="1"/>
          </a:xfrm>
          <a:prstGeom prst="line">
            <a:avLst/>
          </a:prstGeom>
          <a:ln w="19050">
            <a:solidFill>
              <a:srgbClr val="92D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/>
          <p:cNvCxnSpPr/>
          <p:nvPr/>
        </p:nvCxnSpPr>
        <p:spPr>
          <a:xfrm flipH="1">
            <a:off x="7767257" y="1916831"/>
            <a:ext cx="1148842" cy="458161"/>
          </a:xfrm>
          <a:prstGeom prst="line">
            <a:avLst/>
          </a:prstGeom>
          <a:ln w="19050">
            <a:solidFill>
              <a:srgbClr val="92D050"/>
            </a:solidFill>
            <a:prstDash val="sysDot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H="1">
            <a:off x="8916100" y="2132855"/>
            <a:ext cx="1589441" cy="1"/>
          </a:xfrm>
          <a:prstGeom prst="line">
            <a:avLst/>
          </a:prstGeom>
          <a:ln w="19050">
            <a:solidFill>
              <a:srgbClr val="92D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 flipH="1">
            <a:off x="7774896" y="2137081"/>
            <a:ext cx="1159598" cy="527949"/>
          </a:xfrm>
          <a:prstGeom prst="line">
            <a:avLst/>
          </a:prstGeom>
          <a:ln w="19050">
            <a:solidFill>
              <a:srgbClr val="92D050"/>
            </a:solidFill>
            <a:prstDash val="sysDot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 flipH="1">
            <a:off x="8916100" y="2336684"/>
            <a:ext cx="1589441" cy="1"/>
          </a:xfrm>
          <a:prstGeom prst="line">
            <a:avLst/>
          </a:prstGeom>
          <a:ln w="19050">
            <a:solidFill>
              <a:srgbClr val="92D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/>
          <p:cNvCxnSpPr/>
          <p:nvPr/>
        </p:nvCxnSpPr>
        <p:spPr>
          <a:xfrm flipH="1">
            <a:off x="8307160" y="2338691"/>
            <a:ext cx="621503" cy="506388"/>
          </a:xfrm>
          <a:prstGeom prst="line">
            <a:avLst/>
          </a:prstGeom>
          <a:ln w="19050">
            <a:solidFill>
              <a:srgbClr val="92D050"/>
            </a:solidFill>
            <a:prstDash val="sysDot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/>
          <p:nvPr/>
        </p:nvCxnSpPr>
        <p:spPr>
          <a:xfrm flipH="1">
            <a:off x="9265823" y="2754503"/>
            <a:ext cx="1231179" cy="6848"/>
          </a:xfrm>
          <a:prstGeom prst="line">
            <a:avLst/>
          </a:prstGeom>
          <a:ln w="19050">
            <a:solidFill>
              <a:srgbClr val="92D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>
            <a:endCxn id="20" idx="3"/>
          </p:cNvCxnSpPr>
          <p:nvPr/>
        </p:nvCxnSpPr>
        <p:spPr>
          <a:xfrm flipH="1">
            <a:off x="8666723" y="2766396"/>
            <a:ext cx="609196" cy="613622"/>
          </a:xfrm>
          <a:prstGeom prst="line">
            <a:avLst/>
          </a:prstGeom>
          <a:ln w="19050">
            <a:solidFill>
              <a:srgbClr val="92D050"/>
            </a:solidFill>
            <a:prstDash val="sysDot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/>
          <p:cNvSpPr txBox="1"/>
          <p:nvPr/>
        </p:nvSpPr>
        <p:spPr>
          <a:xfrm>
            <a:off x="8506311" y="1886635"/>
            <a:ext cx="210506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000" b="1" dirty="0" smtClean="0">
                <a:latin typeface="Neo Sans Pro" panose="020B0504030504040204" pitchFamily="34" charset="-52"/>
              </a:rPr>
              <a:t>Центр переработки энергии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9921762" y="1700808"/>
            <a:ext cx="68961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000" b="1" dirty="0" smtClean="0">
                <a:latin typeface="Neo Sans Pro" panose="020B0504030504040204" pitchFamily="34" charset="-52"/>
              </a:rPr>
              <a:t>Склады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4879485" y="4493377"/>
            <a:ext cx="917239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bg1">
                    <a:lumMod val="95000"/>
                  </a:schemeClr>
                </a:solidFill>
                <a:latin typeface="Neo Sans Pro" panose="020B0504030504040204" pitchFamily="34" charset="-52"/>
              </a:rPr>
              <a:t>836 </a:t>
            </a:r>
            <a:r>
              <a:rPr lang="ru-RU" sz="1000" b="1" dirty="0">
                <a:solidFill>
                  <a:schemeClr val="bg1"/>
                </a:solidFill>
                <a:latin typeface="Neo Sans Pro" panose="020B0504030504040204" pitchFamily="34" charset="-52"/>
              </a:rPr>
              <a:t>машин</a:t>
            </a:r>
            <a:endParaRPr lang="en-US" sz="1000" b="1" dirty="0">
              <a:solidFill>
                <a:schemeClr val="bg1"/>
              </a:solidFill>
              <a:latin typeface="Neo Sans Pro" panose="020B0504030504040204" pitchFamily="34" charset="-52"/>
            </a:endParaRPr>
          </a:p>
          <a:p>
            <a:pPr algn="ctr"/>
            <a:r>
              <a:rPr lang="ru-RU" sz="1000" b="1" dirty="0" smtClean="0">
                <a:solidFill>
                  <a:schemeClr val="bg1">
                    <a:lumMod val="95000"/>
                  </a:schemeClr>
                </a:solidFill>
                <a:latin typeface="Neo Sans Pro" panose="020B0504030504040204" pitchFamily="34" charset="-52"/>
              </a:rPr>
              <a:t> </a:t>
            </a:r>
          </a:p>
          <a:p>
            <a:endParaRPr lang="en-US" sz="1000" b="1" dirty="0" smtClean="0">
              <a:solidFill>
                <a:schemeClr val="bg1">
                  <a:lumMod val="95000"/>
                </a:schemeClr>
              </a:solidFill>
              <a:latin typeface="Neo Sans Pro" panose="020B0504030504040204" pitchFamily="34" charset="-52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6234505" y="4416312"/>
            <a:ext cx="77617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bg1">
                    <a:lumMod val="95000"/>
                  </a:schemeClr>
                </a:solidFill>
                <a:latin typeface="Neo Sans Pro" panose="020B0504030504040204" pitchFamily="34" charset="-52"/>
              </a:rPr>
              <a:t>434 </a:t>
            </a:r>
          </a:p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Neo Sans Pro" panose="020B0504030504040204" pitchFamily="34" charset="-52"/>
              </a:rPr>
              <a:t>машин</a:t>
            </a:r>
          </a:p>
          <a:p>
            <a:endParaRPr lang="en-US" sz="1000" b="1" dirty="0" smtClean="0">
              <a:solidFill>
                <a:schemeClr val="bg1">
                  <a:lumMod val="95000"/>
                </a:schemeClr>
              </a:solidFill>
              <a:latin typeface="Neo Sans Pro" panose="020B0504030504040204" pitchFamily="34" charset="-52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7394544" y="4416312"/>
            <a:ext cx="77617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bg1">
                    <a:lumMod val="95000"/>
                  </a:schemeClr>
                </a:solidFill>
                <a:latin typeface="Neo Sans Pro" panose="020B0504030504040204" pitchFamily="34" charset="-52"/>
              </a:rPr>
              <a:t>435 </a:t>
            </a:r>
          </a:p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Neo Sans Pro" panose="020B0504030504040204" pitchFamily="34" charset="-52"/>
              </a:rPr>
              <a:t>машин</a:t>
            </a:r>
            <a:endParaRPr lang="en-US" sz="1000" b="1" dirty="0">
              <a:solidFill>
                <a:schemeClr val="bg1"/>
              </a:solidFill>
              <a:latin typeface="Neo Sans Pro" panose="020B0504030504040204" pitchFamily="34" charset="-52"/>
            </a:endParaRPr>
          </a:p>
          <a:p>
            <a:endParaRPr lang="en-US" sz="1000" b="1" dirty="0" smtClean="0">
              <a:solidFill>
                <a:schemeClr val="bg1">
                  <a:lumMod val="95000"/>
                </a:schemeClr>
              </a:solidFill>
              <a:latin typeface="Neo Sans Pro" panose="020B0504030504040204" pitchFamily="34" charset="-52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7110424" y="1959862"/>
            <a:ext cx="105349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>
                    <a:lumMod val="95000"/>
                  </a:schemeClr>
                </a:solidFill>
                <a:latin typeface="Neo Sans Pro" panose="020B0504030504040204" pitchFamily="34" charset="-52"/>
              </a:rPr>
              <a:t>168</a:t>
            </a:r>
            <a:r>
              <a:rPr lang="ru-RU" sz="1000" b="1" dirty="0" smtClean="0">
                <a:solidFill>
                  <a:schemeClr val="bg1">
                    <a:lumMod val="95000"/>
                  </a:schemeClr>
                </a:solidFill>
                <a:latin typeface="Neo Sans Pro" panose="020B0504030504040204" pitchFamily="34" charset="-52"/>
              </a:rPr>
              <a:t> </a:t>
            </a:r>
          </a:p>
          <a:p>
            <a:pPr algn="ctr"/>
            <a:r>
              <a:rPr lang="ru-RU" sz="1000" b="1" dirty="0" smtClean="0">
                <a:solidFill>
                  <a:schemeClr val="bg1">
                    <a:lumMod val="95000"/>
                  </a:schemeClr>
                </a:solidFill>
                <a:latin typeface="Neo Sans Pro" panose="020B0504030504040204" pitchFamily="34" charset="-52"/>
              </a:rPr>
              <a:t>шаттл-басы</a:t>
            </a:r>
            <a:endParaRPr lang="ru-RU" sz="1000" b="1" dirty="0">
              <a:solidFill>
                <a:schemeClr val="bg1">
                  <a:lumMod val="95000"/>
                </a:schemeClr>
              </a:solidFill>
              <a:latin typeface="Neo Sans Pro" panose="020B0504030504040204" pitchFamily="34" charset="-52"/>
            </a:endParaRPr>
          </a:p>
          <a:p>
            <a:endParaRPr lang="en-US" sz="1000" b="1" dirty="0" smtClean="0">
              <a:solidFill>
                <a:schemeClr val="bg1">
                  <a:lumMod val="95000"/>
                </a:schemeClr>
              </a:solidFill>
              <a:latin typeface="Neo Sans Pro" panose="020B0504030504040204" pitchFamily="34" charset="-52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8081607" y="4264146"/>
            <a:ext cx="99899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>
                    <a:lumMod val="95000"/>
                  </a:schemeClr>
                </a:solidFill>
                <a:latin typeface="Neo Sans Pro" panose="020B0504030504040204" pitchFamily="34" charset="-52"/>
              </a:rPr>
              <a:t>1608 </a:t>
            </a:r>
            <a:r>
              <a:rPr lang="ru-RU" sz="1000" b="1" dirty="0">
                <a:solidFill>
                  <a:schemeClr val="bg1"/>
                </a:solidFill>
                <a:latin typeface="Neo Sans Pro" panose="020B0504030504040204" pitchFamily="34" charset="-52"/>
              </a:rPr>
              <a:t>машин</a:t>
            </a:r>
            <a:endParaRPr lang="en-US" sz="1000" b="1" dirty="0">
              <a:solidFill>
                <a:schemeClr val="bg1"/>
              </a:solidFill>
              <a:latin typeface="Neo Sans Pro" panose="020B0504030504040204" pitchFamily="34" charset="-52"/>
            </a:endParaRPr>
          </a:p>
          <a:p>
            <a:pPr algn="ctr"/>
            <a:r>
              <a:rPr lang="ru-RU" sz="1000" b="1" dirty="0" smtClean="0">
                <a:solidFill>
                  <a:schemeClr val="bg1">
                    <a:lumMod val="95000"/>
                  </a:schemeClr>
                </a:solidFill>
                <a:latin typeface="Neo Sans Pro" panose="020B0504030504040204" pitchFamily="34" charset="-52"/>
              </a:rPr>
              <a:t> </a:t>
            </a:r>
          </a:p>
          <a:p>
            <a:endParaRPr lang="en-US" sz="1000" b="1" dirty="0" smtClean="0">
              <a:solidFill>
                <a:schemeClr val="bg1">
                  <a:lumMod val="95000"/>
                </a:schemeClr>
              </a:solidFill>
              <a:latin typeface="Neo Sans Pro" panose="020B0504030504040204" pitchFamily="34" charset="-52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8853392" y="3909292"/>
            <a:ext cx="91723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bg1">
                    <a:lumMod val="95000"/>
                  </a:schemeClr>
                </a:solidFill>
                <a:latin typeface="Neo Sans Pro" panose="020B0504030504040204" pitchFamily="34" charset="-52"/>
              </a:rPr>
              <a:t>1</a:t>
            </a:r>
            <a:r>
              <a:rPr lang="en-US" sz="1000" b="1" dirty="0" smtClean="0">
                <a:solidFill>
                  <a:schemeClr val="bg1">
                    <a:lumMod val="95000"/>
                  </a:schemeClr>
                </a:solidFill>
                <a:latin typeface="Neo Sans Pro" panose="020B0504030504040204" pitchFamily="34" charset="-52"/>
              </a:rPr>
              <a:t>9</a:t>
            </a:r>
            <a:r>
              <a:rPr lang="ru-RU" sz="1000" b="1" dirty="0" smtClean="0">
                <a:solidFill>
                  <a:schemeClr val="bg1">
                    <a:lumMod val="95000"/>
                  </a:schemeClr>
                </a:solidFill>
                <a:latin typeface="Neo Sans Pro" panose="020B0504030504040204" pitchFamily="34" charset="-52"/>
              </a:rPr>
              <a:t>8 </a:t>
            </a:r>
            <a:r>
              <a:rPr lang="ru-RU" sz="1000" b="1" dirty="0">
                <a:solidFill>
                  <a:schemeClr val="bg1"/>
                </a:solidFill>
                <a:latin typeface="Neo Sans Pro" panose="020B0504030504040204" pitchFamily="34" charset="-52"/>
              </a:rPr>
              <a:t>машин</a:t>
            </a:r>
            <a:endParaRPr lang="en-US" sz="1000" b="1" dirty="0" smtClean="0">
              <a:solidFill>
                <a:schemeClr val="bg1"/>
              </a:solidFill>
              <a:latin typeface="Neo Sans Pro" panose="020B0504030504040204" pitchFamily="34" charset="-52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8611600" y="3407136"/>
            <a:ext cx="91723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bg1">
                    <a:lumMod val="95000"/>
                  </a:schemeClr>
                </a:solidFill>
                <a:latin typeface="Neo Sans Pro" panose="020B0504030504040204" pitchFamily="34" charset="-52"/>
              </a:rPr>
              <a:t>218 </a:t>
            </a:r>
            <a:r>
              <a:rPr lang="ru-RU" sz="1000" b="1" dirty="0">
                <a:solidFill>
                  <a:schemeClr val="bg1"/>
                </a:solidFill>
                <a:latin typeface="Neo Sans Pro" panose="020B0504030504040204" pitchFamily="34" charset="-52"/>
              </a:rPr>
              <a:t>машин</a:t>
            </a:r>
            <a:endParaRPr lang="en-US" sz="1000" b="1" dirty="0" smtClean="0">
              <a:solidFill>
                <a:schemeClr val="bg1"/>
              </a:solidFill>
              <a:latin typeface="Neo Sans Pro" panose="020B0504030504040204" pitchFamily="34" charset="-52"/>
            </a:endParaRPr>
          </a:p>
        </p:txBody>
      </p:sp>
      <p:sp>
        <p:nvSpPr>
          <p:cNvPr id="83" name="Параллелограмм 192"/>
          <p:cNvSpPr/>
          <p:nvPr/>
        </p:nvSpPr>
        <p:spPr>
          <a:xfrm>
            <a:off x="2942720" y="4099116"/>
            <a:ext cx="3101432" cy="174912"/>
          </a:xfrm>
          <a:custGeom>
            <a:avLst/>
            <a:gdLst>
              <a:gd name="connsiteX0" fmla="*/ 0 w 3096344"/>
              <a:gd name="connsiteY0" fmla="*/ 170150 h 170150"/>
              <a:gd name="connsiteX1" fmla="*/ 42538 w 3096344"/>
              <a:gd name="connsiteY1" fmla="*/ 0 h 170150"/>
              <a:gd name="connsiteX2" fmla="*/ 3096344 w 3096344"/>
              <a:gd name="connsiteY2" fmla="*/ 0 h 170150"/>
              <a:gd name="connsiteX3" fmla="*/ 3053807 w 3096344"/>
              <a:gd name="connsiteY3" fmla="*/ 170150 h 170150"/>
              <a:gd name="connsiteX4" fmla="*/ 0 w 3096344"/>
              <a:gd name="connsiteY4" fmla="*/ 170150 h 170150"/>
              <a:gd name="connsiteX0" fmla="*/ 0 w 3096344"/>
              <a:gd name="connsiteY0" fmla="*/ 170150 h 170150"/>
              <a:gd name="connsiteX1" fmla="*/ 80638 w 3096344"/>
              <a:gd name="connsiteY1" fmla="*/ 0 h 170150"/>
              <a:gd name="connsiteX2" fmla="*/ 3096344 w 3096344"/>
              <a:gd name="connsiteY2" fmla="*/ 0 h 170150"/>
              <a:gd name="connsiteX3" fmla="*/ 3053807 w 3096344"/>
              <a:gd name="connsiteY3" fmla="*/ 170150 h 170150"/>
              <a:gd name="connsiteX4" fmla="*/ 0 w 3096344"/>
              <a:gd name="connsiteY4" fmla="*/ 170150 h 170150"/>
              <a:gd name="connsiteX0" fmla="*/ 0 w 3101432"/>
              <a:gd name="connsiteY0" fmla="*/ 170150 h 174912"/>
              <a:gd name="connsiteX1" fmla="*/ 80638 w 3101432"/>
              <a:gd name="connsiteY1" fmla="*/ 0 h 174912"/>
              <a:gd name="connsiteX2" fmla="*/ 3096344 w 3101432"/>
              <a:gd name="connsiteY2" fmla="*/ 0 h 174912"/>
              <a:gd name="connsiteX3" fmla="*/ 3101432 w 3101432"/>
              <a:gd name="connsiteY3" fmla="*/ 174912 h 174912"/>
              <a:gd name="connsiteX4" fmla="*/ 0 w 3101432"/>
              <a:gd name="connsiteY4" fmla="*/ 170150 h 174912"/>
              <a:gd name="connsiteX0" fmla="*/ 0 w 3101432"/>
              <a:gd name="connsiteY0" fmla="*/ 170150 h 174912"/>
              <a:gd name="connsiteX1" fmla="*/ 80638 w 3101432"/>
              <a:gd name="connsiteY1" fmla="*/ 0 h 174912"/>
              <a:gd name="connsiteX2" fmla="*/ 3001094 w 3101432"/>
              <a:gd name="connsiteY2" fmla="*/ 4763 h 174912"/>
              <a:gd name="connsiteX3" fmla="*/ 3101432 w 3101432"/>
              <a:gd name="connsiteY3" fmla="*/ 174912 h 174912"/>
              <a:gd name="connsiteX4" fmla="*/ 0 w 3101432"/>
              <a:gd name="connsiteY4" fmla="*/ 170150 h 174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01432" h="174912">
                <a:moveTo>
                  <a:pt x="0" y="170150"/>
                </a:moveTo>
                <a:lnTo>
                  <a:pt x="80638" y="0"/>
                </a:lnTo>
                <a:lnTo>
                  <a:pt x="3001094" y="4763"/>
                </a:lnTo>
                <a:lnTo>
                  <a:pt x="3101432" y="174912"/>
                </a:lnTo>
                <a:lnTo>
                  <a:pt x="0" y="170150"/>
                </a:lnTo>
                <a:close/>
              </a:path>
            </a:pathLst>
          </a:custGeom>
          <a:solidFill>
            <a:schemeClr val="bg1">
              <a:lumMod val="50000"/>
              <a:alpha val="40000"/>
            </a:schemeClr>
          </a:solidFill>
          <a:ln w="127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4086511" y="4073545"/>
            <a:ext cx="998991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bg1">
                    <a:lumMod val="95000"/>
                  </a:schemeClr>
                </a:solidFill>
                <a:latin typeface="Neo Sans Pro" panose="020B0504030504040204" pitchFamily="34" charset="-52"/>
              </a:rPr>
              <a:t>1719 </a:t>
            </a:r>
            <a:r>
              <a:rPr lang="ru-RU" sz="1000" b="1" dirty="0">
                <a:solidFill>
                  <a:schemeClr val="bg1"/>
                </a:solidFill>
                <a:latin typeface="Neo Sans Pro" panose="020B0504030504040204" pitchFamily="34" charset="-52"/>
              </a:rPr>
              <a:t>машин</a:t>
            </a:r>
            <a:endParaRPr lang="en-US" sz="1000" b="1" dirty="0">
              <a:solidFill>
                <a:schemeClr val="bg1"/>
              </a:solidFill>
              <a:latin typeface="Neo Sans Pro" panose="020B0504030504040204" pitchFamily="34" charset="-52"/>
            </a:endParaRPr>
          </a:p>
          <a:p>
            <a:pPr algn="ctr"/>
            <a:r>
              <a:rPr lang="ru-RU" sz="1000" b="1" dirty="0" smtClean="0">
                <a:solidFill>
                  <a:schemeClr val="bg1">
                    <a:lumMod val="95000"/>
                  </a:schemeClr>
                </a:solidFill>
                <a:latin typeface="Neo Sans Pro" panose="020B0504030504040204" pitchFamily="34" charset="-52"/>
              </a:rPr>
              <a:t> </a:t>
            </a:r>
          </a:p>
          <a:p>
            <a:endParaRPr lang="en-US" sz="1000" b="1" dirty="0" smtClean="0">
              <a:solidFill>
                <a:schemeClr val="bg1">
                  <a:lumMod val="95000"/>
                </a:schemeClr>
              </a:solidFill>
              <a:latin typeface="Neo Sans Pro" panose="020B0504030504040204" pitchFamily="34" charset="-52"/>
            </a:endParaRPr>
          </a:p>
        </p:txBody>
      </p:sp>
      <p:cxnSp>
        <p:nvCxnSpPr>
          <p:cNvPr id="85" name="Прямая соединительная линия 84"/>
          <p:cNvCxnSpPr/>
          <p:nvPr/>
        </p:nvCxnSpPr>
        <p:spPr>
          <a:xfrm>
            <a:off x="6594040" y="1045131"/>
            <a:ext cx="354582" cy="1916090"/>
          </a:xfrm>
          <a:prstGeom prst="line">
            <a:avLst/>
          </a:prstGeom>
          <a:ln w="28575">
            <a:solidFill>
              <a:srgbClr val="FFC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Полилиния 85"/>
          <p:cNvSpPr/>
          <p:nvPr/>
        </p:nvSpPr>
        <p:spPr>
          <a:xfrm>
            <a:off x="1956618" y="3303818"/>
            <a:ext cx="5026562" cy="450516"/>
          </a:xfrm>
          <a:custGeom>
            <a:avLst/>
            <a:gdLst>
              <a:gd name="connsiteX0" fmla="*/ 0 w 4800600"/>
              <a:gd name="connsiteY0" fmla="*/ 361950 h 419100"/>
              <a:gd name="connsiteX1" fmla="*/ 3009900 w 4800600"/>
              <a:gd name="connsiteY1" fmla="*/ 419100 h 419100"/>
              <a:gd name="connsiteX2" fmla="*/ 3438525 w 4800600"/>
              <a:gd name="connsiteY2" fmla="*/ 361950 h 419100"/>
              <a:gd name="connsiteX3" fmla="*/ 4248150 w 4800600"/>
              <a:gd name="connsiteY3" fmla="*/ 180975 h 419100"/>
              <a:gd name="connsiteX4" fmla="*/ 4800600 w 4800600"/>
              <a:gd name="connsiteY4" fmla="*/ 0 h 419100"/>
              <a:gd name="connsiteX0" fmla="*/ 0 w 4791075"/>
              <a:gd name="connsiteY0" fmla="*/ 428625 h 428625"/>
              <a:gd name="connsiteX1" fmla="*/ 3000375 w 4791075"/>
              <a:gd name="connsiteY1" fmla="*/ 419100 h 428625"/>
              <a:gd name="connsiteX2" fmla="*/ 3429000 w 4791075"/>
              <a:gd name="connsiteY2" fmla="*/ 361950 h 428625"/>
              <a:gd name="connsiteX3" fmla="*/ 4238625 w 4791075"/>
              <a:gd name="connsiteY3" fmla="*/ 180975 h 428625"/>
              <a:gd name="connsiteX4" fmla="*/ 4791075 w 4791075"/>
              <a:gd name="connsiteY4" fmla="*/ 0 h 428625"/>
              <a:gd name="connsiteX0" fmla="*/ 0 w 4791075"/>
              <a:gd name="connsiteY0" fmla="*/ 428625 h 428625"/>
              <a:gd name="connsiteX1" fmla="*/ 2657475 w 4791075"/>
              <a:gd name="connsiteY1" fmla="*/ 428625 h 428625"/>
              <a:gd name="connsiteX2" fmla="*/ 3000375 w 4791075"/>
              <a:gd name="connsiteY2" fmla="*/ 419100 h 428625"/>
              <a:gd name="connsiteX3" fmla="*/ 3429000 w 4791075"/>
              <a:gd name="connsiteY3" fmla="*/ 361950 h 428625"/>
              <a:gd name="connsiteX4" fmla="*/ 4238625 w 4791075"/>
              <a:gd name="connsiteY4" fmla="*/ 180975 h 428625"/>
              <a:gd name="connsiteX5" fmla="*/ 4791075 w 4791075"/>
              <a:gd name="connsiteY5" fmla="*/ 0 h 428625"/>
              <a:gd name="connsiteX0" fmla="*/ 0 w 4676775"/>
              <a:gd name="connsiteY0" fmla="*/ 400050 h 400050"/>
              <a:gd name="connsiteX1" fmla="*/ 2657475 w 4676775"/>
              <a:gd name="connsiteY1" fmla="*/ 400050 h 400050"/>
              <a:gd name="connsiteX2" fmla="*/ 3000375 w 4676775"/>
              <a:gd name="connsiteY2" fmla="*/ 390525 h 400050"/>
              <a:gd name="connsiteX3" fmla="*/ 3429000 w 4676775"/>
              <a:gd name="connsiteY3" fmla="*/ 333375 h 400050"/>
              <a:gd name="connsiteX4" fmla="*/ 4238625 w 4676775"/>
              <a:gd name="connsiteY4" fmla="*/ 152400 h 400050"/>
              <a:gd name="connsiteX5" fmla="*/ 4676775 w 4676775"/>
              <a:gd name="connsiteY5" fmla="*/ 0 h 400050"/>
              <a:gd name="connsiteX0" fmla="*/ 0 w 4733925"/>
              <a:gd name="connsiteY0" fmla="*/ 447675 h 447675"/>
              <a:gd name="connsiteX1" fmla="*/ 2657475 w 4733925"/>
              <a:gd name="connsiteY1" fmla="*/ 447675 h 447675"/>
              <a:gd name="connsiteX2" fmla="*/ 3000375 w 4733925"/>
              <a:gd name="connsiteY2" fmla="*/ 438150 h 447675"/>
              <a:gd name="connsiteX3" fmla="*/ 3429000 w 4733925"/>
              <a:gd name="connsiteY3" fmla="*/ 381000 h 447675"/>
              <a:gd name="connsiteX4" fmla="*/ 4238625 w 4733925"/>
              <a:gd name="connsiteY4" fmla="*/ 200025 h 447675"/>
              <a:gd name="connsiteX5" fmla="*/ 4733925 w 4733925"/>
              <a:gd name="connsiteY5" fmla="*/ 0 h 447675"/>
              <a:gd name="connsiteX0" fmla="*/ 0 w 4733925"/>
              <a:gd name="connsiteY0" fmla="*/ 447675 h 447675"/>
              <a:gd name="connsiteX1" fmla="*/ 2657475 w 4733925"/>
              <a:gd name="connsiteY1" fmla="*/ 447675 h 447675"/>
              <a:gd name="connsiteX2" fmla="*/ 3048000 w 4733925"/>
              <a:gd name="connsiteY2" fmla="*/ 428625 h 447675"/>
              <a:gd name="connsiteX3" fmla="*/ 3429000 w 4733925"/>
              <a:gd name="connsiteY3" fmla="*/ 381000 h 447675"/>
              <a:gd name="connsiteX4" fmla="*/ 4238625 w 4733925"/>
              <a:gd name="connsiteY4" fmla="*/ 200025 h 447675"/>
              <a:gd name="connsiteX5" fmla="*/ 4733925 w 4733925"/>
              <a:gd name="connsiteY5" fmla="*/ 0 h 447675"/>
              <a:gd name="connsiteX0" fmla="*/ 0 w 4733925"/>
              <a:gd name="connsiteY0" fmla="*/ 447675 h 447675"/>
              <a:gd name="connsiteX1" fmla="*/ 2657475 w 4733925"/>
              <a:gd name="connsiteY1" fmla="*/ 447675 h 447675"/>
              <a:gd name="connsiteX2" fmla="*/ 3133725 w 4733925"/>
              <a:gd name="connsiteY2" fmla="*/ 419100 h 447675"/>
              <a:gd name="connsiteX3" fmla="*/ 3429000 w 4733925"/>
              <a:gd name="connsiteY3" fmla="*/ 381000 h 447675"/>
              <a:gd name="connsiteX4" fmla="*/ 4238625 w 4733925"/>
              <a:gd name="connsiteY4" fmla="*/ 200025 h 447675"/>
              <a:gd name="connsiteX5" fmla="*/ 4733925 w 4733925"/>
              <a:gd name="connsiteY5" fmla="*/ 0 h 447675"/>
              <a:gd name="connsiteX0" fmla="*/ 0 w 4733925"/>
              <a:gd name="connsiteY0" fmla="*/ 447675 h 447675"/>
              <a:gd name="connsiteX1" fmla="*/ 2657475 w 4733925"/>
              <a:gd name="connsiteY1" fmla="*/ 447675 h 447675"/>
              <a:gd name="connsiteX2" fmla="*/ 3133725 w 4733925"/>
              <a:gd name="connsiteY2" fmla="*/ 419100 h 447675"/>
              <a:gd name="connsiteX3" fmla="*/ 3619500 w 4733925"/>
              <a:gd name="connsiteY3" fmla="*/ 361950 h 447675"/>
              <a:gd name="connsiteX4" fmla="*/ 4238625 w 4733925"/>
              <a:gd name="connsiteY4" fmla="*/ 200025 h 447675"/>
              <a:gd name="connsiteX5" fmla="*/ 4733925 w 4733925"/>
              <a:gd name="connsiteY5" fmla="*/ 0 h 447675"/>
              <a:gd name="connsiteX0" fmla="*/ 0 w 4733925"/>
              <a:gd name="connsiteY0" fmla="*/ 447675 h 447675"/>
              <a:gd name="connsiteX1" fmla="*/ 2657475 w 4733925"/>
              <a:gd name="connsiteY1" fmla="*/ 447675 h 447675"/>
              <a:gd name="connsiteX2" fmla="*/ 3133725 w 4733925"/>
              <a:gd name="connsiteY2" fmla="*/ 419100 h 447675"/>
              <a:gd name="connsiteX3" fmla="*/ 3619500 w 4733925"/>
              <a:gd name="connsiteY3" fmla="*/ 361950 h 447675"/>
              <a:gd name="connsiteX4" fmla="*/ 4238625 w 4733925"/>
              <a:gd name="connsiteY4" fmla="*/ 200025 h 447675"/>
              <a:gd name="connsiteX5" fmla="*/ 4733925 w 4733925"/>
              <a:gd name="connsiteY5" fmla="*/ 0 h 447675"/>
              <a:gd name="connsiteX0" fmla="*/ 0 w 4733925"/>
              <a:gd name="connsiteY0" fmla="*/ 447675 h 447675"/>
              <a:gd name="connsiteX1" fmla="*/ 2657475 w 4733925"/>
              <a:gd name="connsiteY1" fmla="*/ 447675 h 447675"/>
              <a:gd name="connsiteX2" fmla="*/ 3133725 w 4733925"/>
              <a:gd name="connsiteY2" fmla="*/ 419100 h 447675"/>
              <a:gd name="connsiteX3" fmla="*/ 3619500 w 4733925"/>
              <a:gd name="connsiteY3" fmla="*/ 361950 h 447675"/>
              <a:gd name="connsiteX4" fmla="*/ 4238625 w 4733925"/>
              <a:gd name="connsiteY4" fmla="*/ 200025 h 447675"/>
              <a:gd name="connsiteX5" fmla="*/ 4733925 w 4733925"/>
              <a:gd name="connsiteY5" fmla="*/ 0 h 447675"/>
              <a:gd name="connsiteX0" fmla="*/ 0 w 4733925"/>
              <a:gd name="connsiteY0" fmla="*/ 447675 h 447675"/>
              <a:gd name="connsiteX1" fmla="*/ 2657475 w 4733925"/>
              <a:gd name="connsiteY1" fmla="*/ 447675 h 447675"/>
              <a:gd name="connsiteX2" fmla="*/ 3152775 w 4733925"/>
              <a:gd name="connsiteY2" fmla="*/ 419100 h 447675"/>
              <a:gd name="connsiteX3" fmla="*/ 3619500 w 4733925"/>
              <a:gd name="connsiteY3" fmla="*/ 361950 h 447675"/>
              <a:gd name="connsiteX4" fmla="*/ 4238625 w 4733925"/>
              <a:gd name="connsiteY4" fmla="*/ 200025 h 447675"/>
              <a:gd name="connsiteX5" fmla="*/ 4733925 w 4733925"/>
              <a:gd name="connsiteY5" fmla="*/ 0 h 447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33925" h="447675">
                <a:moveTo>
                  <a:pt x="0" y="447675"/>
                </a:moveTo>
                <a:lnTo>
                  <a:pt x="2657475" y="447675"/>
                </a:lnTo>
                <a:cubicBezTo>
                  <a:pt x="2771775" y="444500"/>
                  <a:pt x="2992438" y="433388"/>
                  <a:pt x="3152775" y="419100"/>
                </a:cubicBezTo>
                <a:cubicBezTo>
                  <a:pt x="3313113" y="404813"/>
                  <a:pt x="3438525" y="398463"/>
                  <a:pt x="3619500" y="361950"/>
                </a:cubicBezTo>
                <a:cubicBezTo>
                  <a:pt x="3800475" y="325437"/>
                  <a:pt x="4052888" y="260350"/>
                  <a:pt x="4238625" y="200025"/>
                </a:cubicBezTo>
                <a:cubicBezTo>
                  <a:pt x="4424362" y="139700"/>
                  <a:pt x="4645025" y="47625"/>
                  <a:pt x="4733925" y="0"/>
                </a:cubicBezTo>
              </a:path>
            </a:pathLst>
          </a:custGeom>
          <a:ln w="28575">
            <a:solidFill>
              <a:srgbClr val="FFC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b="1">
              <a:latin typeface="Neo Sans Pro" panose="020B0504030504040204" pitchFamily="34" charset="-52"/>
            </a:endParaRPr>
          </a:p>
        </p:txBody>
      </p:sp>
      <p:sp>
        <p:nvSpPr>
          <p:cNvPr id="87" name="TextBox 86"/>
          <p:cNvSpPr txBox="1"/>
          <p:nvPr/>
        </p:nvSpPr>
        <p:spPr>
          <a:xfrm rot="4755062">
            <a:off x="5805681" y="1865729"/>
            <a:ext cx="211788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>
                <a:solidFill>
                  <a:srgbClr val="FF6600"/>
                </a:solidFill>
                <a:latin typeface="Neo Sans Pro" panose="020B0504030504040204" pitchFamily="34" charset="-52"/>
              </a:rPr>
              <a:t>Вход со стороны </a:t>
            </a:r>
            <a:r>
              <a:rPr lang="ru-RU" sz="1000" b="1" dirty="0" err="1" smtClean="0">
                <a:solidFill>
                  <a:srgbClr val="FF6600"/>
                </a:solidFill>
                <a:latin typeface="Neo Sans Pro" panose="020B0504030504040204" pitchFamily="34" charset="-52"/>
              </a:rPr>
              <a:t>Байтерекеа</a:t>
            </a:r>
            <a:endParaRPr lang="ru-RU" sz="1000" b="1" dirty="0">
              <a:solidFill>
                <a:srgbClr val="FF6600"/>
              </a:solidFill>
              <a:latin typeface="Neo Sans Pro" panose="020B0504030504040204" pitchFamily="34" charset="-52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1809353" y="3549780"/>
            <a:ext cx="1718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rgbClr val="FF6600"/>
                </a:solidFill>
                <a:latin typeface="Neo Sans Pro" panose="020B0504030504040204" pitchFamily="34" charset="-52"/>
              </a:rPr>
              <a:t>Вход со стороны НУ</a:t>
            </a:r>
            <a:endParaRPr lang="ru-RU" sz="1000" b="1" dirty="0">
              <a:solidFill>
                <a:srgbClr val="FF6600"/>
              </a:solidFill>
              <a:latin typeface="Neo Sans Pro" panose="020B0504030504040204" pitchFamily="34" charset="-52"/>
            </a:endParaRPr>
          </a:p>
        </p:txBody>
      </p:sp>
      <p:sp>
        <p:nvSpPr>
          <p:cNvPr id="89" name="TextBox 88"/>
          <p:cNvSpPr txBox="1"/>
          <p:nvPr/>
        </p:nvSpPr>
        <p:spPr>
          <a:xfrm rot="18000079">
            <a:off x="2585900" y="2405053"/>
            <a:ext cx="16161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1000"/>
            </a:lvl1pPr>
          </a:lstStyle>
          <a:p>
            <a:r>
              <a:rPr lang="ru-RU" b="1" dirty="0" smtClean="0">
                <a:latin typeface="Neo Sans Pro" panose="020B0504030504040204" pitchFamily="34" charset="-52"/>
              </a:rPr>
              <a:t>Пр. </a:t>
            </a:r>
            <a:r>
              <a:rPr lang="ru-RU" b="1" dirty="0" err="1" smtClean="0">
                <a:latin typeface="Neo Sans Pro" panose="020B0504030504040204" pitchFamily="34" charset="-52"/>
              </a:rPr>
              <a:t>Кабанбай</a:t>
            </a:r>
            <a:r>
              <a:rPr lang="ru-RU" b="1" dirty="0" smtClean="0">
                <a:latin typeface="Neo Sans Pro" panose="020B0504030504040204" pitchFamily="34" charset="-52"/>
              </a:rPr>
              <a:t> батыра</a:t>
            </a:r>
            <a:endParaRPr lang="ru-RU" b="1" dirty="0">
              <a:latin typeface="Neo Sans Pro" panose="020B0504030504040204" pitchFamily="34" charset="-52"/>
            </a:endParaRPr>
          </a:p>
        </p:txBody>
      </p:sp>
      <p:sp>
        <p:nvSpPr>
          <p:cNvPr id="90" name="Прямоугольник 19"/>
          <p:cNvSpPr/>
          <p:nvPr/>
        </p:nvSpPr>
        <p:spPr>
          <a:xfrm>
            <a:off x="9783479" y="912482"/>
            <a:ext cx="949394" cy="860334"/>
          </a:xfrm>
          <a:custGeom>
            <a:avLst/>
            <a:gdLst>
              <a:gd name="connsiteX0" fmla="*/ 0 w 971600"/>
              <a:gd name="connsiteY0" fmla="*/ 0 h 860334"/>
              <a:gd name="connsiteX1" fmla="*/ 971600 w 971600"/>
              <a:gd name="connsiteY1" fmla="*/ 0 h 860334"/>
              <a:gd name="connsiteX2" fmla="*/ 971600 w 971600"/>
              <a:gd name="connsiteY2" fmla="*/ 860334 h 860334"/>
              <a:gd name="connsiteX3" fmla="*/ 0 w 971600"/>
              <a:gd name="connsiteY3" fmla="*/ 860334 h 860334"/>
              <a:gd name="connsiteX4" fmla="*/ 0 w 971600"/>
              <a:gd name="connsiteY4" fmla="*/ 0 h 860334"/>
              <a:gd name="connsiteX0" fmla="*/ 0 w 971600"/>
              <a:gd name="connsiteY0" fmla="*/ 860334 h 860334"/>
              <a:gd name="connsiteX1" fmla="*/ 971600 w 971600"/>
              <a:gd name="connsiteY1" fmla="*/ 0 h 860334"/>
              <a:gd name="connsiteX2" fmla="*/ 971600 w 971600"/>
              <a:gd name="connsiteY2" fmla="*/ 860334 h 860334"/>
              <a:gd name="connsiteX3" fmla="*/ 0 w 971600"/>
              <a:gd name="connsiteY3" fmla="*/ 860334 h 860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1600" h="860334">
                <a:moveTo>
                  <a:pt x="0" y="860334"/>
                </a:moveTo>
                <a:lnTo>
                  <a:pt x="971600" y="0"/>
                </a:lnTo>
                <a:lnTo>
                  <a:pt x="971600" y="860334"/>
                </a:lnTo>
                <a:lnTo>
                  <a:pt x="0" y="860334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3" name="Picture 5" descr="C:\Users\amarat\Desktop\сыфысыыыыыы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277687"/>
            <a:ext cx="4426527" cy="6946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object 2"/>
          <p:cNvSpPr txBox="1">
            <a:spLocks/>
          </p:cNvSpPr>
          <p:nvPr/>
        </p:nvSpPr>
        <p:spPr>
          <a:xfrm>
            <a:off x="237870" y="449871"/>
            <a:ext cx="3952293" cy="307777"/>
          </a:xfrm>
          <a:prstGeom prst="rect">
            <a:avLst/>
          </a:prstGeom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9pPr>
          </a:lstStyle>
          <a:p>
            <a:pPr marL="12700">
              <a:lnSpc>
                <a:spcPct val="100000"/>
              </a:lnSpc>
            </a:pPr>
            <a:r>
              <a:rPr lang="ru-RU" sz="2000" spc="-5" dirty="0" smtClean="0">
                <a:solidFill>
                  <a:schemeClr val="bg1"/>
                </a:solidFill>
              </a:rPr>
              <a:t>Территория ЭКСПО-2017</a:t>
            </a:r>
            <a:endParaRPr lang="en-US" sz="2000" spc="-5" dirty="0">
              <a:solidFill>
                <a:schemeClr val="bg1"/>
              </a:solidFill>
            </a:endParaRPr>
          </a:p>
        </p:txBody>
      </p:sp>
      <p:pic>
        <p:nvPicPr>
          <p:cNvPr id="95" name="Изображение 10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8130181" y="-184647"/>
            <a:ext cx="1206500" cy="1511300"/>
          </a:xfrm>
          <a:prstGeom prst="rect">
            <a:avLst/>
          </a:prstGeom>
        </p:spPr>
      </p:pic>
      <p:pic>
        <p:nvPicPr>
          <p:cNvPr id="97" name="Picture 2" descr="BI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9667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1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1000" tmFilter="0, 0; .2, .5; .8, .5; 1, 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7" dur="500" autoRev="1" fill="hold"/>
                                        <p:tgtEl>
                                          <p:spTgt spid="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1000" tmFilter="0, 0; .2, .5; .8, .5; 1, 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9" dur="500" autoRev="1" fill="hold"/>
                                        <p:tgtEl>
                                          <p:spTgt spid="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5" dur="1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8" dur="1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1" dur="1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4" dur="1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7" dur="1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0" dur="1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8" fill="hold">
                      <p:stCondLst>
                        <p:cond delay="indefinite"/>
                      </p:stCondLst>
                      <p:childTnLst>
                        <p:par>
                          <p:cTn id="139" fill="hold">
                            <p:stCondLst>
                              <p:cond delay="0"/>
                            </p:stCondLst>
                            <p:childTnLst>
                              <p:par>
                                <p:cTn id="1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2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6" fill="hold">
                      <p:stCondLst>
                        <p:cond delay="indefinite"/>
                      </p:stCondLst>
                      <p:childTnLst>
                        <p:par>
                          <p:cTn id="177" fill="hold">
                            <p:stCondLst>
                              <p:cond delay="0"/>
                            </p:stCondLst>
                            <p:childTnLst>
                              <p:par>
                                <p:cTn id="17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0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4" fill="hold">
                      <p:stCondLst>
                        <p:cond delay="indefinite"/>
                      </p:stCondLst>
                      <p:childTnLst>
                        <p:par>
                          <p:cTn id="185" fill="hold">
                            <p:stCondLst>
                              <p:cond delay="0"/>
                            </p:stCondLst>
                            <p:childTnLst>
                              <p:par>
                                <p:cTn id="1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8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1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4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5" fill="hold">
                      <p:stCondLst>
                        <p:cond delay="indefinite"/>
                      </p:stCondLst>
                      <p:childTnLst>
                        <p:par>
                          <p:cTn id="196" fill="hold">
                            <p:stCondLst>
                              <p:cond delay="0"/>
                            </p:stCondLst>
                            <p:childTnLst>
                              <p:par>
                                <p:cTn id="19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9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0" fill="hold">
                      <p:stCondLst>
                        <p:cond delay="indefinite"/>
                      </p:stCondLst>
                      <p:childTnLst>
                        <p:par>
                          <p:cTn id="201" fill="hold">
                            <p:stCondLst>
                              <p:cond delay="0"/>
                            </p:stCondLst>
                            <p:childTnLst>
                              <p:par>
                                <p:cTn id="20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1" fill="hold">
                      <p:stCondLst>
                        <p:cond delay="indefinite"/>
                      </p:stCondLst>
                      <p:childTnLst>
                        <p:par>
                          <p:cTn id="212" fill="hold">
                            <p:stCondLst>
                              <p:cond delay="0"/>
                            </p:stCondLst>
                            <p:childTnLst>
                              <p:par>
                                <p:cTn id="2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5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8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9" fill="hold">
                      <p:stCondLst>
                        <p:cond delay="indefinite"/>
                      </p:stCondLst>
                      <p:childTnLst>
                        <p:par>
                          <p:cTn id="220" fill="hold">
                            <p:stCondLst>
                              <p:cond delay="0"/>
                            </p:stCondLst>
                            <p:childTnLst>
                              <p:par>
                                <p:cTn id="2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6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9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0" fill="hold">
                      <p:stCondLst>
                        <p:cond delay="indefinite"/>
                      </p:stCondLst>
                      <p:childTnLst>
                        <p:par>
                          <p:cTn id="231" fill="hold">
                            <p:stCondLst>
                              <p:cond delay="0"/>
                            </p:stCondLst>
                            <p:childTnLst>
                              <p:par>
                                <p:cTn id="2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8" fill="hold">
                      <p:stCondLst>
                        <p:cond delay="indefinite"/>
                      </p:stCondLst>
                      <p:childTnLst>
                        <p:par>
                          <p:cTn id="239" fill="hold">
                            <p:stCondLst>
                              <p:cond delay="0"/>
                            </p:stCondLst>
                            <p:childTnLst>
                              <p:par>
                                <p:cTn id="2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2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5" dur="1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8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9" fill="hold">
                      <p:stCondLst>
                        <p:cond delay="indefinite"/>
                      </p:stCondLst>
                      <p:childTnLst>
                        <p:par>
                          <p:cTn id="250" fill="hold">
                            <p:stCondLst>
                              <p:cond delay="0"/>
                            </p:stCondLst>
                            <p:childTnLst>
                              <p:par>
                                <p:cTn id="2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3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4" fill="hold">
                      <p:stCondLst>
                        <p:cond delay="indefinite"/>
                      </p:stCondLst>
                      <p:childTnLst>
                        <p:par>
                          <p:cTn id="255" fill="hold">
                            <p:stCondLst>
                              <p:cond delay="0"/>
                            </p:stCondLst>
                            <p:childTnLst>
                              <p:par>
                                <p:cTn id="2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8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1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4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5" fill="hold">
                      <p:stCondLst>
                        <p:cond delay="indefinite"/>
                      </p:stCondLst>
                      <p:childTnLst>
                        <p:par>
                          <p:cTn id="266" fill="hold">
                            <p:stCondLst>
                              <p:cond delay="0"/>
                            </p:stCondLst>
                            <p:childTnLst>
                              <p:par>
                                <p:cTn id="26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9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2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5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8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1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4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0" dur="10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3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6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2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5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1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4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3" grpId="0"/>
      <p:bldP spid="14" grpId="0"/>
      <p:bldP spid="16" grpId="0" animBg="1"/>
      <p:bldP spid="17" grpId="0"/>
      <p:bldP spid="18" grpId="0"/>
      <p:bldP spid="19" grpId="0" animBg="1"/>
      <p:bldP spid="20" grpId="0" animBg="1"/>
      <p:bldP spid="21" grpId="0" animBg="1"/>
      <p:bldP spid="22" grpId="0" animBg="1"/>
      <p:bldP spid="23" grpId="0"/>
      <p:bldP spid="24" grpId="0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59" grpId="0"/>
      <p:bldP spid="60" grpId="0"/>
      <p:bldP spid="61" grpId="0"/>
      <p:bldP spid="62" grpId="0"/>
      <p:bldP spid="63" grpId="0"/>
      <p:bldP spid="64" grpId="0"/>
      <p:bldP spid="65" grpId="0"/>
      <p:bldP spid="74" grpId="0"/>
      <p:bldP spid="75" grpId="0"/>
      <p:bldP spid="76" grpId="0"/>
      <p:bldP spid="77" grpId="0"/>
      <p:bldP spid="78" grpId="0"/>
      <p:bldP spid="79" grpId="0"/>
      <p:bldP spid="80" grpId="0"/>
      <p:bldP spid="81" grpId="0"/>
      <p:bldP spid="82" grpId="0"/>
      <p:bldP spid="83" grpId="0" animBg="1"/>
      <p:bldP spid="84" grpId="0"/>
      <p:bldP spid="86" grpId="0" animBg="1"/>
      <p:bldP spid="87" grpId="0"/>
      <p:bldP spid="88" grpId="0"/>
      <p:bldP spid="8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2700"/>
            <a:ext cx="12192000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6" name="object 16"/>
          <p:cNvSpPr/>
          <p:nvPr/>
        </p:nvSpPr>
        <p:spPr>
          <a:xfrm>
            <a:off x="3358833" y="1790638"/>
            <a:ext cx="3211353" cy="1353598"/>
          </a:xfrm>
          <a:custGeom>
            <a:avLst/>
            <a:gdLst/>
            <a:ahLst/>
            <a:cxnLst/>
            <a:rect l="l" t="t" r="r" b="b"/>
            <a:pathLst>
              <a:path w="4281805" h="2005329">
                <a:moveTo>
                  <a:pt x="4279020" y="769674"/>
                </a:moveTo>
                <a:lnTo>
                  <a:pt x="4281262" y="799042"/>
                </a:lnTo>
                <a:lnTo>
                  <a:pt x="4281608" y="828400"/>
                </a:lnTo>
                <a:lnTo>
                  <a:pt x="4280084" y="857732"/>
                </a:lnTo>
                <a:lnTo>
                  <a:pt x="4271525" y="916261"/>
                </a:lnTo>
                <a:lnTo>
                  <a:pt x="4255785" y="974509"/>
                </a:lnTo>
                <a:lnTo>
                  <a:pt x="4233067" y="1032357"/>
                </a:lnTo>
                <a:lnTo>
                  <a:pt x="4203570" y="1089685"/>
                </a:lnTo>
                <a:lnTo>
                  <a:pt x="4167496" y="1146374"/>
                </a:lnTo>
                <a:lnTo>
                  <a:pt x="4125047" y="1202303"/>
                </a:lnTo>
                <a:lnTo>
                  <a:pt x="4076423" y="1257355"/>
                </a:lnTo>
                <a:lnTo>
                  <a:pt x="4021826" y="1311408"/>
                </a:lnTo>
                <a:lnTo>
                  <a:pt x="3992350" y="1338023"/>
                </a:lnTo>
                <a:lnTo>
                  <a:pt x="3961457" y="1364344"/>
                </a:lnTo>
                <a:lnTo>
                  <a:pt x="3929170" y="1390355"/>
                </a:lnTo>
                <a:lnTo>
                  <a:pt x="3895516" y="1416042"/>
                </a:lnTo>
                <a:lnTo>
                  <a:pt x="3860520" y="1441390"/>
                </a:lnTo>
                <a:lnTo>
                  <a:pt x="3824206" y="1466384"/>
                </a:lnTo>
                <a:lnTo>
                  <a:pt x="3786600" y="1491009"/>
                </a:lnTo>
                <a:lnTo>
                  <a:pt x="3747727" y="1515250"/>
                </a:lnTo>
                <a:lnTo>
                  <a:pt x="3707613" y="1539092"/>
                </a:lnTo>
                <a:lnTo>
                  <a:pt x="3666281" y="1562520"/>
                </a:lnTo>
                <a:lnTo>
                  <a:pt x="3623758" y="1585519"/>
                </a:lnTo>
                <a:lnTo>
                  <a:pt x="3580069" y="1608074"/>
                </a:lnTo>
                <a:lnTo>
                  <a:pt x="3535238" y="1630171"/>
                </a:lnTo>
                <a:lnTo>
                  <a:pt x="3489291" y="1651793"/>
                </a:lnTo>
                <a:lnTo>
                  <a:pt x="3442253" y="1672928"/>
                </a:lnTo>
                <a:lnTo>
                  <a:pt x="3394149" y="1693558"/>
                </a:lnTo>
                <a:lnTo>
                  <a:pt x="3345004" y="1713670"/>
                </a:lnTo>
                <a:lnTo>
                  <a:pt x="3294844" y="1733249"/>
                </a:lnTo>
                <a:lnTo>
                  <a:pt x="3243694" y="1752279"/>
                </a:lnTo>
                <a:lnTo>
                  <a:pt x="3191578" y="1770746"/>
                </a:lnTo>
                <a:lnTo>
                  <a:pt x="3138522" y="1788635"/>
                </a:lnTo>
                <a:lnTo>
                  <a:pt x="3084551" y="1805930"/>
                </a:lnTo>
                <a:lnTo>
                  <a:pt x="3029691" y="1822618"/>
                </a:lnTo>
                <a:lnTo>
                  <a:pt x="2973965" y="1838682"/>
                </a:lnTo>
                <a:lnTo>
                  <a:pt x="2917400" y="1854108"/>
                </a:lnTo>
                <a:lnTo>
                  <a:pt x="2860021" y="1868881"/>
                </a:lnTo>
                <a:lnTo>
                  <a:pt x="2801853" y="1882986"/>
                </a:lnTo>
                <a:lnTo>
                  <a:pt x="2742920" y="1896408"/>
                </a:lnTo>
                <a:lnTo>
                  <a:pt x="2683248" y="1909132"/>
                </a:lnTo>
                <a:lnTo>
                  <a:pt x="2622863" y="1921143"/>
                </a:lnTo>
                <a:lnTo>
                  <a:pt x="2561789" y="1932427"/>
                </a:lnTo>
                <a:lnTo>
                  <a:pt x="2500051" y="1942968"/>
                </a:lnTo>
                <a:lnTo>
                  <a:pt x="2437675" y="1952752"/>
                </a:lnTo>
                <a:lnTo>
                  <a:pt x="2374686" y="1961762"/>
                </a:lnTo>
                <a:lnTo>
                  <a:pt x="2311109" y="1969986"/>
                </a:lnTo>
                <a:lnTo>
                  <a:pt x="2246969" y="1977406"/>
                </a:lnTo>
                <a:lnTo>
                  <a:pt x="2182735" y="1983965"/>
                </a:lnTo>
                <a:lnTo>
                  <a:pt x="2118879" y="1989620"/>
                </a:lnTo>
                <a:lnTo>
                  <a:pt x="2055427" y="1994378"/>
                </a:lnTo>
                <a:lnTo>
                  <a:pt x="1992408" y="1998251"/>
                </a:lnTo>
                <a:lnTo>
                  <a:pt x="1929849" y="2001245"/>
                </a:lnTo>
                <a:lnTo>
                  <a:pt x="1867779" y="2003372"/>
                </a:lnTo>
                <a:lnTo>
                  <a:pt x="1806224" y="2004640"/>
                </a:lnTo>
                <a:lnTo>
                  <a:pt x="1745212" y="2005058"/>
                </a:lnTo>
                <a:lnTo>
                  <a:pt x="1684772" y="2004636"/>
                </a:lnTo>
                <a:lnTo>
                  <a:pt x="1624932" y="2003382"/>
                </a:lnTo>
                <a:lnTo>
                  <a:pt x="1565718" y="2001306"/>
                </a:lnTo>
                <a:lnTo>
                  <a:pt x="1507159" y="1998418"/>
                </a:lnTo>
                <a:lnTo>
                  <a:pt x="1449282" y="1994725"/>
                </a:lnTo>
                <a:lnTo>
                  <a:pt x="1392115" y="1990237"/>
                </a:lnTo>
                <a:lnTo>
                  <a:pt x="1335687" y="1984965"/>
                </a:lnTo>
                <a:lnTo>
                  <a:pt x="1280024" y="1978916"/>
                </a:lnTo>
                <a:lnTo>
                  <a:pt x="1225155" y="1972099"/>
                </a:lnTo>
                <a:lnTo>
                  <a:pt x="1171108" y="1964525"/>
                </a:lnTo>
                <a:lnTo>
                  <a:pt x="1117909" y="1956203"/>
                </a:lnTo>
                <a:lnTo>
                  <a:pt x="1065588" y="1947140"/>
                </a:lnTo>
                <a:lnTo>
                  <a:pt x="1014171" y="1937347"/>
                </a:lnTo>
                <a:lnTo>
                  <a:pt x="963686" y="1926834"/>
                </a:lnTo>
                <a:lnTo>
                  <a:pt x="914162" y="1915608"/>
                </a:lnTo>
                <a:lnTo>
                  <a:pt x="865625" y="1903679"/>
                </a:lnTo>
                <a:lnTo>
                  <a:pt x="818105" y="1891057"/>
                </a:lnTo>
                <a:lnTo>
                  <a:pt x="771628" y="1877750"/>
                </a:lnTo>
                <a:lnTo>
                  <a:pt x="726222" y="1863768"/>
                </a:lnTo>
                <a:lnTo>
                  <a:pt x="681916" y="1849119"/>
                </a:lnTo>
                <a:lnTo>
                  <a:pt x="638736" y="1833814"/>
                </a:lnTo>
                <a:lnTo>
                  <a:pt x="596711" y="1817861"/>
                </a:lnTo>
                <a:lnTo>
                  <a:pt x="555868" y="1801270"/>
                </a:lnTo>
                <a:lnTo>
                  <a:pt x="516236" y="1784049"/>
                </a:lnTo>
                <a:lnTo>
                  <a:pt x="477842" y="1766208"/>
                </a:lnTo>
                <a:lnTo>
                  <a:pt x="440713" y="1747756"/>
                </a:lnTo>
                <a:lnTo>
                  <a:pt x="404878" y="1728703"/>
                </a:lnTo>
                <a:lnTo>
                  <a:pt x="370364" y="1709056"/>
                </a:lnTo>
                <a:lnTo>
                  <a:pt x="337199" y="1688826"/>
                </a:lnTo>
                <a:lnTo>
                  <a:pt x="275028" y="1646653"/>
                </a:lnTo>
                <a:lnTo>
                  <a:pt x="218586" y="1602256"/>
                </a:lnTo>
                <a:lnTo>
                  <a:pt x="168096" y="1555708"/>
                </a:lnTo>
                <a:lnTo>
                  <a:pt x="123780" y="1507084"/>
                </a:lnTo>
                <a:lnTo>
                  <a:pt x="85860" y="1456457"/>
                </a:lnTo>
                <a:lnTo>
                  <a:pt x="54559" y="1403900"/>
                </a:lnTo>
                <a:lnTo>
                  <a:pt x="30098" y="1349486"/>
                </a:lnTo>
                <a:lnTo>
                  <a:pt x="12700" y="1293290"/>
                </a:lnTo>
                <a:lnTo>
                  <a:pt x="2587" y="1235383"/>
                </a:lnTo>
                <a:lnTo>
                  <a:pt x="0" y="1176658"/>
                </a:lnTo>
                <a:lnTo>
                  <a:pt x="1524" y="1147326"/>
                </a:lnTo>
                <a:lnTo>
                  <a:pt x="10085" y="1088797"/>
                </a:lnTo>
                <a:lnTo>
                  <a:pt x="25825" y="1030549"/>
                </a:lnTo>
                <a:lnTo>
                  <a:pt x="48545" y="972701"/>
                </a:lnTo>
                <a:lnTo>
                  <a:pt x="78043" y="915373"/>
                </a:lnTo>
                <a:lnTo>
                  <a:pt x="114117" y="858684"/>
                </a:lnTo>
                <a:lnTo>
                  <a:pt x="156567" y="802755"/>
                </a:lnTo>
                <a:lnTo>
                  <a:pt x="205191" y="747703"/>
                </a:lnTo>
                <a:lnTo>
                  <a:pt x="259789" y="693650"/>
                </a:lnTo>
                <a:lnTo>
                  <a:pt x="289265" y="667035"/>
                </a:lnTo>
                <a:lnTo>
                  <a:pt x="320159" y="640714"/>
                </a:lnTo>
                <a:lnTo>
                  <a:pt x="352445" y="614703"/>
                </a:lnTo>
                <a:lnTo>
                  <a:pt x="386099" y="589016"/>
                </a:lnTo>
                <a:lnTo>
                  <a:pt x="421096" y="563668"/>
                </a:lnTo>
                <a:lnTo>
                  <a:pt x="457409" y="538674"/>
                </a:lnTo>
                <a:lnTo>
                  <a:pt x="495015" y="514049"/>
                </a:lnTo>
                <a:lnTo>
                  <a:pt x="533888" y="489808"/>
                </a:lnTo>
                <a:lnTo>
                  <a:pt x="574003" y="465966"/>
                </a:lnTo>
                <a:lnTo>
                  <a:pt x="615335" y="442538"/>
                </a:lnTo>
                <a:lnTo>
                  <a:pt x="657858" y="419539"/>
                </a:lnTo>
                <a:lnTo>
                  <a:pt x="701547" y="396984"/>
                </a:lnTo>
                <a:lnTo>
                  <a:pt x="746378" y="374887"/>
                </a:lnTo>
                <a:lnTo>
                  <a:pt x="792325" y="353265"/>
                </a:lnTo>
                <a:lnTo>
                  <a:pt x="839363" y="332130"/>
                </a:lnTo>
                <a:lnTo>
                  <a:pt x="887466" y="311500"/>
                </a:lnTo>
                <a:lnTo>
                  <a:pt x="936610" y="291387"/>
                </a:lnTo>
                <a:lnTo>
                  <a:pt x="986770" y="271809"/>
                </a:lnTo>
                <a:lnTo>
                  <a:pt x="1037921" y="252778"/>
                </a:lnTo>
                <a:lnTo>
                  <a:pt x="1090036" y="234311"/>
                </a:lnTo>
                <a:lnTo>
                  <a:pt x="1143092" y="216423"/>
                </a:lnTo>
                <a:lnTo>
                  <a:pt x="1197062" y="199127"/>
                </a:lnTo>
                <a:lnTo>
                  <a:pt x="1251923" y="182440"/>
                </a:lnTo>
                <a:lnTo>
                  <a:pt x="1307648" y="166376"/>
                </a:lnTo>
                <a:lnTo>
                  <a:pt x="1364212" y="150950"/>
                </a:lnTo>
                <a:lnTo>
                  <a:pt x="1421591" y="136177"/>
                </a:lnTo>
                <a:lnTo>
                  <a:pt x="1479759" y="122072"/>
                </a:lnTo>
                <a:lnTo>
                  <a:pt x="1538691" y="108650"/>
                </a:lnTo>
                <a:lnTo>
                  <a:pt x="1598362" y="95926"/>
                </a:lnTo>
                <a:lnTo>
                  <a:pt x="1658747" y="83914"/>
                </a:lnTo>
                <a:lnTo>
                  <a:pt x="1719821" y="72631"/>
                </a:lnTo>
                <a:lnTo>
                  <a:pt x="1781558" y="62090"/>
                </a:lnTo>
                <a:lnTo>
                  <a:pt x="1843933" y="52306"/>
                </a:lnTo>
                <a:lnTo>
                  <a:pt x="1906921" y="43296"/>
                </a:lnTo>
                <a:lnTo>
                  <a:pt x="1970498" y="35072"/>
                </a:lnTo>
                <a:lnTo>
                  <a:pt x="2034637" y="27652"/>
                </a:lnTo>
                <a:lnTo>
                  <a:pt x="2098871" y="21092"/>
                </a:lnTo>
                <a:lnTo>
                  <a:pt x="2162728" y="15438"/>
                </a:lnTo>
                <a:lnTo>
                  <a:pt x="2226181" y="10680"/>
                </a:lnTo>
                <a:lnTo>
                  <a:pt x="2289200" y="6807"/>
                </a:lnTo>
                <a:lnTo>
                  <a:pt x="2351760" y="3812"/>
                </a:lnTo>
                <a:lnTo>
                  <a:pt x="2413831" y="1686"/>
                </a:lnTo>
                <a:lnTo>
                  <a:pt x="2475386" y="418"/>
                </a:lnTo>
                <a:lnTo>
                  <a:pt x="2536398" y="0"/>
                </a:lnTo>
                <a:lnTo>
                  <a:pt x="2596838" y="422"/>
                </a:lnTo>
                <a:lnTo>
                  <a:pt x="2656679" y="1676"/>
                </a:lnTo>
                <a:lnTo>
                  <a:pt x="2715893" y="3751"/>
                </a:lnTo>
                <a:lnTo>
                  <a:pt x="2774453" y="6640"/>
                </a:lnTo>
                <a:lnTo>
                  <a:pt x="2832330" y="10333"/>
                </a:lnTo>
                <a:lnTo>
                  <a:pt x="2889496" y="14820"/>
                </a:lnTo>
                <a:lnTo>
                  <a:pt x="2945925" y="20093"/>
                </a:lnTo>
                <a:lnTo>
                  <a:pt x="3001587" y="26142"/>
                </a:lnTo>
                <a:lnTo>
                  <a:pt x="3056457" y="32958"/>
                </a:lnTo>
                <a:lnTo>
                  <a:pt x="3110504" y="40533"/>
                </a:lnTo>
                <a:lnTo>
                  <a:pt x="3163703" y="48855"/>
                </a:lnTo>
                <a:lnTo>
                  <a:pt x="3216024" y="57918"/>
                </a:lnTo>
                <a:lnTo>
                  <a:pt x="3267441" y="67710"/>
                </a:lnTo>
                <a:lnTo>
                  <a:pt x="3317926" y="78224"/>
                </a:lnTo>
                <a:lnTo>
                  <a:pt x="3367450" y="89450"/>
                </a:lnTo>
                <a:lnTo>
                  <a:pt x="3415986" y="101379"/>
                </a:lnTo>
                <a:lnTo>
                  <a:pt x="3463507" y="114001"/>
                </a:lnTo>
                <a:lnTo>
                  <a:pt x="3509983" y="127308"/>
                </a:lnTo>
                <a:lnTo>
                  <a:pt x="3555389" y="141290"/>
                </a:lnTo>
                <a:lnTo>
                  <a:pt x="3599695" y="155939"/>
                </a:lnTo>
                <a:lnTo>
                  <a:pt x="3642875" y="171244"/>
                </a:lnTo>
                <a:lnTo>
                  <a:pt x="3684900" y="187196"/>
                </a:lnTo>
                <a:lnTo>
                  <a:pt x="3725742" y="203788"/>
                </a:lnTo>
                <a:lnTo>
                  <a:pt x="3765374" y="221009"/>
                </a:lnTo>
                <a:lnTo>
                  <a:pt x="3803768" y="238850"/>
                </a:lnTo>
                <a:lnTo>
                  <a:pt x="3840897" y="257302"/>
                </a:lnTo>
                <a:lnTo>
                  <a:pt x="3876732" y="276355"/>
                </a:lnTo>
                <a:lnTo>
                  <a:pt x="3911245" y="296002"/>
                </a:lnTo>
                <a:lnTo>
                  <a:pt x="3944410" y="316232"/>
                </a:lnTo>
                <a:lnTo>
                  <a:pt x="4006581" y="358405"/>
                </a:lnTo>
                <a:lnTo>
                  <a:pt x="4063022" y="402802"/>
                </a:lnTo>
                <a:lnTo>
                  <a:pt x="4113512" y="449349"/>
                </a:lnTo>
                <a:lnTo>
                  <a:pt x="4157827" y="497974"/>
                </a:lnTo>
                <a:lnTo>
                  <a:pt x="4195747" y="548601"/>
                </a:lnTo>
                <a:lnTo>
                  <a:pt x="4227048" y="601158"/>
                </a:lnTo>
                <a:lnTo>
                  <a:pt x="4251508" y="655572"/>
                </a:lnTo>
                <a:lnTo>
                  <a:pt x="4268906" y="711768"/>
                </a:lnTo>
                <a:lnTo>
                  <a:pt x="4279020" y="769674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17" name="object 17"/>
          <p:cNvSpPr/>
          <p:nvPr/>
        </p:nvSpPr>
        <p:spPr>
          <a:xfrm>
            <a:off x="6060281" y="1474470"/>
            <a:ext cx="5172076" cy="84010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24" name="object 24"/>
          <p:cNvSpPr/>
          <p:nvPr/>
        </p:nvSpPr>
        <p:spPr>
          <a:xfrm>
            <a:off x="442198" y="702877"/>
            <a:ext cx="10741819" cy="4841319"/>
          </a:xfrm>
          <a:custGeom>
            <a:avLst/>
            <a:gdLst/>
            <a:ahLst/>
            <a:cxnLst/>
            <a:rect l="l" t="t" r="r" b="b"/>
            <a:pathLst>
              <a:path w="14322425" h="7172325">
                <a:moveTo>
                  <a:pt x="6185763" y="7172096"/>
                </a:moveTo>
                <a:lnTo>
                  <a:pt x="0" y="1613585"/>
                </a:lnTo>
                <a:lnTo>
                  <a:pt x="6817740" y="0"/>
                </a:lnTo>
                <a:lnTo>
                  <a:pt x="14322234" y="2360726"/>
                </a:lnTo>
                <a:lnTo>
                  <a:pt x="6185763" y="7172096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28" name="object 28"/>
          <p:cNvSpPr/>
          <p:nvPr/>
        </p:nvSpPr>
        <p:spPr>
          <a:xfrm>
            <a:off x="4978299" y="1508760"/>
            <a:ext cx="1853565" cy="560642"/>
          </a:xfrm>
          <a:custGeom>
            <a:avLst/>
            <a:gdLst/>
            <a:ahLst/>
            <a:cxnLst/>
            <a:rect l="l" t="t" r="r" b="b"/>
            <a:pathLst>
              <a:path w="2471420" h="830580">
                <a:moveTo>
                  <a:pt x="2471051" y="0"/>
                </a:moveTo>
                <a:lnTo>
                  <a:pt x="588098" y="0"/>
                </a:lnTo>
                <a:lnTo>
                  <a:pt x="0" y="830186"/>
                </a:lnTo>
              </a:path>
            </a:pathLst>
          </a:custGeom>
          <a:ln w="2539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30" name="object 30"/>
          <p:cNvSpPr/>
          <p:nvPr/>
        </p:nvSpPr>
        <p:spPr>
          <a:xfrm>
            <a:off x="6060414" y="2345701"/>
            <a:ext cx="2014061" cy="560642"/>
          </a:xfrm>
          <a:custGeom>
            <a:avLst/>
            <a:gdLst/>
            <a:ahLst/>
            <a:cxnLst/>
            <a:rect l="l" t="t" r="r" b="b"/>
            <a:pathLst>
              <a:path w="2685415" h="830579">
                <a:moveTo>
                  <a:pt x="2684830" y="830186"/>
                </a:moveTo>
                <a:lnTo>
                  <a:pt x="585977" y="830186"/>
                </a:lnTo>
                <a:lnTo>
                  <a:pt x="0" y="0"/>
                </a:lnTo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32" name="object 32"/>
          <p:cNvSpPr/>
          <p:nvPr/>
        </p:nvSpPr>
        <p:spPr>
          <a:xfrm>
            <a:off x="4222417" y="2851479"/>
            <a:ext cx="2712243" cy="1315022"/>
          </a:xfrm>
          <a:custGeom>
            <a:avLst/>
            <a:gdLst/>
            <a:ahLst/>
            <a:cxnLst/>
            <a:rect l="l" t="t" r="r" b="b"/>
            <a:pathLst>
              <a:path w="3616325" h="1948179">
                <a:moveTo>
                  <a:pt x="3616172" y="1947786"/>
                </a:moveTo>
                <a:lnTo>
                  <a:pt x="1339519" y="1947786"/>
                </a:lnTo>
                <a:lnTo>
                  <a:pt x="0" y="0"/>
                </a:lnTo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33" name="object 33"/>
          <p:cNvSpPr/>
          <p:nvPr/>
        </p:nvSpPr>
        <p:spPr>
          <a:xfrm>
            <a:off x="5049763" y="2041755"/>
            <a:ext cx="48125" cy="37719"/>
          </a:xfrm>
          <a:custGeom>
            <a:avLst/>
            <a:gdLst/>
            <a:ahLst/>
            <a:cxnLst/>
            <a:rect l="l" t="t" r="r" b="b"/>
            <a:pathLst>
              <a:path w="55879" h="55880">
                <a:moveTo>
                  <a:pt x="27863" y="0"/>
                </a:moveTo>
                <a:lnTo>
                  <a:pt x="17016" y="2190"/>
                </a:lnTo>
                <a:lnTo>
                  <a:pt x="8159" y="8164"/>
                </a:lnTo>
                <a:lnTo>
                  <a:pt x="2189" y="17021"/>
                </a:lnTo>
                <a:lnTo>
                  <a:pt x="0" y="27863"/>
                </a:lnTo>
                <a:lnTo>
                  <a:pt x="2189" y="38705"/>
                </a:lnTo>
                <a:lnTo>
                  <a:pt x="8159" y="47563"/>
                </a:lnTo>
                <a:lnTo>
                  <a:pt x="17016" y="53536"/>
                </a:lnTo>
                <a:lnTo>
                  <a:pt x="27863" y="55727"/>
                </a:lnTo>
                <a:lnTo>
                  <a:pt x="38703" y="53536"/>
                </a:lnTo>
                <a:lnTo>
                  <a:pt x="47556" y="47563"/>
                </a:lnTo>
                <a:lnTo>
                  <a:pt x="53525" y="38705"/>
                </a:lnTo>
                <a:lnTo>
                  <a:pt x="55714" y="27863"/>
                </a:lnTo>
                <a:lnTo>
                  <a:pt x="53525" y="17021"/>
                </a:lnTo>
                <a:lnTo>
                  <a:pt x="47556" y="8164"/>
                </a:lnTo>
                <a:lnTo>
                  <a:pt x="38703" y="2190"/>
                </a:lnTo>
                <a:lnTo>
                  <a:pt x="2786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34" name="object 34"/>
          <p:cNvSpPr/>
          <p:nvPr/>
        </p:nvSpPr>
        <p:spPr>
          <a:xfrm>
            <a:off x="6138471" y="2324647"/>
            <a:ext cx="48125" cy="37719"/>
          </a:xfrm>
          <a:custGeom>
            <a:avLst/>
            <a:gdLst/>
            <a:ahLst/>
            <a:cxnLst/>
            <a:rect l="l" t="t" r="r" b="b"/>
            <a:pathLst>
              <a:path w="55879" h="55879">
                <a:moveTo>
                  <a:pt x="27863" y="0"/>
                </a:moveTo>
                <a:lnTo>
                  <a:pt x="17016" y="2190"/>
                </a:lnTo>
                <a:lnTo>
                  <a:pt x="8159" y="8164"/>
                </a:lnTo>
                <a:lnTo>
                  <a:pt x="2189" y="17021"/>
                </a:lnTo>
                <a:lnTo>
                  <a:pt x="0" y="27863"/>
                </a:lnTo>
                <a:lnTo>
                  <a:pt x="2189" y="38705"/>
                </a:lnTo>
                <a:lnTo>
                  <a:pt x="8159" y="47563"/>
                </a:lnTo>
                <a:lnTo>
                  <a:pt x="17016" y="53536"/>
                </a:lnTo>
                <a:lnTo>
                  <a:pt x="27863" y="55727"/>
                </a:lnTo>
                <a:lnTo>
                  <a:pt x="38703" y="53536"/>
                </a:lnTo>
                <a:lnTo>
                  <a:pt x="47556" y="47563"/>
                </a:lnTo>
                <a:lnTo>
                  <a:pt x="53525" y="38705"/>
                </a:lnTo>
                <a:lnTo>
                  <a:pt x="55714" y="27863"/>
                </a:lnTo>
                <a:lnTo>
                  <a:pt x="53525" y="17021"/>
                </a:lnTo>
                <a:lnTo>
                  <a:pt x="47556" y="8164"/>
                </a:lnTo>
                <a:lnTo>
                  <a:pt x="38703" y="2190"/>
                </a:lnTo>
                <a:lnTo>
                  <a:pt x="2786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37" name="object 37"/>
          <p:cNvSpPr/>
          <p:nvPr/>
        </p:nvSpPr>
        <p:spPr>
          <a:xfrm>
            <a:off x="4316092" y="2793503"/>
            <a:ext cx="62388" cy="56150"/>
          </a:xfrm>
          <a:custGeom>
            <a:avLst/>
            <a:gdLst/>
            <a:ahLst/>
            <a:cxnLst/>
            <a:rect l="l" t="t" r="r" b="b"/>
            <a:pathLst>
              <a:path w="83185" h="83185">
                <a:moveTo>
                  <a:pt x="41376" y="0"/>
                </a:moveTo>
                <a:lnTo>
                  <a:pt x="25272" y="3252"/>
                </a:lnTo>
                <a:lnTo>
                  <a:pt x="12120" y="12122"/>
                </a:lnTo>
                <a:lnTo>
                  <a:pt x="3252" y="25278"/>
                </a:lnTo>
                <a:lnTo>
                  <a:pt x="0" y="41389"/>
                </a:lnTo>
                <a:lnTo>
                  <a:pt x="3252" y="57500"/>
                </a:lnTo>
                <a:lnTo>
                  <a:pt x="12120" y="70656"/>
                </a:lnTo>
                <a:lnTo>
                  <a:pt x="25272" y="79526"/>
                </a:lnTo>
                <a:lnTo>
                  <a:pt x="41376" y="82778"/>
                </a:lnTo>
                <a:lnTo>
                  <a:pt x="57487" y="79526"/>
                </a:lnTo>
                <a:lnTo>
                  <a:pt x="70643" y="70656"/>
                </a:lnTo>
                <a:lnTo>
                  <a:pt x="79513" y="57500"/>
                </a:lnTo>
                <a:lnTo>
                  <a:pt x="82765" y="41389"/>
                </a:lnTo>
                <a:lnTo>
                  <a:pt x="79513" y="25278"/>
                </a:lnTo>
                <a:lnTo>
                  <a:pt x="70643" y="12122"/>
                </a:lnTo>
                <a:lnTo>
                  <a:pt x="57487" y="3252"/>
                </a:lnTo>
                <a:lnTo>
                  <a:pt x="4137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38" name="object 38"/>
          <p:cNvSpPr/>
          <p:nvPr/>
        </p:nvSpPr>
        <p:spPr>
          <a:xfrm>
            <a:off x="5118259" y="3643312"/>
            <a:ext cx="2066925" cy="60864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44" name="object 44"/>
          <p:cNvSpPr/>
          <p:nvPr/>
        </p:nvSpPr>
        <p:spPr>
          <a:xfrm>
            <a:off x="4580876" y="2210445"/>
            <a:ext cx="59560" cy="3550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45" name="object 45"/>
          <p:cNvSpPr/>
          <p:nvPr/>
        </p:nvSpPr>
        <p:spPr>
          <a:xfrm>
            <a:off x="4521217" y="2291764"/>
            <a:ext cx="48125" cy="3291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46" name="object 46"/>
          <p:cNvSpPr/>
          <p:nvPr/>
        </p:nvSpPr>
        <p:spPr>
          <a:xfrm>
            <a:off x="4539159" y="2245952"/>
            <a:ext cx="48125" cy="4581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49" name="object 49"/>
          <p:cNvSpPr/>
          <p:nvPr/>
        </p:nvSpPr>
        <p:spPr>
          <a:xfrm>
            <a:off x="4805880" y="2150189"/>
            <a:ext cx="56634" cy="16157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52" name="object 52"/>
          <p:cNvSpPr/>
          <p:nvPr/>
        </p:nvSpPr>
        <p:spPr>
          <a:xfrm>
            <a:off x="2598313" y="1946467"/>
            <a:ext cx="1978819" cy="522923"/>
          </a:xfrm>
          <a:custGeom>
            <a:avLst/>
            <a:gdLst/>
            <a:ahLst/>
            <a:cxnLst/>
            <a:rect l="l" t="t" r="r" b="b"/>
            <a:pathLst>
              <a:path w="2638425" h="774700">
                <a:moveTo>
                  <a:pt x="0" y="0"/>
                </a:moveTo>
                <a:lnTo>
                  <a:pt x="2078570" y="0"/>
                </a:lnTo>
                <a:lnTo>
                  <a:pt x="2637929" y="774674"/>
                </a:lnTo>
              </a:path>
            </a:pathLst>
          </a:custGeom>
          <a:ln w="2539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53" name="object 53"/>
          <p:cNvSpPr/>
          <p:nvPr/>
        </p:nvSpPr>
        <p:spPr>
          <a:xfrm>
            <a:off x="4624702" y="2270590"/>
            <a:ext cx="62388" cy="56150"/>
          </a:xfrm>
          <a:custGeom>
            <a:avLst/>
            <a:gdLst/>
            <a:ahLst/>
            <a:cxnLst/>
            <a:rect l="l" t="t" r="r" b="b"/>
            <a:pathLst>
              <a:path w="83185" h="83185">
                <a:moveTo>
                  <a:pt x="41376" y="0"/>
                </a:moveTo>
                <a:lnTo>
                  <a:pt x="25272" y="3252"/>
                </a:lnTo>
                <a:lnTo>
                  <a:pt x="12120" y="12122"/>
                </a:lnTo>
                <a:lnTo>
                  <a:pt x="3252" y="25278"/>
                </a:lnTo>
                <a:lnTo>
                  <a:pt x="0" y="41389"/>
                </a:lnTo>
                <a:lnTo>
                  <a:pt x="3252" y="57500"/>
                </a:lnTo>
                <a:lnTo>
                  <a:pt x="12120" y="70656"/>
                </a:lnTo>
                <a:lnTo>
                  <a:pt x="25272" y="79526"/>
                </a:lnTo>
                <a:lnTo>
                  <a:pt x="41376" y="82778"/>
                </a:lnTo>
                <a:lnTo>
                  <a:pt x="57487" y="79526"/>
                </a:lnTo>
                <a:lnTo>
                  <a:pt x="70643" y="70656"/>
                </a:lnTo>
                <a:lnTo>
                  <a:pt x="79513" y="57500"/>
                </a:lnTo>
                <a:lnTo>
                  <a:pt x="82765" y="41389"/>
                </a:lnTo>
                <a:lnTo>
                  <a:pt x="79513" y="25278"/>
                </a:lnTo>
                <a:lnTo>
                  <a:pt x="70643" y="12122"/>
                </a:lnTo>
                <a:lnTo>
                  <a:pt x="57487" y="3252"/>
                </a:lnTo>
                <a:lnTo>
                  <a:pt x="4137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54" name="object 54"/>
          <p:cNvSpPr/>
          <p:nvPr/>
        </p:nvSpPr>
        <p:spPr>
          <a:xfrm>
            <a:off x="5087617" y="2476321"/>
            <a:ext cx="62388" cy="56150"/>
          </a:xfrm>
          <a:custGeom>
            <a:avLst/>
            <a:gdLst/>
            <a:ahLst/>
            <a:cxnLst/>
            <a:rect l="l" t="t" r="r" b="b"/>
            <a:pathLst>
              <a:path w="83184" h="83185">
                <a:moveTo>
                  <a:pt x="41376" y="0"/>
                </a:moveTo>
                <a:lnTo>
                  <a:pt x="25272" y="3252"/>
                </a:lnTo>
                <a:lnTo>
                  <a:pt x="12120" y="12122"/>
                </a:lnTo>
                <a:lnTo>
                  <a:pt x="3252" y="25278"/>
                </a:lnTo>
                <a:lnTo>
                  <a:pt x="0" y="41389"/>
                </a:lnTo>
                <a:lnTo>
                  <a:pt x="3252" y="57500"/>
                </a:lnTo>
                <a:lnTo>
                  <a:pt x="12120" y="70656"/>
                </a:lnTo>
                <a:lnTo>
                  <a:pt x="25272" y="79526"/>
                </a:lnTo>
                <a:lnTo>
                  <a:pt x="41376" y="82778"/>
                </a:lnTo>
                <a:lnTo>
                  <a:pt x="57487" y="79526"/>
                </a:lnTo>
                <a:lnTo>
                  <a:pt x="70643" y="70656"/>
                </a:lnTo>
                <a:lnTo>
                  <a:pt x="79513" y="57500"/>
                </a:lnTo>
                <a:lnTo>
                  <a:pt x="82765" y="41389"/>
                </a:lnTo>
                <a:lnTo>
                  <a:pt x="79513" y="25278"/>
                </a:lnTo>
                <a:lnTo>
                  <a:pt x="70643" y="12122"/>
                </a:lnTo>
                <a:lnTo>
                  <a:pt x="57487" y="3252"/>
                </a:lnTo>
                <a:lnTo>
                  <a:pt x="4137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56" name="object 56"/>
          <p:cNvSpPr/>
          <p:nvPr/>
        </p:nvSpPr>
        <p:spPr>
          <a:xfrm>
            <a:off x="4960060" y="2504259"/>
            <a:ext cx="3172301" cy="907828"/>
          </a:xfrm>
          <a:custGeom>
            <a:avLst/>
            <a:gdLst/>
            <a:ahLst/>
            <a:cxnLst/>
            <a:rect l="l" t="t" r="r" b="b"/>
            <a:pathLst>
              <a:path w="4229734" h="1344929">
                <a:moveTo>
                  <a:pt x="4229188" y="1331887"/>
                </a:moveTo>
                <a:lnTo>
                  <a:pt x="977988" y="1344587"/>
                </a:lnTo>
                <a:lnTo>
                  <a:pt x="0" y="0"/>
                </a:lnTo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43" name="object 5"/>
          <p:cNvSpPr/>
          <p:nvPr/>
        </p:nvSpPr>
        <p:spPr>
          <a:xfrm>
            <a:off x="6354374" y="12700"/>
            <a:ext cx="5838825" cy="68580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sz="1215">
              <a:latin typeface="+mn-lt"/>
              <a:ea typeface="+mn-ea"/>
            </a:endParaRPr>
          </a:p>
        </p:txBody>
      </p:sp>
      <p:sp>
        <p:nvSpPr>
          <p:cNvPr id="50" name="object 5"/>
          <p:cNvSpPr/>
          <p:nvPr/>
        </p:nvSpPr>
        <p:spPr>
          <a:xfrm rot="10800000">
            <a:off x="-20617" y="12700"/>
            <a:ext cx="5838825" cy="685800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sz="1215">
              <a:latin typeface="+mn-lt"/>
              <a:ea typeface="+mn-ea"/>
            </a:endParaRPr>
          </a:p>
        </p:txBody>
      </p:sp>
      <p:sp>
        <p:nvSpPr>
          <p:cNvPr id="55" name="object 26"/>
          <p:cNvSpPr txBox="1"/>
          <p:nvPr/>
        </p:nvSpPr>
        <p:spPr>
          <a:xfrm>
            <a:off x="2772264" y="980608"/>
            <a:ext cx="5288280" cy="12182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626613">
              <a:lnSpc>
                <a:spcPts val="2093"/>
              </a:lnSpc>
            </a:pPr>
            <a:r>
              <a:rPr lang="kk-KZ" sz="1755" b="1" spc="7" dirty="0" smtClean="0">
                <a:solidFill>
                  <a:srgbClr val="FFFFFF"/>
                </a:solidFill>
                <a:latin typeface="Arial"/>
                <a:cs typeface="Arial"/>
              </a:rPr>
              <a:t>Национальный павильон</a:t>
            </a:r>
            <a:endParaRPr sz="1755" dirty="0">
              <a:latin typeface="Arial"/>
              <a:cs typeface="Arial"/>
            </a:endParaRPr>
          </a:p>
          <a:p>
            <a:pPr marL="2626613">
              <a:lnSpc>
                <a:spcPts val="1077"/>
              </a:lnSpc>
            </a:pPr>
            <a:r>
              <a:rPr lang="kk-KZ" sz="911" b="1" spc="-88" dirty="0" smtClean="0">
                <a:solidFill>
                  <a:srgbClr val="FFFFFF"/>
                </a:solidFill>
                <a:latin typeface="Arial"/>
                <a:cs typeface="Arial"/>
              </a:rPr>
              <a:t>Комплекс «Сфера</a:t>
            </a:r>
            <a:r>
              <a:rPr lang="ru-RU" sz="911" b="1" spc="-88" dirty="0" smtClean="0">
                <a:solidFill>
                  <a:srgbClr val="FFFFFF"/>
                </a:solidFill>
                <a:latin typeface="Arial"/>
                <a:cs typeface="Arial"/>
              </a:rPr>
              <a:t>»</a:t>
            </a:r>
            <a:endParaRPr sz="911" dirty="0">
              <a:latin typeface="Arial"/>
              <a:cs typeface="Arial"/>
            </a:endParaRPr>
          </a:p>
          <a:p>
            <a:pPr marL="8573">
              <a:lnSpc>
                <a:spcPts val="2103"/>
              </a:lnSpc>
            </a:pPr>
            <a:r>
              <a:rPr lang="ru-RU" sz="1755" b="1" spc="-95" dirty="0" smtClean="0">
                <a:solidFill>
                  <a:srgbClr val="FFFFFF"/>
                </a:solidFill>
                <a:latin typeface="Arial"/>
                <a:cs typeface="Arial"/>
              </a:rPr>
              <a:t>Тематические </a:t>
            </a:r>
          </a:p>
          <a:p>
            <a:pPr marL="8573">
              <a:lnSpc>
                <a:spcPts val="2103"/>
              </a:lnSpc>
            </a:pPr>
            <a:r>
              <a:rPr lang="ru-RU" sz="1755" b="1" spc="-95" dirty="0" smtClean="0">
                <a:solidFill>
                  <a:srgbClr val="FFFFFF"/>
                </a:solidFill>
                <a:latin typeface="Arial"/>
                <a:cs typeface="Arial"/>
              </a:rPr>
              <a:t>павильоны</a:t>
            </a:r>
            <a:endParaRPr sz="1755" dirty="0">
              <a:latin typeface="Arial"/>
              <a:cs typeface="Arial"/>
            </a:endParaRPr>
          </a:p>
        </p:txBody>
      </p:sp>
      <p:sp>
        <p:nvSpPr>
          <p:cNvPr id="57" name="object 29"/>
          <p:cNvSpPr/>
          <p:nvPr/>
        </p:nvSpPr>
        <p:spPr>
          <a:xfrm>
            <a:off x="5985986" y="2288857"/>
            <a:ext cx="2200276" cy="72866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58" name="object 39"/>
          <p:cNvSpPr txBox="1"/>
          <p:nvPr/>
        </p:nvSpPr>
        <p:spPr>
          <a:xfrm>
            <a:off x="5120348" y="2602156"/>
            <a:ext cx="4168795" cy="15735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6072" indent="780955"/>
            <a:r>
              <a:rPr lang="ru-RU" sz="1755" b="1" spc="-135" dirty="0" smtClean="0">
                <a:solidFill>
                  <a:srgbClr val="FFFFFF"/>
                </a:solidFill>
                <a:latin typeface="Arial"/>
                <a:cs typeface="Arial"/>
              </a:rPr>
              <a:t>Открытая аудитория</a:t>
            </a:r>
            <a:endParaRPr sz="1755" dirty="0">
              <a:latin typeface="Arial"/>
              <a:cs typeface="Arial"/>
            </a:endParaRPr>
          </a:p>
          <a:p>
            <a:pPr>
              <a:spcBef>
                <a:spcPts val="24"/>
              </a:spcBef>
            </a:pPr>
            <a:endParaRPr sz="1553" dirty="0">
              <a:latin typeface="Times New Roman"/>
              <a:cs typeface="Times New Roman"/>
            </a:endParaRPr>
          </a:p>
          <a:p>
            <a:pPr marL="576072"/>
            <a:r>
              <a:rPr lang="ru-RU" sz="1755" b="1" spc="-135" dirty="0">
                <a:solidFill>
                  <a:srgbClr val="FFFFFF"/>
                </a:solidFill>
                <a:latin typeface="Arial"/>
                <a:cs typeface="Arial"/>
              </a:rPr>
              <a:t>Коммерческие зоны</a:t>
            </a:r>
            <a:endParaRPr sz="1755" b="1" spc="-135" dirty="0">
              <a:solidFill>
                <a:srgbClr val="FFFFFF"/>
              </a:solidFill>
              <a:latin typeface="Arial"/>
              <a:cs typeface="Arial"/>
            </a:endParaRPr>
          </a:p>
          <a:p>
            <a:pPr>
              <a:spcBef>
                <a:spcPts val="28"/>
              </a:spcBef>
            </a:pPr>
            <a:endParaRPr sz="2329" dirty="0">
              <a:latin typeface="Times New Roman"/>
              <a:cs typeface="Times New Roman"/>
            </a:endParaRPr>
          </a:p>
          <a:p>
            <a:pPr marL="8573" marR="1073706">
              <a:lnSpc>
                <a:spcPts val="1688"/>
              </a:lnSpc>
            </a:pPr>
            <a:r>
              <a:rPr lang="ru-RU" sz="1688" b="1" spc="17" dirty="0" smtClean="0">
                <a:solidFill>
                  <a:srgbClr val="FFFFFF"/>
                </a:solidFill>
                <a:latin typeface="Arial"/>
                <a:cs typeface="Arial"/>
              </a:rPr>
              <a:t>Международные павильоны</a:t>
            </a:r>
            <a:endParaRPr sz="1688" dirty="0">
              <a:latin typeface="Arial"/>
              <a:cs typeface="Arial"/>
            </a:endParaRPr>
          </a:p>
        </p:txBody>
      </p:sp>
      <p:sp>
        <p:nvSpPr>
          <p:cNvPr id="59" name="object 12"/>
          <p:cNvSpPr txBox="1"/>
          <p:nvPr/>
        </p:nvSpPr>
        <p:spPr>
          <a:xfrm>
            <a:off x="343496" y="5736908"/>
            <a:ext cx="2228851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573">
              <a:lnSpc>
                <a:spcPts val="1866"/>
              </a:lnSpc>
            </a:pPr>
            <a:r>
              <a:rPr lang="kk-KZ" sz="1755" spc="98" dirty="0" smtClean="0">
                <a:solidFill>
                  <a:srgbClr val="FFFFFF"/>
                </a:solidFill>
                <a:latin typeface="Calibri"/>
                <a:cs typeface="Calibri"/>
              </a:rPr>
              <a:t>Общая территория</a:t>
            </a:r>
            <a:r>
              <a:rPr sz="1755" spc="71" dirty="0" smtClean="0">
                <a:solidFill>
                  <a:srgbClr val="FFFFFF"/>
                </a:solidFill>
                <a:latin typeface="Calibri"/>
                <a:cs typeface="Calibri"/>
              </a:rPr>
              <a:t>:</a:t>
            </a:r>
            <a:endParaRPr sz="1755" dirty="0">
              <a:latin typeface="Calibri"/>
              <a:cs typeface="Calibri"/>
            </a:endParaRPr>
          </a:p>
          <a:p>
            <a:pPr marL="8573">
              <a:lnSpc>
                <a:spcPts val="5309"/>
              </a:lnSpc>
            </a:pPr>
            <a:r>
              <a:rPr sz="4624" b="1" spc="425" dirty="0">
                <a:solidFill>
                  <a:srgbClr val="FFFFFF"/>
                </a:solidFill>
                <a:latin typeface="Arial"/>
                <a:cs typeface="Arial"/>
              </a:rPr>
              <a:t>174</a:t>
            </a:r>
            <a:r>
              <a:rPr sz="4624" b="1" spc="-77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kk-KZ" sz="4624" b="1" spc="27" dirty="0" smtClean="0">
                <a:solidFill>
                  <a:srgbClr val="FFFFFF"/>
                </a:solidFill>
                <a:latin typeface="Arial"/>
                <a:cs typeface="Arial"/>
              </a:rPr>
              <a:t>га</a:t>
            </a:r>
            <a:endParaRPr sz="4624" dirty="0">
              <a:latin typeface="Arial"/>
              <a:cs typeface="Arial"/>
            </a:endParaRPr>
          </a:p>
        </p:txBody>
      </p:sp>
      <p:sp>
        <p:nvSpPr>
          <p:cNvPr id="60" name="object 14"/>
          <p:cNvSpPr txBox="1"/>
          <p:nvPr/>
        </p:nvSpPr>
        <p:spPr>
          <a:xfrm>
            <a:off x="9458155" y="471418"/>
            <a:ext cx="1805940" cy="11028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573">
              <a:lnSpc>
                <a:spcPts val="1721"/>
              </a:lnSpc>
            </a:pPr>
            <a:r>
              <a:rPr lang="ru-RU" sz="1755" spc="115" dirty="0" smtClean="0">
                <a:solidFill>
                  <a:srgbClr val="FFFFFF"/>
                </a:solidFill>
                <a:latin typeface="Calibri"/>
                <a:cs typeface="Calibri"/>
              </a:rPr>
              <a:t>Выставочная</a:t>
            </a:r>
          </a:p>
          <a:p>
            <a:pPr marL="8573">
              <a:lnSpc>
                <a:spcPts val="1721"/>
              </a:lnSpc>
            </a:pPr>
            <a:r>
              <a:rPr lang="kk-KZ" sz="1755" spc="115" dirty="0" smtClean="0">
                <a:solidFill>
                  <a:srgbClr val="FFFFFF"/>
                </a:solidFill>
                <a:latin typeface="Calibri"/>
                <a:cs typeface="Calibri"/>
              </a:rPr>
              <a:t>территория</a:t>
            </a:r>
            <a:endParaRPr sz="1755" dirty="0">
              <a:latin typeface="Calibri"/>
              <a:cs typeface="Calibri"/>
            </a:endParaRPr>
          </a:p>
          <a:p>
            <a:pPr marL="8573">
              <a:lnSpc>
                <a:spcPts val="5164"/>
              </a:lnSpc>
            </a:pPr>
            <a:r>
              <a:rPr sz="4624" b="1" spc="425" dirty="0">
                <a:solidFill>
                  <a:srgbClr val="FFFFFF"/>
                </a:solidFill>
                <a:latin typeface="Arial"/>
                <a:cs typeface="Arial"/>
              </a:rPr>
              <a:t>25</a:t>
            </a:r>
            <a:r>
              <a:rPr sz="4624" b="1" spc="-77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kk-KZ" sz="4624" b="1" spc="27" dirty="0" smtClean="0">
                <a:solidFill>
                  <a:srgbClr val="FFFFFF"/>
                </a:solidFill>
                <a:latin typeface="Arial"/>
                <a:cs typeface="Arial"/>
              </a:rPr>
              <a:t>га</a:t>
            </a:r>
            <a:endParaRPr sz="4624" dirty="0">
              <a:latin typeface="Arial"/>
              <a:cs typeface="Arial"/>
            </a:endParaRPr>
          </a:p>
        </p:txBody>
      </p:sp>
      <p:sp>
        <p:nvSpPr>
          <p:cNvPr id="61" name="object 5"/>
          <p:cNvSpPr/>
          <p:nvPr/>
        </p:nvSpPr>
        <p:spPr>
          <a:xfrm>
            <a:off x="10359927" y="5995815"/>
            <a:ext cx="758295" cy="30634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62" name="object 6"/>
          <p:cNvSpPr/>
          <p:nvPr/>
        </p:nvSpPr>
        <p:spPr>
          <a:xfrm>
            <a:off x="9618705" y="6269137"/>
            <a:ext cx="327660" cy="175308"/>
          </a:xfrm>
          <a:custGeom>
            <a:avLst/>
            <a:gdLst/>
            <a:ahLst/>
            <a:cxnLst/>
            <a:rect l="l" t="t" r="r" b="b"/>
            <a:pathLst>
              <a:path w="436880" h="259715">
                <a:moveTo>
                  <a:pt x="227087" y="0"/>
                </a:moveTo>
                <a:lnTo>
                  <a:pt x="184594" y="14058"/>
                </a:lnTo>
                <a:lnTo>
                  <a:pt x="142275" y="45240"/>
                </a:lnTo>
                <a:lnTo>
                  <a:pt x="104413" y="80323"/>
                </a:lnTo>
                <a:lnTo>
                  <a:pt x="71132" y="118865"/>
                </a:lnTo>
                <a:lnTo>
                  <a:pt x="42554" y="160420"/>
                </a:lnTo>
                <a:lnTo>
                  <a:pt x="18803" y="204546"/>
                </a:lnTo>
                <a:lnTo>
                  <a:pt x="0" y="250799"/>
                </a:lnTo>
                <a:lnTo>
                  <a:pt x="45799" y="257321"/>
                </a:lnTo>
                <a:lnTo>
                  <a:pt x="92174" y="259267"/>
                </a:lnTo>
                <a:lnTo>
                  <a:pt x="138766" y="256540"/>
                </a:lnTo>
                <a:lnTo>
                  <a:pt x="185220" y="249045"/>
                </a:lnTo>
                <a:lnTo>
                  <a:pt x="231177" y="236687"/>
                </a:lnTo>
                <a:lnTo>
                  <a:pt x="276283" y="219371"/>
                </a:lnTo>
                <a:lnTo>
                  <a:pt x="320179" y="197002"/>
                </a:lnTo>
                <a:lnTo>
                  <a:pt x="352678" y="176421"/>
                </a:lnTo>
                <a:lnTo>
                  <a:pt x="410774" y="128779"/>
                </a:lnTo>
                <a:lnTo>
                  <a:pt x="436157" y="102227"/>
                </a:lnTo>
                <a:lnTo>
                  <a:pt x="407856" y="102227"/>
                </a:lnTo>
                <a:lnTo>
                  <a:pt x="380768" y="94176"/>
                </a:lnTo>
                <a:lnTo>
                  <a:pt x="356980" y="78420"/>
                </a:lnTo>
                <a:lnTo>
                  <a:pt x="338429" y="55460"/>
                </a:lnTo>
                <a:lnTo>
                  <a:pt x="308852" y="21898"/>
                </a:lnTo>
                <a:lnTo>
                  <a:pt x="270122" y="3012"/>
                </a:lnTo>
                <a:lnTo>
                  <a:pt x="227087" y="0"/>
                </a:lnTo>
                <a:close/>
              </a:path>
              <a:path w="436880" h="259715">
                <a:moveTo>
                  <a:pt x="436308" y="102069"/>
                </a:moveTo>
                <a:lnTo>
                  <a:pt x="407856" y="102227"/>
                </a:lnTo>
                <a:lnTo>
                  <a:pt x="436157" y="102227"/>
                </a:lnTo>
                <a:lnTo>
                  <a:pt x="436308" y="10206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63" name="object 7"/>
          <p:cNvSpPr/>
          <p:nvPr/>
        </p:nvSpPr>
        <p:spPr>
          <a:xfrm>
            <a:off x="9802948" y="6227564"/>
            <a:ext cx="171926" cy="93012"/>
          </a:xfrm>
          <a:custGeom>
            <a:avLst/>
            <a:gdLst/>
            <a:ahLst/>
            <a:cxnLst/>
            <a:rect l="l" t="t" r="r" b="b"/>
            <a:pathLst>
              <a:path w="229234" h="137795">
                <a:moveTo>
                  <a:pt x="161416" y="0"/>
                </a:moveTo>
                <a:lnTo>
                  <a:pt x="114085" y="4021"/>
                </a:lnTo>
                <a:lnTo>
                  <a:pt x="75625" y="10995"/>
                </a:lnTo>
                <a:lnTo>
                  <a:pt x="37531" y="21316"/>
                </a:lnTo>
                <a:lnTo>
                  <a:pt x="0" y="35039"/>
                </a:lnTo>
                <a:lnTo>
                  <a:pt x="29727" y="42992"/>
                </a:lnTo>
                <a:lnTo>
                  <a:pt x="57138" y="57259"/>
                </a:lnTo>
                <a:lnTo>
                  <a:pt x="81076" y="77539"/>
                </a:lnTo>
                <a:lnTo>
                  <a:pt x="100380" y="103530"/>
                </a:lnTo>
                <a:lnTo>
                  <a:pt x="118572" y="124086"/>
                </a:lnTo>
                <a:lnTo>
                  <a:pt x="142349" y="135648"/>
                </a:lnTo>
                <a:lnTo>
                  <a:pt x="168729" y="137456"/>
                </a:lnTo>
                <a:lnTo>
                  <a:pt x="194690" y="128701"/>
                </a:lnTo>
                <a:lnTo>
                  <a:pt x="222237" y="98996"/>
                </a:lnTo>
                <a:lnTo>
                  <a:pt x="224650" y="93357"/>
                </a:lnTo>
                <a:lnTo>
                  <a:pt x="224802" y="93065"/>
                </a:lnTo>
                <a:lnTo>
                  <a:pt x="229019" y="73266"/>
                </a:lnTo>
                <a:lnTo>
                  <a:pt x="228993" y="64135"/>
                </a:lnTo>
                <a:lnTo>
                  <a:pt x="222872" y="40259"/>
                </a:lnTo>
                <a:lnTo>
                  <a:pt x="222249" y="38862"/>
                </a:lnTo>
                <a:lnTo>
                  <a:pt x="188629" y="6059"/>
                </a:lnTo>
                <a:lnTo>
                  <a:pt x="170617" y="756"/>
                </a:lnTo>
                <a:lnTo>
                  <a:pt x="16141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64" name="object 8"/>
          <p:cNvSpPr/>
          <p:nvPr/>
        </p:nvSpPr>
        <p:spPr>
          <a:xfrm>
            <a:off x="10064217" y="6233754"/>
            <a:ext cx="264796" cy="210884"/>
          </a:xfrm>
          <a:custGeom>
            <a:avLst/>
            <a:gdLst/>
            <a:ahLst/>
            <a:cxnLst/>
            <a:rect l="l" t="t" r="r" b="b"/>
            <a:pathLst>
              <a:path w="353059" h="312420">
                <a:moveTo>
                  <a:pt x="5710" y="0"/>
                </a:moveTo>
                <a:lnTo>
                  <a:pt x="20078" y="24561"/>
                </a:lnTo>
                <a:lnTo>
                  <a:pt x="26651" y="52043"/>
                </a:lnTo>
                <a:lnTo>
                  <a:pt x="24897" y="80522"/>
                </a:lnTo>
                <a:lnTo>
                  <a:pt x="14283" y="108077"/>
                </a:lnTo>
                <a:lnTo>
                  <a:pt x="0" y="150470"/>
                </a:lnTo>
                <a:lnTo>
                  <a:pt x="3010" y="193452"/>
                </a:lnTo>
                <a:lnTo>
                  <a:pt x="21925" y="232224"/>
                </a:lnTo>
                <a:lnTo>
                  <a:pt x="55355" y="261988"/>
                </a:lnTo>
                <a:lnTo>
                  <a:pt x="103519" y="283051"/>
                </a:lnTo>
                <a:lnTo>
                  <a:pt x="152834" y="298300"/>
                </a:lnTo>
                <a:lnTo>
                  <a:pt x="202852" y="307852"/>
                </a:lnTo>
                <a:lnTo>
                  <a:pt x="253129" y="311824"/>
                </a:lnTo>
                <a:lnTo>
                  <a:pt x="303219" y="310331"/>
                </a:lnTo>
                <a:lnTo>
                  <a:pt x="352674" y="303491"/>
                </a:lnTo>
                <a:lnTo>
                  <a:pt x="335420" y="260564"/>
                </a:lnTo>
                <a:lnTo>
                  <a:pt x="313916" y="219429"/>
                </a:lnTo>
                <a:lnTo>
                  <a:pt x="288258" y="180444"/>
                </a:lnTo>
                <a:lnTo>
                  <a:pt x="258540" y="143961"/>
                </a:lnTo>
                <a:lnTo>
                  <a:pt x="224856" y="110338"/>
                </a:lnTo>
                <a:lnTo>
                  <a:pt x="187301" y="79927"/>
                </a:lnTo>
                <a:lnTo>
                  <a:pt x="145969" y="53086"/>
                </a:lnTo>
                <a:lnTo>
                  <a:pt x="111909" y="35241"/>
                </a:lnTo>
                <a:lnTo>
                  <a:pt x="41613" y="8750"/>
                </a:lnTo>
                <a:lnTo>
                  <a:pt x="571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65" name="object 9"/>
          <p:cNvSpPr/>
          <p:nvPr/>
        </p:nvSpPr>
        <p:spPr>
          <a:xfrm>
            <a:off x="9979214" y="6227782"/>
            <a:ext cx="103347" cy="151733"/>
          </a:xfrm>
          <a:custGeom>
            <a:avLst/>
            <a:gdLst/>
            <a:ahLst/>
            <a:cxnLst/>
            <a:rect l="l" t="t" r="r" b="b"/>
            <a:pathLst>
              <a:path w="137794" h="224790">
                <a:moveTo>
                  <a:pt x="69215" y="0"/>
                </a:moveTo>
                <a:lnTo>
                  <a:pt x="65062" y="165"/>
                </a:lnTo>
                <a:lnTo>
                  <a:pt x="61658" y="444"/>
                </a:lnTo>
                <a:lnTo>
                  <a:pt x="59918" y="635"/>
                </a:lnTo>
                <a:lnTo>
                  <a:pt x="58204" y="914"/>
                </a:lnTo>
                <a:lnTo>
                  <a:pt x="57179" y="1049"/>
                </a:lnTo>
                <a:lnTo>
                  <a:pt x="45364" y="4241"/>
                </a:lnTo>
                <a:lnTo>
                  <a:pt x="44462" y="4533"/>
                </a:lnTo>
                <a:lnTo>
                  <a:pt x="42214" y="5397"/>
                </a:lnTo>
                <a:lnTo>
                  <a:pt x="40424" y="6197"/>
                </a:lnTo>
                <a:lnTo>
                  <a:pt x="38684" y="7035"/>
                </a:lnTo>
                <a:lnTo>
                  <a:pt x="37934" y="7442"/>
                </a:lnTo>
                <a:lnTo>
                  <a:pt x="36144" y="8356"/>
                </a:lnTo>
                <a:lnTo>
                  <a:pt x="26860" y="14401"/>
                </a:lnTo>
                <a:lnTo>
                  <a:pt x="25311" y="15595"/>
                </a:lnTo>
                <a:lnTo>
                  <a:pt x="24003" y="16713"/>
                </a:lnTo>
                <a:lnTo>
                  <a:pt x="21907" y="18605"/>
                </a:lnTo>
                <a:lnTo>
                  <a:pt x="19050" y="21399"/>
                </a:lnTo>
                <a:lnTo>
                  <a:pt x="17741" y="22834"/>
                </a:lnTo>
                <a:lnTo>
                  <a:pt x="17551" y="23012"/>
                </a:lnTo>
                <a:lnTo>
                  <a:pt x="17399" y="23215"/>
                </a:lnTo>
                <a:lnTo>
                  <a:pt x="16116" y="24625"/>
                </a:lnTo>
                <a:lnTo>
                  <a:pt x="14909" y="26136"/>
                </a:lnTo>
                <a:lnTo>
                  <a:pt x="13423" y="28130"/>
                </a:lnTo>
                <a:lnTo>
                  <a:pt x="13106" y="28600"/>
                </a:lnTo>
                <a:lnTo>
                  <a:pt x="12763" y="29044"/>
                </a:lnTo>
                <a:lnTo>
                  <a:pt x="11874" y="30302"/>
                </a:lnTo>
                <a:lnTo>
                  <a:pt x="11023" y="31597"/>
                </a:lnTo>
                <a:lnTo>
                  <a:pt x="9969" y="33312"/>
                </a:lnTo>
                <a:lnTo>
                  <a:pt x="9702" y="33680"/>
                </a:lnTo>
                <a:lnTo>
                  <a:pt x="5723" y="41407"/>
                </a:lnTo>
                <a:lnTo>
                  <a:pt x="2843" y="49231"/>
                </a:lnTo>
                <a:lnTo>
                  <a:pt x="912" y="57484"/>
                </a:lnTo>
                <a:lnTo>
                  <a:pt x="0" y="66103"/>
                </a:lnTo>
                <a:lnTo>
                  <a:pt x="275" y="75811"/>
                </a:lnTo>
                <a:lnTo>
                  <a:pt x="35787" y="141390"/>
                </a:lnTo>
                <a:lnTo>
                  <a:pt x="61058" y="171208"/>
                </a:lnTo>
                <a:lnTo>
                  <a:pt x="89049" y="199036"/>
                </a:lnTo>
                <a:lnTo>
                  <a:pt x="119697" y="224675"/>
                </a:lnTo>
                <a:lnTo>
                  <a:pt x="111717" y="194957"/>
                </a:lnTo>
                <a:lnTo>
                  <a:pt x="110367" y="164085"/>
                </a:lnTo>
                <a:lnTo>
                  <a:pt x="115959" y="133216"/>
                </a:lnTo>
                <a:lnTo>
                  <a:pt x="128803" y="103505"/>
                </a:lnTo>
                <a:lnTo>
                  <a:pt x="137514" y="77484"/>
                </a:lnTo>
                <a:lnTo>
                  <a:pt x="124035" y="27339"/>
                </a:lnTo>
                <a:lnTo>
                  <a:pt x="88646" y="2874"/>
                </a:lnTo>
                <a:lnTo>
                  <a:pt x="72745" y="139"/>
                </a:lnTo>
                <a:lnTo>
                  <a:pt x="6921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66" name="object 10"/>
          <p:cNvSpPr/>
          <p:nvPr/>
        </p:nvSpPr>
        <p:spPr>
          <a:xfrm>
            <a:off x="9889969" y="5853733"/>
            <a:ext cx="170021" cy="305610"/>
          </a:xfrm>
          <a:custGeom>
            <a:avLst/>
            <a:gdLst/>
            <a:ahLst/>
            <a:cxnLst/>
            <a:rect l="l" t="t" r="r" b="b"/>
            <a:pathLst>
              <a:path w="226694" h="452754">
                <a:moveTo>
                  <a:pt x="113512" y="0"/>
                </a:moveTo>
                <a:lnTo>
                  <a:pt x="84959" y="36401"/>
                </a:lnTo>
                <a:lnTo>
                  <a:pt x="60084" y="75588"/>
                </a:lnTo>
                <a:lnTo>
                  <a:pt x="39148" y="117300"/>
                </a:lnTo>
                <a:lnTo>
                  <a:pt x="22411" y="161277"/>
                </a:lnTo>
                <a:lnTo>
                  <a:pt x="10134" y="207258"/>
                </a:lnTo>
                <a:lnTo>
                  <a:pt x="2576" y="254982"/>
                </a:lnTo>
                <a:lnTo>
                  <a:pt x="0" y="304190"/>
                </a:lnTo>
                <a:lnTo>
                  <a:pt x="1568" y="342618"/>
                </a:lnTo>
                <a:lnTo>
                  <a:pt x="6205" y="380177"/>
                </a:lnTo>
                <a:lnTo>
                  <a:pt x="13778" y="416750"/>
                </a:lnTo>
                <a:lnTo>
                  <a:pt x="24155" y="452221"/>
                </a:lnTo>
                <a:lnTo>
                  <a:pt x="38243" y="427493"/>
                </a:lnTo>
                <a:lnTo>
                  <a:pt x="58754" y="408057"/>
                </a:lnTo>
                <a:lnTo>
                  <a:pt x="84293" y="395335"/>
                </a:lnTo>
                <a:lnTo>
                  <a:pt x="113461" y="390753"/>
                </a:lnTo>
                <a:lnTo>
                  <a:pt x="157314" y="381924"/>
                </a:lnTo>
                <a:lnTo>
                  <a:pt x="193030" y="357832"/>
                </a:lnTo>
                <a:lnTo>
                  <a:pt x="217149" y="322066"/>
                </a:lnTo>
                <a:lnTo>
                  <a:pt x="226212" y="278218"/>
                </a:lnTo>
                <a:lnTo>
                  <a:pt x="220376" y="225980"/>
                </a:lnTo>
                <a:lnTo>
                  <a:pt x="208929" y="175653"/>
                </a:lnTo>
                <a:lnTo>
                  <a:pt x="192193" y="127565"/>
                </a:lnTo>
                <a:lnTo>
                  <a:pt x="170496" y="82042"/>
                </a:lnTo>
                <a:lnTo>
                  <a:pt x="144160" y="39411"/>
                </a:lnTo>
                <a:lnTo>
                  <a:pt x="11351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67" name="object 11"/>
          <p:cNvSpPr/>
          <p:nvPr/>
        </p:nvSpPr>
        <p:spPr>
          <a:xfrm>
            <a:off x="9921783" y="6100116"/>
            <a:ext cx="134302" cy="129016"/>
          </a:xfrm>
          <a:custGeom>
            <a:avLst/>
            <a:gdLst/>
            <a:ahLst/>
            <a:cxnLst/>
            <a:rect l="l" t="t" r="r" b="b"/>
            <a:pathLst>
              <a:path w="179069" h="191134">
                <a:moveTo>
                  <a:pt x="178473" y="0"/>
                </a:moveTo>
                <a:lnTo>
                  <a:pt x="156718" y="21756"/>
                </a:lnTo>
                <a:lnTo>
                  <a:pt x="130652" y="38355"/>
                </a:lnTo>
                <a:lnTo>
                  <a:pt x="101122" y="48947"/>
                </a:lnTo>
                <a:lnTo>
                  <a:pt x="68973" y="52679"/>
                </a:lnTo>
                <a:lnTo>
                  <a:pt x="42071" y="58146"/>
                </a:lnTo>
                <a:lnTo>
                  <a:pt x="20162" y="72958"/>
                </a:lnTo>
                <a:lnTo>
                  <a:pt x="5400" y="94899"/>
                </a:lnTo>
                <a:lnTo>
                  <a:pt x="0" y="121754"/>
                </a:lnTo>
                <a:lnTo>
                  <a:pt x="484" y="129839"/>
                </a:lnTo>
                <a:lnTo>
                  <a:pt x="15633" y="165392"/>
                </a:lnTo>
                <a:lnTo>
                  <a:pt x="15798" y="165671"/>
                </a:lnTo>
                <a:lnTo>
                  <a:pt x="16014" y="165887"/>
                </a:lnTo>
                <a:lnTo>
                  <a:pt x="17310" y="167449"/>
                </a:lnTo>
                <a:lnTo>
                  <a:pt x="18656" y="168910"/>
                </a:lnTo>
                <a:lnTo>
                  <a:pt x="20408" y="170700"/>
                </a:lnTo>
                <a:lnTo>
                  <a:pt x="20789" y="171018"/>
                </a:lnTo>
                <a:lnTo>
                  <a:pt x="21145" y="171399"/>
                </a:lnTo>
                <a:lnTo>
                  <a:pt x="22313" y="172516"/>
                </a:lnTo>
                <a:lnTo>
                  <a:pt x="23507" y="173583"/>
                </a:lnTo>
                <a:lnTo>
                  <a:pt x="25082" y="174891"/>
                </a:lnTo>
                <a:lnTo>
                  <a:pt x="25425" y="175209"/>
                </a:lnTo>
                <a:lnTo>
                  <a:pt x="25806" y="175488"/>
                </a:lnTo>
                <a:lnTo>
                  <a:pt x="27317" y="176733"/>
                </a:lnTo>
                <a:lnTo>
                  <a:pt x="28879" y="177863"/>
                </a:lnTo>
                <a:lnTo>
                  <a:pt x="30848" y="179209"/>
                </a:lnTo>
                <a:lnTo>
                  <a:pt x="31584" y="179654"/>
                </a:lnTo>
                <a:lnTo>
                  <a:pt x="32918" y="180517"/>
                </a:lnTo>
                <a:lnTo>
                  <a:pt x="68503" y="190741"/>
                </a:lnTo>
                <a:lnTo>
                  <a:pt x="76735" y="190324"/>
                </a:lnTo>
                <a:lnTo>
                  <a:pt x="116552" y="171769"/>
                </a:lnTo>
                <a:lnTo>
                  <a:pt x="148292" y="114303"/>
                </a:lnTo>
                <a:lnTo>
                  <a:pt x="161478" y="77511"/>
                </a:lnTo>
                <a:lnTo>
                  <a:pt x="171586" y="39361"/>
                </a:lnTo>
                <a:lnTo>
                  <a:pt x="17847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15"/>
          </a:p>
        </p:txBody>
      </p:sp>
      <p:sp>
        <p:nvSpPr>
          <p:cNvPr id="68" name="object 18"/>
          <p:cNvSpPr/>
          <p:nvPr/>
        </p:nvSpPr>
        <p:spPr>
          <a:xfrm>
            <a:off x="6123097" y="1534478"/>
            <a:ext cx="4997767" cy="662654"/>
          </a:xfrm>
          <a:custGeom>
            <a:avLst/>
            <a:gdLst/>
            <a:ahLst/>
            <a:cxnLst/>
            <a:rect l="l" t="t" r="r" b="b"/>
            <a:pathLst>
              <a:path w="6663690" h="981710">
                <a:moveTo>
                  <a:pt x="6663550" y="0"/>
                </a:moveTo>
                <a:lnTo>
                  <a:pt x="4136250" y="0"/>
                </a:lnTo>
                <a:lnTo>
                  <a:pt x="0" y="981583"/>
                </a:lnTo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215"/>
          </a:p>
        </p:txBody>
      </p:sp>
    </p:spTree>
    <p:extLst>
      <p:ext uri="{BB962C8B-B14F-4D97-AF65-F5344CB8AC3E}">
        <p14:creationId xmlns:p14="http://schemas.microsoft.com/office/powerpoint/2010/main" val="2693800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3"/>
          <p:cNvGrpSpPr/>
          <p:nvPr/>
        </p:nvGrpSpPr>
        <p:grpSpPr>
          <a:xfrm>
            <a:off x="0" y="0"/>
            <a:ext cx="12191999" cy="6858000"/>
            <a:chOff x="0" y="0"/>
            <a:chExt cx="9144000" cy="6858000"/>
          </a:xfrm>
        </p:grpSpPr>
        <p:pic>
          <p:nvPicPr>
            <p:cNvPr id="26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81875"/>
            <a:stretch/>
          </p:blipFill>
          <p:spPr bwMode="auto">
            <a:xfrm>
              <a:off x="0" y="0"/>
              <a:ext cx="2552700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6771" r="11146"/>
            <a:stretch/>
          </p:blipFill>
          <p:spPr bwMode="auto">
            <a:xfrm>
              <a:off x="2552700" y="0"/>
              <a:ext cx="6591300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Picture 2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7030" t="8356" r="16832" b="73512"/>
            <a:stretch/>
          </p:blipFill>
          <p:spPr bwMode="auto">
            <a:xfrm>
              <a:off x="4383903" y="596482"/>
              <a:ext cx="4264798" cy="12569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18315" y="1682751"/>
            <a:ext cx="5619299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91927" y="2219325"/>
            <a:ext cx="6206420" cy="671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272880" y="2740602"/>
            <a:ext cx="6059082" cy="688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24382" y="3258487"/>
            <a:ext cx="5842799" cy="685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445481" y="3794746"/>
            <a:ext cx="5752399" cy="652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68604" y="4314826"/>
            <a:ext cx="5091557" cy="6864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 descr="C:\Users\amarat\Desktop\E11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4136" y="1047019"/>
            <a:ext cx="1105602" cy="5944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chemeClr val="bg1">
                <a:alpha val="65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 descr="C:\Users\amarat\Desktop\e222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6386" y="1655305"/>
            <a:ext cx="981099" cy="6103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chemeClr val="bg1">
                <a:alpha val="65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5" name="Picture 7" descr="C:\Users\amarat\Desktop\CCADs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1445" y="2115746"/>
            <a:ext cx="750978" cy="7862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chemeClr val="bg1">
                <a:alpha val="65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C:\Users\amarat\Desktop\dasdqw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7893" y="2702800"/>
            <a:ext cx="1298081" cy="5272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chemeClr val="bg1">
                <a:alpha val="65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7" name="Picture 9" descr="C:\Users\amarat\Desktop\qwdqqqa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1445" y="3258487"/>
            <a:ext cx="928288" cy="8278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chemeClr val="bg1">
                <a:alpha val="65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C:\Users\amarat\Desktop\dasdqwq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61646" y="3868667"/>
            <a:ext cx="552797" cy="7219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chemeClr val="bg1">
                <a:alpha val="65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Users\amarat\Desktop\fids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6481" y="4229625"/>
            <a:ext cx="1063127" cy="7434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chemeClr val="bg1">
                <a:alpha val="65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12"/>
          <p:cNvSpPr txBox="1">
            <a:spLocks noChangeArrowheads="1"/>
          </p:cNvSpPr>
          <p:nvPr/>
        </p:nvSpPr>
        <p:spPr bwMode="auto">
          <a:xfrm>
            <a:off x="2136126" y="2308810"/>
            <a:ext cx="4547976" cy="456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1897" tIns="50948" rIns="101897" bIns="5094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148" b="1" dirty="0" smtClean="0">
                <a:solidFill>
                  <a:schemeClr val="bg1"/>
                </a:solidFill>
                <a:latin typeface="Neo Sans Pro" pitchFamily="34" charset="-52"/>
              </a:rPr>
              <a:t>ЭНЕРГИЯ СОЛНЦА</a:t>
            </a:r>
            <a:endParaRPr lang="en-US" altLang="ru-RU" sz="1148" b="1" dirty="0">
              <a:solidFill>
                <a:schemeClr val="bg1"/>
              </a:solidFill>
              <a:latin typeface="Neo Sans Pro" pitchFamily="34" charset="-52"/>
            </a:endParaRPr>
          </a:p>
          <a:p>
            <a:pPr eaLnBrk="1" hangingPunct="1"/>
            <a:r>
              <a:rPr lang="en-US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6</a:t>
            </a:r>
            <a:r>
              <a:rPr lang="ru-RU" altLang="ru-RU" sz="1148" dirty="0">
                <a:solidFill>
                  <a:srgbClr val="FF0000"/>
                </a:solidFill>
                <a:latin typeface="Neo Sans Pro" pitchFamily="34" charset="-52"/>
              </a:rPr>
              <a:t> </a:t>
            </a:r>
            <a:r>
              <a:rPr lang="ru-RU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ЭТАЖ</a:t>
            </a:r>
            <a:r>
              <a:rPr lang="en-US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: </a:t>
            </a:r>
            <a:r>
              <a:rPr lang="ru-RU" altLang="ru-RU" sz="1148" dirty="0" smtClean="0">
                <a:solidFill>
                  <a:schemeClr val="bg1"/>
                </a:solidFill>
                <a:latin typeface="Neo Sans Pro" pitchFamily="34" charset="-52"/>
              </a:rPr>
              <a:t>ИСТОЧНИК ЭНЕРГИИ БУДУЩЕГО</a:t>
            </a:r>
            <a:endParaRPr lang="ru-RU" altLang="ru-RU" sz="1148" dirty="0">
              <a:solidFill>
                <a:schemeClr val="bg1"/>
              </a:solidFill>
              <a:latin typeface="Neo Sans Pro" pitchFamily="34" charset="-52"/>
            </a:endParaRPr>
          </a:p>
        </p:txBody>
      </p:sp>
      <p:sp>
        <p:nvSpPr>
          <p:cNvPr id="28" name="TextBox 12"/>
          <p:cNvSpPr txBox="1">
            <a:spLocks noChangeArrowheads="1"/>
          </p:cNvSpPr>
          <p:nvPr/>
        </p:nvSpPr>
        <p:spPr bwMode="auto">
          <a:xfrm>
            <a:off x="2136126" y="1300698"/>
            <a:ext cx="4547976" cy="456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1897" tIns="50948" rIns="101897" bIns="5094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148" b="1" dirty="0" smtClean="0">
                <a:solidFill>
                  <a:schemeClr val="bg1"/>
                </a:solidFill>
                <a:latin typeface="Neo Sans Pro" pitchFamily="34" charset="-52"/>
              </a:rPr>
              <a:t>БУДУЩЕЕ</a:t>
            </a:r>
            <a:endParaRPr lang="en-US" altLang="ru-RU" sz="1148" b="1" dirty="0">
              <a:solidFill>
                <a:schemeClr val="bg1"/>
              </a:solidFill>
              <a:latin typeface="Neo Sans Pro" pitchFamily="34" charset="-52"/>
            </a:endParaRPr>
          </a:p>
          <a:p>
            <a:pPr eaLnBrk="1" hangingPunct="1"/>
            <a:r>
              <a:rPr lang="en-US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8</a:t>
            </a:r>
            <a:r>
              <a:rPr lang="ru-RU" altLang="ru-RU" sz="1148" dirty="0">
                <a:solidFill>
                  <a:srgbClr val="FF0000"/>
                </a:solidFill>
                <a:latin typeface="Neo Sans Pro" pitchFamily="34" charset="-52"/>
              </a:rPr>
              <a:t> </a:t>
            </a:r>
            <a:r>
              <a:rPr lang="ru-RU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ЭТАЖ</a:t>
            </a:r>
            <a:r>
              <a:rPr lang="en-US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: </a:t>
            </a:r>
            <a:r>
              <a:rPr lang="ru-RU" altLang="ru-RU" sz="1148" dirty="0" smtClean="0">
                <a:solidFill>
                  <a:schemeClr val="bg1"/>
                </a:solidFill>
                <a:latin typeface="Neo Sans Pro" pitchFamily="34" charset="-52"/>
              </a:rPr>
              <a:t>НАДЕЖДА НА БУДУЩЕЕ</a:t>
            </a:r>
            <a:endParaRPr lang="ru-RU" altLang="ru-RU" sz="1148" dirty="0">
              <a:solidFill>
                <a:schemeClr val="bg1"/>
              </a:solidFill>
              <a:latin typeface="Neo Sans Pro" pitchFamily="34" charset="-52"/>
            </a:endParaRPr>
          </a:p>
        </p:txBody>
      </p:sp>
      <p:sp>
        <p:nvSpPr>
          <p:cNvPr id="29" name="TextBox 28"/>
          <p:cNvSpPr txBox="1">
            <a:spLocks noChangeArrowheads="1"/>
          </p:cNvSpPr>
          <p:nvPr/>
        </p:nvSpPr>
        <p:spPr bwMode="auto">
          <a:xfrm>
            <a:off x="2136126" y="1804754"/>
            <a:ext cx="4547976" cy="464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1897" tIns="50948" rIns="101897" bIns="5094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148" b="1" dirty="0" smtClean="0">
                <a:solidFill>
                  <a:schemeClr val="bg1"/>
                </a:solidFill>
                <a:latin typeface="Neo Sans Pro" pitchFamily="34" charset="-52"/>
              </a:rPr>
              <a:t>ПЛАЗМА</a:t>
            </a:r>
            <a:endParaRPr lang="en-US" altLang="ru-RU" sz="1148" b="1" dirty="0">
              <a:solidFill>
                <a:schemeClr val="bg1"/>
              </a:solidFill>
              <a:latin typeface="Neo Sans Pro" pitchFamily="34" charset="-52"/>
            </a:endParaRPr>
          </a:p>
          <a:p>
            <a:pPr eaLnBrk="1" hangingPunct="1"/>
            <a:r>
              <a:rPr lang="en-US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7</a:t>
            </a:r>
            <a:r>
              <a:rPr lang="ru-RU" altLang="ru-RU" sz="1148" dirty="0">
                <a:solidFill>
                  <a:srgbClr val="FF0000"/>
                </a:solidFill>
                <a:latin typeface="Neo Sans Pro" pitchFamily="34" charset="-52"/>
              </a:rPr>
              <a:t> </a:t>
            </a:r>
            <a:r>
              <a:rPr lang="ru-RU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ЭТАЖ</a:t>
            </a:r>
            <a:r>
              <a:rPr lang="en-US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: </a:t>
            </a:r>
            <a:r>
              <a:rPr lang="ru-RU" sz="1148" dirty="0" smtClean="0">
                <a:solidFill>
                  <a:schemeClr val="bg1"/>
                </a:solidFill>
                <a:latin typeface="Neo Sans Pro" pitchFamily="34" charset="-52"/>
              </a:rPr>
              <a:t>БЕЗГРАНИЧНАЯ ЧИСТАЯ ЭНЕРГИЯ</a:t>
            </a:r>
            <a:endParaRPr lang="ru-RU" altLang="ru-RU" sz="1148" dirty="0">
              <a:solidFill>
                <a:schemeClr val="bg1"/>
              </a:solidFill>
              <a:latin typeface="Neo Sans Pro" pitchFamily="34" charset="-52"/>
            </a:endParaRPr>
          </a:p>
        </p:txBody>
      </p:sp>
      <p:sp>
        <p:nvSpPr>
          <p:cNvPr id="30" name="TextBox 12"/>
          <p:cNvSpPr txBox="1">
            <a:spLocks noChangeArrowheads="1"/>
          </p:cNvSpPr>
          <p:nvPr/>
        </p:nvSpPr>
        <p:spPr bwMode="auto">
          <a:xfrm>
            <a:off x="2136126" y="2852936"/>
            <a:ext cx="4547976" cy="456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1897" tIns="50948" rIns="101897" bIns="5094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148" b="1" dirty="0" smtClean="0">
                <a:solidFill>
                  <a:schemeClr val="bg1"/>
                </a:solidFill>
                <a:latin typeface="Neo Sans Pro" pitchFamily="34" charset="-52"/>
              </a:rPr>
              <a:t>ЭНЕРГИЯ ВЕТРА</a:t>
            </a:r>
            <a:endParaRPr lang="en-US" altLang="ru-RU" sz="1148" b="1" dirty="0">
              <a:solidFill>
                <a:schemeClr val="bg1"/>
              </a:solidFill>
              <a:latin typeface="Neo Sans Pro" pitchFamily="34" charset="-52"/>
            </a:endParaRPr>
          </a:p>
          <a:p>
            <a:pPr eaLnBrk="1" hangingPunct="1"/>
            <a:r>
              <a:rPr lang="en-US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5</a:t>
            </a:r>
            <a:r>
              <a:rPr lang="ru-RU" altLang="ru-RU" sz="1148" dirty="0">
                <a:solidFill>
                  <a:srgbClr val="FF0000"/>
                </a:solidFill>
                <a:latin typeface="Neo Sans Pro" pitchFamily="34" charset="-52"/>
              </a:rPr>
              <a:t> </a:t>
            </a:r>
            <a:r>
              <a:rPr lang="ru-RU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ЭТАЖ</a:t>
            </a:r>
            <a:r>
              <a:rPr lang="en-US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: </a:t>
            </a:r>
            <a:r>
              <a:rPr lang="ru-RU" altLang="ru-RU" sz="1148" dirty="0" smtClean="0">
                <a:solidFill>
                  <a:schemeClr val="bg1"/>
                </a:solidFill>
                <a:latin typeface="Neo Sans Pro" pitchFamily="34" charset="-52"/>
              </a:rPr>
              <a:t>ВЕТЕР ПЕРЕМЕН</a:t>
            </a:r>
            <a:endParaRPr lang="ru-RU" altLang="ru-RU" sz="1148" dirty="0">
              <a:solidFill>
                <a:schemeClr val="bg1"/>
              </a:solidFill>
              <a:latin typeface="Neo Sans Pro" pitchFamily="34" charset="-52"/>
            </a:endParaRPr>
          </a:p>
        </p:txBody>
      </p:sp>
      <p:sp>
        <p:nvSpPr>
          <p:cNvPr id="31" name="TextBox 12"/>
          <p:cNvSpPr txBox="1">
            <a:spLocks noChangeArrowheads="1"/>
          </p:cNvSpPr>
          <p:nvPr/>
        </p:nvSpPr>
        <p:spPr bwMode="auto">
          <a:xfrm>
            <a:off x="2136126" y="3388930"/>
            <a:ext cx="4547976" cy="456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1897" tIns="50948" rIns="101897" bIns="5094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148" b="1" dirty="0" smtClean="0">
                <a:solidFill>
                  <a:schemeClr val="bg1"/>
                </a:solidFill>
                <a:latin typeface="Neo Sans Pro" pitchFamily="34" charset="-52"/>
              </a:rPr>
              <a:t>ЭНЕРГИЯ ЗЕМЛИ</a:t>
            </a:r>
            <a:endParaRPr lang="en-US" altLang="ru-RU" sz="1148" b="1" dirty="0">
              <a:solidFill>
                <a:schemeClr val="bg1"/>
              </a:solidFill>
              <a:latin typeface="Neo Sans Pro" pitchFamily="34" charset="-52"/>
            </a:endParaRPr>
          </a:p>
          <a:p>
            <a:pPr eaLnBrk="1" hangingPunct="1"/>
            <a:r>
              <a:rPr lang="en-US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4</a:t>
            </a:r>
            <a:r>
              <a:rPr lang="ru-RU" altLang="ru-RU" sz="1148" dirty="0">
                <a:solidFill>
                  <a:srgbClr val="FF0000"/>
                </a:solidFill>
                <a:latin typeface="Neo Sans Pro" pitchFamily="34" charset="-52"/>
              </a:rPr>
              <a:t> </a:t>
            </a:r>
            <a:r>
              <a:rPr lang="ru-RU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ЭТАЖ</a:t>
            </a:r>
            <a:r>
              <a:rPr lang="en-US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: </a:t>
            </a:r>
            <a:r>
              <a:rPr lang="ru-RU" altLang="ru-RU" sz="1148" dirty="0" smtClean="0">
                <a:solidFill>
                  <a:schemeClr val="bg1"/>
                </a:solidFill>
                <a:latin typeface="Neo Sans Pro" pitchFamily="34" charset="-52"/>
              </a:rPr>
              <a:t>БИОМАССА ПЛАНЕТЫ </a:t>
            </a:r>
            <a:endParaRPr lang="ru-RU" altLang="ru-RU" sz="1148" dirty="0">
              <a:solidFill>
                <a:schemeClr val="bg1"/>
              </a:solidFill>
              <a:latin typeface="Neo Sans Pro" pitchFamily="34" charset="-52"/>
            </a:endParaRPr>
          </a:p>
        </p:txBody>
      </p:sp>
      <p:sp>
        <p:nvSpPr>
          <p:cNvPr id="32" name="TextBox 12"/>
          <p:cNvSpPr txBox="1">
            <a:spLocks noChangeArrowheads="1"/>
          </p:cNvSpPr>
          <p:nvPr/>
        </p:nvSpPr>
        <p:spPr bwMode="auto">
          <a:xfrm>
            <a:off x="2136126" y="3892986"/>
            <a:ext cx="4547976" cy="464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1897" tIns="50948" rIns="101897" bIns="5094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148" b="1" dirty="0" smtClean="0">
                <a:solidFill>
                  <a:schemeClr val="bg1"/>
                </a:solidFill>
                <a:latin typeface="Neo Sans Pro" pitchFamily="34" charset="-52"/>
              </a:rPr>
              <a:t>КИНЕТИЧЕСКАЯ ЭНЕРГИЯ</a:t>
            </a:r>
            <a:endParaRPr lang="en-US" altLang="ru-RU" sz="1148" b="1" dirty="0">
              <a:solidFill>
                <a:schemeClr val="bg1"/>
              </a:solidFill>
              <a:latin typeface="Neo Sans Pro" pitchFamily="34" charset="-52"/>
            </a:endParaRPr>
          </a:p>
          <a:p>
            <a:pPr eaLnBrk="1" hangingPunct="1"/>
            <a:r>
              <a:rPr lang="en-US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3</a:t>
            </a:r>
            <a:r>
              <a:rPr lang="ru-RU" altLang="ru-RU" sz="1148" dirty="0">
                <a:solidFill>
                  <a:srgbClr val="FF0000"/>
                </a:solidFill>
                <a:latin typeface="Neo Sans Pro" pitchFamily="34" charset="-52"/>
              </a:rPr>
              <a:t> </a:t>
            </a:r>
            <a:r>
              <a:rPr lang="ru-RU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ЭТАЖ</a:t>
            </a:r>
            <a:r>
              <a:rPr lang="en-US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: </a:t>
            </a:r>
            <a:r>
              <a:rPr lang="ru-RU" sz="1148" dirty="0" smtClean="0">
                <a:solidFill>
                  <a:schemeClr val="bg1"/>
                </a:solidFill>
                <a:latin typeface="Neo Sans Pro" pitchFamily="34" charset="-52"/>
              </a:rPr>
              <a:t>КИНЕТИЧЕСКАЯ ЭНЕРГИЯ ПЛАНЕТЫ</a:t>
            </a:r>
            <a:endParaRPr lang="ru-RU" altLang="ru-RU" sz="1148" dirty="0">
              <a:solidFill>
                <a:schemeClr val="bg1"/>
              </a:solidFill>
              <a:latin typeface="Neo Sans Pro" pitchFamily="34" charset="-52"/>
            </a:endParaRPr>
          </a:p>
        </p:txBody>
      </p:sp>
      <p:sp>
        <p:nvSpPr>
          <p:cNvPr id="33" name="TextBox 12"/>
          <p:cNvSpPr txBox="1">
            <a:spLocks noChangeArrowheads="1"/>
          </p:cNvSpPr>
          <p:nvPr/>
        </p:nvSpPr>
        <p:spPr bwMode="auto">
          <a:xfrm>
            <a:off x="2136126" y="4397042"/>
            <a:ext cx="4547976" cy="456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1897" tIns="50948" rIns="101897" bIns="5094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148" b="1" dirty="0" smtClean="0">
                <a:solidFill>
                  <a:schemeClr val="bg1"/>
                </a:solidFill>
                <a:latin typeface="Neo Sans Pro" pitchFamily="34" charset="-52"/>
              </a:rPr>
              <a:t>ЭНЕРГИЯ ВОДЫ</a:t>
            </a:r>
            <a:endParaRPr lang="en-US" altLang="ru-RU" sz="1148" b="1" dirty="0">
              <a:solidFill>
                <a:schemeClr val="bg1"/>
              </a:solidFill>
              <a:latin typeface="Neo Sans Pro" pitchFamily="34" charset="-52"/>
            </a:endParaRPr>
          </a:p>
          <a:p>
            <a:pPr eaLnBrk="1" hangingPunct="1"/>
            <a:r>
              <a:rPr lang="en-US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2</a:t>
            </a:r>
            <a:r>
              <a:rPr lang="ru-RU" altLang="ru-RU" sz="1148" dirty="0">
                <a:solidFill>
                  <a:srgbClr val="FF0000"/>
                </a:solidFill>
                <a:latin typeface="Neo Sans Pro" pitchFamily="34" charset="-52"/>
              </a:rPr>
              <a:t> </a:t>
            </a:r>
            <a:r>
              <a:rPr lang="ru-RU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ЭТАЖ</a:t>
            </a:r>
            <a:r>
              <a:rPr lang="en-US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: </a:t>
            </a:r>
            <a:r>
              <a:rPr lang="ru-RU" altLang="ru-RU" sz="1148" dirty="0" smtClean="0">
                <a:solidFill>
                  <a:schemeClr val="bg1"/>
                </a:solidFill>
                <a:latin typeface="Neo Sans Pro" pitchFamily="34" charset="-52"/>
              </a:rPr>
              <a:t>ГЛУБОКОВОДЬЕ И ВОЛНЫ</a:t>
            </a:r>
            <a:endParaRPr lang="ru-RU" altLang="ru-RU" sz="1148" dirty="0">
              <a:solidFill>
                <a:schemeClr val="bg1"/>
              </a:solidFill>
              <a:latin typeface="Neo Sans Pro" pitchFamily="34" charset="-52"/>
            </a:endParaRPr>
          </a:p>
        </p:txBody>
      </p:sp>
      <p:sp>
        <p:nvSpPr>
          <p:cNvPr id="34" name="TextBox 12"/>
          <p:cNvSpPr txBox="1">
            <a:spLocks noChangeArrowheads="1"/>
          </p:cNvSpPr>
          <p:nvPr/>
        </p:nvSpPr>
        <p:spPr bwMode="auto">
          <a:xfrm>
            <a:off x="2169608" y="5049988"/>
            <a:ext cx="4547976" cy="456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1897" tIns="50948" rIns="101897" bIns="5094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148" b="1" dirty="0" smtClean="0">
                <a:solidFill>
                  <a:schemeClr val="bg1"/>
                </a:solidFill>
                <a:latin typeface="Neo Sans Pro" pitchFamily="34" charset="-52"/>
              </a:rPr>
              <a:t>ПАВИЛЬОН КАЗАХСТАНА</a:t>
            </a:r>
            <a:endParaRPr lang="en-US" altLang="ru-RU" sz="1148" b="1" dirty="0" smtClean="0">
              <a:solidFill>
                <a:schemeClr val="bg1"/>
              </a:solidFill>
              <a:latin typeface="Neo Sans Pro" pitchFamily="34" charset="-52"/>
            </a:endParaRPr>
          </a:p>
          <a:p>
            <a:pPr eaLnBrk="1" hangingPunct="1"/>
            <a:r>
              <a:rPr lang="en-US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1</a:t>
            </a:r>
            <a:r>
              <a:rPr lang="ru-RU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 ЭТАЖ</a:t>
            </a:r>
            <a:r>
              <a:rPr lang="en-US" altLang="ru-RU" sz="1148" dirty="0" smtClean="0">
                <a:solidFill>
                  <a:srgbClr val="FF0000"/>
                </a:solidFill>
                <a:latin typeface="Neo Sans Pro" pitchFamily="34" charset="-52"/>
              </a:rPr>
              <a:t>: </a:t>
            </a:r>
            <a:r>
              <a:rPr lang="ru-RU" altLang="ru-RU" sz="1148" dirty="0" smtClean="0">
                <a:solidFill>
                  <a:schemeClr val="bg1"/>
                </a:solidFill>
                <a:latin typeface="Neo Sans Pro" pitchFamily="34" charset="-52"/>
              </a:rPr>
              <a:t>СТРАНА ВЕЛИКОЙ СТЕПИ</a:t>
            </a:r>
            <a:endParaRPr lang="ru-RU" altLang="ru-RU" sz="1148" dirty="0">
              <a:solidFill>
                <a:schemeClr val="bg1"/>
              </a:solidFill>
              <a:latin typeface="Neo Sans Pro" pitchFamily="34" charset="-52"/>
            </a:endParaRPr>
          </a:p>
        </p:txBody>
      </p:sp>
      <p:pic>
        <p:nvPicPr>
          <p:cNvPr id="37" name="Picture 3"/>
          <p:cNvPicPr>
            <a:picLocks noChangeAspect="1" noChangeArrowheads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940083" y="545820"/>
            <a:ext cx="5012041" cy="1282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6" descr="C:\Users\amarat\Desktop\сфысфыффф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5634" y="191947"/>
            <a:ext cx="617679" cy="829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5" descr="C:\Users\amarat\Desktop\сыфысыыыыыы.png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608529" y="225425"/>
            <a:ext cx="4450355" cy="5397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12"/>
          <p:cNvSpPr txBox="1">
            <a:spLocks noChangeArrowheads="1"/>
          </p:cNvSpPr>
          <p:nvPr/>
        </p:nvSpPr>
        <p:spPr bwMode="auto">
          <a:xfrm>
            <a:off x="780013" y="355601"/>
            <a:ext cx="3341835" cy="310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1897" tIns="50948" rIns="101897" bIns="5094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350" b="1" dirty="0" smtClean="0">
                <a:solidFill>
                  <a:schemeClr val="bg1"/>
                </a:solidFill>
                <a:latin typeface="Neo Sans Pro" pitchFamily="34" charset="-52"/>
              </a:rPr>
              <a:t>Комплекс Сфера – Музей Будущего </a:t>
            </a:r>
            <a:endParaRPr lang="ru-RU" altLang="ru-RU" sz="1350" b="1" dirty="0">
              <a:solidFill>
                <a:schemeClr val="bg1"/>
              </a:solidFill>
              <a:latin typeface="Neo Sans Pro" pitchFamily="34" charset="-52"/>
            </a:endParaRPr>
          </a:p>
        </p:txBody>
      </p:sp>
      <p:pic>
        <p:nvPicPr>
          <p:cNvPr id="44" name="Picture 2" descr="C:\Users\amarat\Desktop\acsasq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965" y="5049988"/>
            <a:ext cx="1260484" cy="8349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chemeClr val="bg1">
                <a:alpha val="65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BIE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3617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0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0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0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56" t="16225" r="14748" b="4489"/>
          <a:stretch>
            <a:fillRect/>
          </a:stretch>
        </p:blipFill>
        <p:spPr bwMode="auto">
          <a:xfrm>
            <a:off x="0" y="-5816"/>
            <a:ext cx="12192000" cy="6863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amarat\Desktop\сыфысыыыыыы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9247" y="396530"/>
            <a:ext cx="4701711" cy="5397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12"/>
          <p:cNvSpPr txBox="1">
            <a:spLocks noChangeArrowheads="1"/>
          </p:cNvSpPr>
          <p:nvPr/>
        </p:nvSpPr>
        <p:spPr bwMode="auto">
          <a:xfrm>
            <a:off x="1675841" y="539922"/>
            <a:ext cx="207402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200" b="1" dirty="0">
                <a:solidFill>
                  <a:schemeClr val="bg1"/>
                </a:solidFill>
                <a:latin typeface="Neo Sans Pro" pitchFamily="34" charset="-52"/>
              </a:rPr>
              <a:t>ЗОНА ЛУЧШИХ ПРАКТИК</a:t>
            </a:r>
          </a:p>
        </p:txBody>
      </p:sp>
      <p:pic>
        <p:nvPicPr>
          <p:cNvPr id="9" name="Picture 2" descr="BI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C:\Users\amarat\Desktop\сфысфыффф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5634" y="191947"/>
            <a:ext cx="617679" cy="829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66408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" name="Picture 5" descr="C:\Users\amarat\Desktop\сыфысыыыыыы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277687"/>
            <a:ext cx="4426527" cy="6946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object 2"/>
          <p:cNvSpPr txBox="1">
            <a:spLocks/>
          </p:cNvSpPr>
          <p:nvPr/>
        </p:nvSpPr>
        <p:spPr>
          <a:xfrm>
            <a:off x="237870" y="449871"/>
            <a:ext cx="3952293" cy="307777"/>
          </a:xfrm>
          <a:prstGeom prst="rect">
            <a:avLst/>
          </a:prstGeom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  <a:ea typeface="MS PGothic" panose="020B0600070205080204" pitchFamily="34" charset="-128"/>
              </a:defRPr>
            </a:lvl9pPr>
          </a:lstStyle>
          <a:p>
            <a:pPr marL="12700">
              <a:lnSpc>
                <a:spcPct val="100000"/>
              </a:lnSpc>
            </a:pPr>
            <a:r>
              <a:rPr lang="ru-RU" sz="2000" spc="-5" dirty="0" smtClean="0">
                <a:solidFill>
                  <a:schemeClr val="bg1"/>
                </a:solidFill>
              </a:rPr>
              <a:t>Культурная программа</a:t>
            </a:r>
            <a:endParaRPr lang="en-US" sz="2000" spc="-5" dirty="0">
              <a:solidFill>
                <a:schemeClr val="bg1"/>
              </a:solidFill>
            </a:endParaRPr>
          </a:p>
        </p:txBody>
      </p:sp>
      <p:pic>
        <p:nvPicPr>
          <p:cNvPr id="124" name="Picture 3" descr="C:\Users\amarat\Desktop\bie\фвы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4195" y="3181511"/>
            <a:ext cx="2843808" cy="291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5" name="Группа 124"/>
          <p:cNvGrpSpPr/>
          <p:nvPr/>
        </p:nvGrpSpPr>
        <p:grpSpPr>
          <a:xfrm>
            <a:off x="7030210" y="3758570"/>
            <a:ext cx="781404" cy="788147"/>
            <a:chOff x="3462326" y="3474644"/>
            <a:chExt cx="819522" cy="740023"/>
          </a:xfrm>
        </p:grpSpPr>
        <p:sp>
          <p:nvSpPr>
            <p:cNvPr id="126" name="Полилиния 125"/>
            <p:cNvSpPr/>
            <p:nvPr/>
          </p:nvSpPr>
          <p:spPr>
            <a:xfrm rot="179345">
              <a:off x="3852048" y="3769649"/>
              <a:ext cx="429800" cy="445018"/>
            </a:xfrm>
            <a:custGeom>
              <a:avLst/>
              <a:gdLst>
                <a:gd name="connsiteX0" fmla="*/ 0 w 335756"/>
                <a:gd name="connsiteY0" fmla="*/ 326231 h 359568"/>
                <a:gd name="connsiteX1" fmla="*/ 61912 w 335756"/>
                <a:gd name="connsiteY1" fmla="*/ 345281 h 359568"/>
                <a:gd name="connsiteX2" fmla="*/ 135731 w 335756"/>
                <a:gd name="connsiteY2" fmla="*/ 354806 h 359568"/>
                <a:gd name="connsiteX3" fmla="*/ 190500 w 335756"/>
                <a:gd name="connsiteY3" fmla="*/ 359568 h 359568"/>
                <a:gd name="connsiteX4" fmla="*/ 259556 w 335756"/>
                <a:gd name="connsiteY4" fmla="*/ 345281 h 359568"/>
                <a:gd name="connsiteX5" fmla="*/ 321469 w 335756"/>
                <a:gd name="connsiteY5" fmla="*/ 319087 h 359568"/>
                <a:gd name="connsiteX6" fmla="*/ 335756 w 335756"/>
                <a:gd name="connsiteY6" fmla="*/ 257175 h 359568"/>
                <a:gd name="connsiteX7" fmla="*/ 316706 w 335756"/>
                <a:gd name="connsiteY7" fmla="*/ 195262 h 359568"/>
                <a:gd name="connsiteX8" fmla="*/ 288131 w 335756"/>
                <a:gd name="connsiteY8" fmla="*/ 114300 h 359568"/>
                <a:gd name="connsiteX9" fmla="*/ 257175 w 335756"/>
                <a:gd name="connsiteY9" fmla="*/ 50006 h 359568"/>
                <a:gd name="connsiteX10" fmla="*/ 202406 w 335756"/>
                <a:gd name="connsiteY10" fmla="*/ 0 h 359568"/>
                <a:gd name="connsiteX11" fmla="*/ 157162 w 335756"/>
                <a:gd name="connsiteY11" fmla="*/ 66675 h 359568"/>
                <a:gd name="connsiteX12" fmla="*/ 169069 w 335756"/>
                <a:gd name="connsiteY12" fmla="*/ 97631 h 359568"/>
                <a:gd name="connsiteX13" fmla="*/ 166687 w 335756"/>
                <a:gd name="connsiteY13" fmla="*/ 152400 h 359568"/>
                <a:gd name="connsiteX14" fmla="*/ 142875 w 335756"/>
                <a:gd name="connsiteY14" fmla="*/ 190500 h 359568"/>
                <a:gd name="connsiteX15" fmla="*/ 102394 w 335756"/>
                <a:gd name="connsiteY15" fmla="*/ 226218 h 359568"/>
                <a:gd name="connsiteX16" fmla="*/ 59531 w 335756"/>
                <a:gd name="connsiteY16" fmla="*/ 247650 h 359568"/>
                <a:gd name="connsiteX17" fmla="*/ 35719 w 335756"/>
                <a:gd name="connsiteY17" fmla="*/ 247650 h 359568"/>
                <a:gd name="connsiteX18" fmla="*/ 0 w 335756"/>
                <a:gd name="connsiteY18" fmla="*/ 326231 h 359568"/>
                <a:gd name="connsiteX0" fmla="*/ 0 w 335756"/>
                <a:gd name="connsiteY0" fmla="*/ 326231 h 359568"/>
                <a:gd name="connsiteX1" fmla="*/ 61912 w 335756"/>
                <a:gd name="connsiteY1" fmla="*/ 345281 h 359568"/>
                <a:gd name="connsiteX2" fmla="*/ 135731 w 335756"/>
                <a:gd name="connsiteY2" fmla="*/ 354806 h 359568"/>
                <a:gd name="connsiteX3" fmla="*/ 190500 w 335756"/>
                <a:gd name="connsiteY3" fmla="*/ 359568 h 359568"/>
                <a:gd name="connsiteX4" fmla="*/ 259556 w 335756"/>
                <a:gd name="connsiteY4" fmla="*/ 345281 h 359568"/>
                <a:gd name="connsiteX5" fmla="*/ 321469 w 335756"/>
                <a:gd name="connsiteY5" fmla="*/ 319087 h 359568"/>
                <a:gd name="connsiteX6" fmla="*/ 335756 w 335756"/>
                <a:gd name="connsiteY6" fmla="*/ 257175 h 359568"/>
                <a:gd name="connsiteX7" fmla="*/ 319087 w 335756"/>
                <a:gd name="connsiteY7" fmla="*/ 188119 h 359568"/>
                <a:gd name="connsiteX8" fmla="*/ 288131 w 335756"/>
                <a:gd name="connsiteY8" fmla="*/ 114300 h 359568"/>
                <a:gd name="connsiteX9" fmla="*/ 257175 w 335756"/>
                <a:gd name="connsiteY9" fmla="*/ 50006 h 359568"/>
                <a:gd name="connsiteX10" fmla="*/ 202406 w 335756"/>
                <a:gd name="connsiteY10" fmla="*/ 0 h 359568"/>
                <a:gd name="connsiteX11" fmla="*/ 157162 w 335756"/>
                <a:gd name="connsiteY11" fmla="*/ 66675 h 359568"/>
                <a:gd name="connsiteX12" fmla="*/ 169069 w 335756"/>
                <a:gd name="connsiteY12" fmla="*/ 97631 h 359568"/>
                <a:gd name="connsiteX13" fmla="*/ 166687 w 335756"/>
                <a:gd name="connsiteY13" fmla="*/ 152400 h 359568"/>
                <a:gd name="connsiteX14" fmla="*/ 142875 w 335756"/>
                <a:gd name="connsiteY14" fmla="*/ 190500 h 359568"/>
                <a:gd name="connsiteX15" fmla="*/ 102394 w 335756"/>
                <a:gd name="connsiteY15" fmla="*/ 226218 h 359568"/>
                <a:gd name="connsiteX16" fmla="*/ 59531 w 335756"/>
                <a:gd name="connsiteY16" fmla="*/ 247650 h 359568"/>
                <a:gd name="connsiteX17" fmla="*/ 35719 w 335756"/>
                <a:gd name="connsiteY17" fmla="*/ 247650 h 359568"/>
                <a:gd name="connsiteX18" fmla="*/ 0 w 335756"/>
                <a:gd name="connsiteY18" fmla="*/ 326231 h 359568"/>
                <a:gd name="connsiteX0" fmla="*/ 0 w 335756"/>
                <a:gd name="connsiteY0" fmla="*/ 326231 h 359568"/>
                <a:gd name="connsiteX1" fmla="*/ 61912 w 335756"/>
                <a:gd name="connsiteY1" fmla="*/ 345281 h 359568"/>
                <a:gd name="connsiteX2" fmla="*/ 135731 w 335756"/>
                <a:gd name="connsiteY2" fmla="*/ 354806 h 359568"/>
                <a:gd name="connsiteX3" fmla="*/ 190500 w 335756"/>
                <a:gd name="connsiteY3" fmla="*/ 359568 h 359568"/>
                <a:gd name="connsiteX4" fmla="*/ 259556 w 335756"/>
                <a:gd name="connsiteY4" fmla="*/ 345281 h 359568"/>
                <a:gd name="connsiteX5" fmla="*/ 321469 w 335756"/>
                <a:gd name="connsiteY5" fmla="*/ 319087 h 359568"/>
                <a:gd name="connsiteX6" fmla="*/ 335756 w 335756"/>
                <a:gd name="connsiteY6" fmla="*/ 257175 h 359568"/>
                <a:gd name="connsiteX7" fmla="*/ 319087 w 335756"/>
                <a:gd name="connsiteY7" fmla="*/ 188119 h 359568"/>
                <a:gd name="connsiteX8" fmla="*/ 295275 w 335756"/>
                <a:gd name="connsiteY8" fmla="*/ 109538 h 359568"/>
                <a:gd name="connsiteX9" fmla="*/ 257175 w 335756"/>
                <a:gd name="connsiteY9" fmla="*/ 50006 h 359568"/>
                <a:gd name="connsiteX10" fmla="*/ 202406 w 335756"/>
                <a:gd name="connsiteY10" fmla="*/ 0 h 359568"/>
                <a:gd name="connsiteX11" fmla="*/ 157162 w 335756"/>
                <a:gd name="connsiteY11" fmla="*/ 66675 h 359568"/>
                <a:gd name="connsiteX12" fmla="*/ 169069 w 335756"/>
                <a:gd name="connsiteY12" fmla="*/ 97631 h 359568"/>
                <a:gd name="connsiteX13" fmla="*/ 166687 w 335756"/>
                <a:gd name="connsiteY13" fmla="*/ 152400 h 359568"/>
                <a:gd name="connsiteX14" fmla="*/ 142875 w 335756"/>
                <a:gd name="connsiteY14" fmla="*/ 190500 h 359568"/>
                <a:gd name="connsiteX15" fmla="*/ 102394 w 335756"/>
                <a:gd name="connsiteY15" fmla="*/ 226218 h 359568"/>
                <a:gd name="connsiteX16" fmla="*/ 59531 w 335756"/>
                <a:gd name="connsiteY16" fmla="*/ 247650 h 359568"/>
                <a:gd name="connsiteX17" fmla="*/ 35719 w 335756"/>
                <a:gd name="connsiteY17" fmla="*/ 247650 h 359568"/>
                <a:gd name="connsiteX18" fmla="*/ 0 w 335756"/>
                <a:gd name="connsiteY18" fmla="*/ 326231 h 359568"/>
                <a:gd name="connsiteX0" fmla="*/ 0 w 335756"/>
                <a:gd name="connsiteY0" fmla="*/ 326231 h 359568"/>
                <a:gd name="connsiteX1" fmla="*/ 61912 w 335756"/>
                <a:gd name="connsiteY1" fmla="*/ 345281 h 359568"/>
                <a:gd name="connsiteX2" fmla="*/ 135731 w 335756"/>
                <a:gd name="connsiteY2" fmla="*/ 354806 h 359568"/>
                <a:gd name="connsiteX3" fmla="*/ 190500 w 335756"/>
                <a:gd name="connsiteY3" fmla="*/ 359568 h 359568"/>
                <a:gd name="connsiteX4" fmla="*/ 259556 w 335756"/>
                <a:gd name="connsiteY4" fmla="*/ 345281 h 359568"/>
                <a:gd name="connsiteX5" fmla="*/ 321469 w 335756"/>
                <a:gd name="connsiteY5" fmla="*/ 319087 h 359568"/>
                <a:gd name="connsiteX6" fmla="*/ 335756 w 335756"/>
                <a:gd name="connsiteY6" fmla="*/ 257175 h 359568"/>
                <a:gd name="connsiteX7" fmla="*/ 319087 w 335756"/>
                <a:gd name="connsiteY7" fmla="*/ 188119 h 359568"/>
                <a:gd name="connsiteX8" fmla="*/ 295275 w 335756"/>
                <a:gd name="connsiteY8" fmla="*/ 109538 h 359568"/>
                <a:gd name="connsiteX9" fmla="*/ 257175 w 335756"/>
                <a:gd name="connsiteY9" fmla="*/ 50006 h 359568"/>
                <a:gd name="connsiteX10" fmla="*/ 202406 w 335756"/>
                <a:gd name="connsiteY10" fmla="*/ 0 h 359568"/>
                <a:gd name="connsiteX11" fmla="*/ 157162 w 335756"/>
                <a:gd name="connsiteY11" fmla="*/ 66675 h 359568"/>
                <a:gd name="connsiteX12" fmla="*/ 169069 w 335756"/>
                <a:gd name="connsiteY12" fmla="*/ 97631 h 359568"/>
                <a:gd name="connsiteX13" fmla="*/ 142875 w 335756"/>
                <a:gd name="connsiteY13" fmla="*/ 190500 h 359568"/>
                <a:gd name="connsiteX14" fmla="*/ 102394 w 335756"/>
                <a:gd name="connsiteY14" fmla="*/ 226218 h 359568"/>
                <a:gd name="connsiteX15" fmla="*/ 59531 w 335756"/>
                <a:gd name="connsiteY15" fmla="*/ 247650 h 359568"/>
                <a:gd name="connsiteX16" fmla="*/ 35719 w 335756"/>
                <a:gd name="connsiteY16" fmla="*/ 247650 h 359568"/>
                <a:gd name="connsiteX17" fmla="*/ 0 w 335756"/>
                <a:gd name="connsiteY17" fmla="*/ 326231 h 359568"/>
                <a:gd name="connsiteX0" fmla="*/ 0 w 335756"/>
                <a:gd name="connsiteY0" fmla="*/ 326231 h 359568"/>
                <a:gd name="connsiteX1" fmla="*/ 61912 w 335756"/>
                <a:gd name="connsiteY1" fmla="*/ 345281 h 359568"/>
                <a:gd name="connsiteX2" fmla="*/ 135731 w 335756"/>
                <a:gd name="connsiteY2" fmla="*/ 354806 h 359568"/>
                <a:gd name="connsiteX3" fmla="*/ 190500 w 335756"/>
                <a:gd name="connsiteY3" fmla="*/ 359568 h 359568"/>
                <a:gd name="connsiteX4" fmla="*/ 259556 w 335756"/>
                <a:gd name="connsiteY4" fmla="*/ 345281 h 359568"/>
                <a:gd name="connsiteX5" fmla="*/ 321469 w 335756"/>
                <a:gd name="connsiteY5" fmla="*/ 319087 h 359568"/>
                <a:gd name="connsiteX6" fmla="*/ 335756 w 335756"/>
                <a:gd name="connsiteY6" fmla="*/ 257175 h 359568"/>
                <a:gd name="connsiteX7" fmla="*/ 319087 w 335756"/>
                <a:gd name="connsiteY7" fmla="*/ 188119 h 359568"/>
                <a:gd name="connsiteX8" fmla="*/ 295275 w 335756"/>
                <a:gd name="connsiteY8" fmla="*/ 109538 h 359568"/>
                <a:gd name="connsiteX9" fmla="*/ 257175 w 335756"/>
                <a:gd name="connsiteY9" fmla="*/ 50006 h 359568"/>
                <a:gd name="connsiteX10" fmla="*/ 202406 w 335756"/>
                <a:gd name="connsiteY10" fmla="*/ 0 h 359568"/>
                <a:gd name="connsiteX11" fmla="*/ 157162 w 335756"/>
                <a:gd name="connsiteY11" fmla="*/ 66675 h 359568"/>
                <a:gd name="connsiteX12" fmla="*/ 169069 w 335756"/>
                <a:gd name="connsiteY12" fmla="*/ 97631 h 359568"/>
                <a:gd name="connsiteX13" fmla="*/ 102394 w 335756"/>
                <a:gd name="connsiteY13" fmla="*/ 226218 h 359568"/>
                <a:gd name="connsiteX14" fmla="*/ 59531 w 335756"/>
                <a:gd name="connsiteY14" fmla="*/ 247650 h 359568"/>
                <a:gd name="connsiteX15" fmla="*/ 35719 w 335756"/>
                <a:gd name="connsiteY15" fmla="*/ 247650 h 359568"/>
                <a:gd name="connsiteX16" fmla="*/ 0 w 335756"/>
                <a:gd name="connsiteY16" fmla="*/ 326231 h 359568"/>
                <a:gd name="connsiteX0" fmla="*/ 0 w 335756"/>
                <a:gd name="connsiteY0" fmla="*/ 326231 h 359568"/>
                <a:gd name="connsiteX1" fmla="*/ 61912 w 335756"/>
                <a:gd name="connsiteY1" fmla="*/ 345281 h 359568"/>
                <a:gd name="connsiteX2" fmla="*/ 135731 w 335756"/>
                <a:gd name="connsiteY2" fmla="*/ 354806 h 359568"/>
                <a:gd name="connsiteX3" fmla="*/ 190500 w 335756"/>
                <a:gd name="connsiteY3" fmla="*/ 359568 h 359568"/>
                <a:gd name="connsiteX4" fmla="*/ 259556 w 335756"/>
                <a:gd name="connsiteY4" fmla="*/ 345281 h 359568"/>
                <a:gd name="connsiteX5" fmla="*/ 321469 w 335756"/>
                <a:gd name="connsiteY5" fmla="*/ 319087 h 359568"/>
                <a:gd name="connsiteX6" fmla="*/ 335756 w 335756"/>
                <a:gd name="connsiteY6" fmla="*/ 257175 h 359568"/>
                <a:gd name="connsiteX7" fmla="*/ 319087 w 335756"/>
                <a:gd name="connsiteY7" fmla="*/ 188119 h 359568"/>
                <a:gd name="connsiteX8" fmla="*/ 295275 w 335756"/>
                <a:gd name="connsiteY8" fmla="*/ 109538 h 359568"/>
                <a:gd name="connsiteX9" fmla="*/ 257175 w 335756"/>
                <a:gd name="connsiteY9" fmla="*/ 50006 h 359568"/>
                <a:gd name="connsiteX10" fmla="*/ 202406 w 335756"/>
                <a:gd name="connsiteY10" fmla="*/ 0 h 359568"/>
                <a:gd name="connsiteX11" fmla="*/ 157162 w 335756"/>
                <a:gd name="connsiteY11" fmla="*/ 66675 h 359568"/>
                <a:gd name="connsiteX12" fmla="*/ 169069 w 335756"/>
                <a:gd name="connsiteY12" fmla="*/ 97631 h 359568"/>
                <a:gd name="connsiteX13" fmla="*/ 59531 w 335756"/>
                <a:gd name="connsiteY13" fmla="*/ 247650 h 359568"/>
                <a:gd name="connsiteX14" fmla="*/ 35719 w 335756"/>
                <a:gd name="connsiteY14" fmla="*/ 247650 h 359568"/>
                <a:gd name="connsiteX15" fmla="*/ 0 w 335756"/>
                <a:gd name="connsiteY15" fmla="*/ 326231 h 359568"/>
                <a:gd name="connsiteX0" fmla="*/ 0 w 335756"/>
                <a:gd name="connsiteY0" fmla="*/ 326231 h 359568"/>
                <a:gd name="connsiteX1" fmla="*/ 61912 w 335756"/>
                <a:gd name="connsiteY1" fmla="*/ 345281 h 359568"/>
                <a:gd name="connsiteX2" fmla="*/ 135731 w 335756"/>
                <a:gd name="connsiteY2" fmla="*/ 354806 h 359568"/>
                <a:gd name="connsiteX3" fmla="*/ 190500 w 335756"/>
                <a:gd name="connsiteY3" fmla="*/ 359568 h 359568"/>
                <a:gd name="connsiteX4" fmla="*/ 259556 w 335756"/>
                <a:gd name="connsiteY4" fmla="*/ 345281 h 359568"/>
                <a:gd name="connsiteX5" fmla="*/ 321469 w 335756"/>
                <a:gd name="connsiteY5" fmla="*/ 319087 h 359568"/>
                <a:gd name="connsiteX6" fmla="*/ 335756 w 335756"/>
                <a:gd name="connsiteY6" fmla="*/ 257175 h 359568"/>
                <a:gd name="connsiteX7" fmla="*/ 319087 w 335756"/>
                <a:gd name="connsiteY7" fmla="*/ 188119 h 359568"/>
                <a:gd name="connsiteX8" fmla="*/ 295275 w 335756"/>
                <a:gd name="connsiteY8" fmla="*/ 109538 h 359568"/>
                <a:gd name="connsiteX9" fmla="*/ 257175 w 335756"/>
                <a:gd name="connsiteY9" fmla="*/ 50006 h 359568"/>
                <a:gd name="connsiteX10" fmla="*/ 202406 w 335756"/>
                <a:gd name="connsiteY10" fmla="*/ 0 h 359568"/>
                <a:gd name="connsiteX11" fmla="*/ 157162 w 335756"/>
                <a:gd name="connsiteY11" fmla="*/ 66675 h 359568"/>
                <a:gd name="connsiteX12" fmla="*/ 169069 w 335756"/>
                <a:gd name="connsiteY12" fmla="*/ 97631 h 359568"/>
                <a:gd name="connsiteX13" fmla="*/ 35719 w 335756"/>
                <a:gd name="connsiteY13" fmla="*/ 247650 h 359568"/>
                <a:gd name="connsiteX14" fmla="*/ 0 w 335756"/>
                <a:gd name="connsiteY14" fmla="*/ 326231 h 359568"/>
                <a:gd name="connsiteX0" fmla="*/ 0 w 335756"/>
                <a:gd name="connsiteY0" fmla="*/ 326231 h 359568"/>
                <a:gd name="connsiteX1" fmla="*/ 61912 w 335756"/>
                <a:gd name="connsiteY1" fmla="*/ 345281 h 359568"/>
                <a:gd name="connsiteX2" fmla="*/ 135731 w 335756"/>
                <a:gd name="connsiteY2" fmla="*/ 354806 h 359568"/>
                <a:gd name="connsiteX3" fmla="*/ 190500 w 335756"/>
                <a:gd name="connsiteY3" fmla="*/ 359568 h 359568"/>
                <a:gd name="connsiteX4" fmla="*/ 259556 w 335756"/>
                <a:gd name="connsiteY4" fmla="*/ 345281 h 359568"/>
                <a:gd name="connsiteX5" fmla="*/ 321469 w 335756"/>
                <a:gd name="connsiteY5" fmla="*/ 319087 h 359568"/>
                <a:gd name="connsiteX6" fmla="*/ 335756 w 335756"/>
                <a:gd name="connsiteY6" fmla="*/ 257175 h 359568"/>
                <a:gd name="connsiteX7" fmla="*/ 319087 w 335756"/>
                <a:gd name="connsiteY7" fmla="*/ 188119 h 359568"/>
                <a:gd name="connsiteX8" fmla="*/ 295275 w 335756"/>
                <a:gd name="connsiteY8" fmla="*/ 109538 h 359568"/>
                <a:gd name="connsiteX9" fmla="*/ 257175 w 335756"/>
                <a:gd name="connsiteY9" fmla="*/ 50006 h 359568"/>
                <a:gd name="connsiteX10" fmla="*/ 202406 w 335756"/>
                <a:gd name="connsiteY10" fmla="*/ 0 h 359568"/>
                <a:gd name="connsiteX11" fmla="*/ 157162 w 335756"/>
                <a:gd name="connsiteY11" fmla="*/ 66675 h 359568"/>
                <a:gd name="connsiteX12" fmla="*/ 35719 w 335756"/>
                <a:gd name="connsiteY12" fmla="*/ 247650 h 359568"/>
                <a:gd name="connsiteX13" fmla="*/ 0 w 335756"/>
                <a:gd name="connsiteY13" fmla="*/ 326231 h 359568"/>
                <a:gd name="connsiteX0" fmla="*/ 0 w 335756"/>
                <a:gd name="connsiteY0" fmla="*/ 326231 h 359568"/>
                <a:gd name="connsiteX1" fmla="*/ 61912 w 335756"/>
                <a:gd name="connsiteY1" fmla="*/ 345281 h 359568"/>
                <a:gd name="connsiteX2" fmla="*/ 135731 w 335756"/>
                <a:gd name="connsiteY2" fmla="*/ 354806 h 359568"/>
                <a:gd name="connsiteX3" fmla="*/ 190500 w 335756"/>
                <a:gd name="connsiteY3" fmla="*/ 359568 h 359568"/>
                <a:gd name="connsiteX4" fmla="*/ 259556 w 335756"/>
                <a:gd name="connsiteY4" fmla="*/ 345281 h 359568"/>
                <a:gd name="connsiteX5" fmla="*/ 321469 w 335756"/>
                <a:gd name="connsiteY5" fmla="*/ 319087 h 359568"/>
                <a:gd name="connsiteX6" fmla="*/ 335756 w 335756"/>
                <a:gd name="connsiteY6" fmla="*/ 257175 h 359568"/>
                <a:gd name="connsiteX7" fmla="*/ 319087 w 335756"/>
                <a:gd name="connsiteY7" fmla="*/ 188119 h 359568"/>
                <a:gd name="connsiteX8" fmla="*/ 295275 w 335756"/>
                <a:gd name="connsiteY8" fmla="*/ 109538 h 359568"/>
                <a:gd name="connsiteX9" fmla="*/ 257175 w 335756"/>
                <a:gd name="connsiteY9" fmla="*/ 50006 h 359568"/>
                <a:gd name="connsiteX10" fmla="*/ 202406 w 335756"/>
                <a:gd name="connsiteY10" fmla="*/ 0 h 359568"/>
                <a:gd name="connsiteX11" fmla="*/ 136471 w 335756"/>
                <a:gd name="connsiteY11" fmla="*/ 88958 h 359568"/>
                <a:gd name="connsiteX12" fmla="*/ 35719 w 335756"/>
                <a:gd name="connsiteY12" fmla="*/ 247650 h 359568"/>
                <a:gd name="connsiteX13" fmla="*/ 0 w 335756"/>
                <a:gd name="connsiteY13" fmla="*/ 326231 h 359568"/>
                <a:gd name="connsiteX0" fmla="*/ 0 w 335756"/>
                <a:gd name="connsiteY0" fmla="*/ 326231 h 359568"/>
                <a:gd name="connsiteX1" fmla="*/ 61912 w 335756"/>
                <a:gd name="connsiteY1" fmla="*/ 345281 h 359568"/>
                <a:gd name="connsiteX2" fmla="*/ 135731 w 335756"/>
                <a:gd name="connsiteY2" fmla="*/ 354806 h 359568"/>
                <a:gd name="connsiteX3" fmla="*/ 190500 w 335756"/>
                <a:gd name="connsiteY3" fmla="*/ 359568 h 359568"/>
                <a:gd name="connsiteX4" fmla="*/ 259556 w 335756"/>
                <a:gd name="connsiteY4" fmla="*/ 345281 h 359568"/>
                <a:gd name="connsiteX5" fmla="*/ 321469 w 335756"/>
                <a:gd name="connsiteY5" fmla="*/ 319087 h 359568"/>
                <a:gd name="connsiteX6" fmla="*/ 335756 w 335756"/>
                <a:gd name="connsiteY6" fmla="*/ 257175 h 359568"/>
                <a:gd name="connsiteX7" fmla="*/ 319087 w 335756"/>
                <a:gd name="connsiteY7" fmla="*/ 188119 h 359568"/>
                <a:gd name="connsiteX8" fmla="*/ 295275 w 335756"/>
                <a:gd name="connsiteY8" fmla="*/ 109538 h 359568"/>
                <a:gd name="connsiteX9" fmla="*/ 257175 w 335756"/>
                <a:gd name="connsiteY9" fmla="*/ 50006 h 359568"/>
                <a:gd name="connsiteX10" fmla="*/ 202406 w 335756"/>
                <a:gd name="connsiteY10" fmla="*/ 0 h 359568"/>
                <a:gd name="connsiteX11" fmla="*/ 136471 w 335756"/>
                <a:gd name="connsiteY11" fmla="*/ 88958 h 359568"/>
                <a:gd name="connsiteX12" fmla="*/ 67551 w 335756"/>
                <a:gd name="connsiteY12" fmla="*/ 193536 h 359568"/>
                <a:gd name="connsiteX13" fmla="*/ 0 w 335756"/>
                <a:gd name="connsiteY13" fmla="*/ 326231 h 359568"/>
                <a:gd name="connsiteX0" fmla="*/ 0 w 335756"/>
                <a:gd name="connsiteY0" fmla="*/ 358063 h 391400"/>
                <a:gd name="connsiteX1" fmla="*/ 61912 w 335756"/>
                <a:gd name="connsiteY1" fmla="*/ 377113 h 391400"/>
                <a:gd name="connsiteX2" fmla="*/ 135731 w 335756"/>
                <a:gd name="connsiteY2" fmla="*/ 386638 h 391400"/>
                <a:gd name="connsiteX3" fmla="*/ 190500 w 335756"/>
                <a:gd name="connsiteY3" fmla="*/ 391400 h 391400"/>
                <a:gd name="connsiteX4" fmla="*/ 259556 w 335756"/>
                <a:gd name="connsiteY4" fmla="*/ 377113 h 391400"/>
                <a:gd name="connsiteX5" fmla="*/ 321469 w 335756"/>
                <a:gd name="connsiteY5" fmla="*/ 350919 h 391400"/>
                <a:gd name="connsiteX6" fmla="*/ 335756 w 335756"/>
                <a:gd name="connsiteY6" fmla="*/ 289007 h 391400"/>
                <a:gd name="connsiteX7" fmla="*/ 319087 w 335756"/>
                <a:gd name="connsiteY7" fmla="*/ 219951 h 391400"/>
                <a:gd name="connsiteX8" fmla="*/ 295275 w 335756"/>
                <a:gd name="connsiteY8" fmla="*/ 141370 h 391400"/>
                <a:gd name="connsiteX9" fmla="*/ 257175 w 335756"/>
                <a:gd name="connsiteY9" fmla="*/ 81838 h 391400"/>
                <a:gd name="connsiteX10" fmla="*/ 243788 w 335756"/>
                <a:gd name="connsiteY10" fmla="*/ 0 h 391400"/>
                <a:gd name="connsiteX11" fmla="*/ 136471 w 335756"/>
                <a:gd name="connsiteY11" fmla="*/ 120790 h 391400"/>
                <a:gd name="connsiteX12" fmla="*/ 67551 w 335756"/>
                <a:gd name="connsiteY12" fmla="*/ 225368 h 391400"/>
                <a:gd name="connsiteX13" fmla="*/ 0 w 335756"/>
                <a:gd name="connsiteY13" fmla="*/ 358063 h 391400"/>
                <a:gd name="connsiteX0" fmla="*/ 0 w 346897"/>
                <a:gd name="connsiteY0" fmla="*/ 394670 h 394670"/>
                <a:gd name="connsiteX1" fmla="*/ 73053 w 346897"/>
                <a:gd name="connsiteY1" fmla="*/ 377113 h 394670"/>
                <a:gd name="connsiteX2" fmla="*/ 146872 w 346897"/>
                <a:gd name="connsiteY2" fmla="*/ 386638 h 394670"/>
                <a:gd name="connsiteX3" fmla="*/ 201641 w 346897"/>
                <a:gd name="connsiteY3" fmla="*/ 391400 h 394670"/>
                <a:gd name="connsiteX4" fmla="*/ 270697 w 346897"/>
                <a:gd name="connsiteY4" fmla="*/ 377113 h 394670"/>
                <a:gd name="connsiteX5" fmla="*/ 332610 w 346897"/>
                <a:gd name="connsiteY5" fmla="*/ 350919 h 394670"/>
                <a:gd name="connsiteX6" fmla="*/ 346897 w 346897"/>
                <a:gd name="connsiteY6" fmla="*/ 289007 h 394670"/>
                <a:gd name="connsiteX7" fmla="*/ 330228 w 346897"/>
                <a:gd name="connsiteY7" fmla="*/ 219951 h 394670"/>
                <a:gd name="connsiteX8" fmla="*/ 306416 w 346897"/>
                <a:gd name="connsiteY8" fmla="*/ 141370 h 394670"/>
                <a:gd name="connsiteX9" fmla="*/ 268316 w 346897"/>
                <a:gd name="connsiteY9" fmla="*/ 81838 h 394670"/>
                <a:gd name="connsiteX10" fmla="*/ 254929 w 346897"/>
                <a:gd name="connsiteY10" fmla="*/ 0 h 394670"/>
                <a:gd name="connsiteX11" fmla="*/ 147612 w 346897"/>
                <a:gd name="connsiteY11" fmla="*/ 120790 h 394670"/>
                <a:gd name="connsiteX12" fmla="*/ 78692 w 346897"/>
                <a:gd name="connsiteY12" fmla="*/ 225368 h 394670"/>
                <a:gd name="connsiteX13" fmla="*/ 0 w 346897"/>
                <a:gd name="connsiteY13" fmla="*/ 394670 h 394670"/>
                <a:gd name="connsiteX0" fmla="*/ 0 w 346897"/>
                <a:gd name="connsiteY0" fmla="*/ 394670 h 394670"/>
                <a:gd name="connsiteX1" fmla="*/ 73053 w 346897"/>
                <a:gd name="connsiteY1" fmla="*/ 377113 h 394670"/>
                <a:gd name="connsiteX2" fmla="*/ 146872 w 346897"/>
                <a:gd name="connsiteY2" fmla="*/ 386638 h 394670"/>
                <a:gd name="connsiteX3" fmla="*/ 201641 w 346897"/>
                <a:gd name="connsiteY3" fmla="*/ 391400 h 394670"/>
                <a:gd name="connsiteX4" fmla="*/ 270697 w 346897"/>
                <a:gd name="connsiteY4" fmla="*/ 377113 h 394670"/>
                <a:gd name="connsiteX5" fmla="*/ 332610 w 346897"/>
                <a:gd name="connsiteY5" fmla="*/ 350919 h 394670"/>
                <a:gd name="connsiteX6" fmla="*/ 346897 w 346897"/>
                <a:gd name="connsiteY6" fmla="*/ 289007 h 394670"/>
                <a:gd name="connsiteX7" fmla="*/ 330228 w 346897"/>
                <a:gd name="connsiteY7" fmla="*/ 219951 h 394670"/>
                <a:gd name="connsiteX8" fmla="*/ 306416 w 346897"/>
                <a:gd name="connsiteY8" fmla="*/ 141370 h 394670"/>
                <a:gd name="connsiteX9" fmla="*/ 268316 w 346897"/>
                <a:gd name="connsiteY9" fmla="*/ 81838 h 394670"/>
                <a:gd name="connsiteX10" fmla="*/ 254929 w 346897"/>
                <a:gd name="connsiteY10" fmla="*/ 0 h 394670"/>
                <a:gd name="connsiteX11" fmla="*/ 147612 w 346897"/>
                <a:gd name="connsiteY11" fmla="*/ 120790 h 394670"/>
                <a:gd name="connsiteX12" fmla="*/ 78692 w 346897"/>
                <a:gd name="connsiteY12" fmla="*/ 225368 h 394670"/>
                <a:gd name="connsiteX13" fmla="*/ 0 w 346897"/>
                <a:gd name="connsiteY13" fmla="*/ 394670 h 394670"/>
                <a:gd name="connsiteX0" fmla="*/ 0 w 346897"/>
                <a:gd name="connsiteY0" fmla="*/ 394670 h 394670"/>
                <a:gd name="connsiteX1" fmla="*/ 73053 w 346897"/>
                <a:gd name="connsiteY1" fmla="*/ 377113 h 394670"/>
                <a:gd name="connsiteX2" fmla="*/ 146872 w 346897"/>
                <a:gd name="connsiteY2" fmla="*/ 386638 h 394670"/>
                <a:gd name="connsiteX3" fmla="*/ 201641 w 346897"/>
                <a:gd name="connsiteY3" fmla="*/ 391400 h 394670"/>
                <a:gd name="connsiteX4" fmla="*/ 270697 w 346897"/>
                <a:gd name="connsiteY4" fmla="*/ 377113 h 394670"/>
                <a:gd name="connsiteX5" fmla="*/ 332610 w 346897"/>
                <a:gd name="connsiteY5" fmla="*/ 350919 h 394670"/>
                <a:gd name="connsiteX6" fmla="*/ 346897 w 346897"/>
                <a:gd name="connsiteY6" fmla="*/ 289007 h 394670"/>
                <a:gd name="connsiteX7" fmla="*/ 330228 w 346897"/>
                <a:gd name="connsiteY7" fmla="*/ 219951 h 394670"/>
                <a:gd name="connsiteX8" fmla="*/ 306416 w 346897"/>
                <a:gd name="connsiteY8" fmla="*/ 141370 h 394670"/>
                <a:gd name="connsiteX9" fmla="*/ 268316 w 346897"/>
                <a:gd name="connsiteY9" fmla="*/ 81838 h 394670"/>
                <a:gd name="connsiteX10" fmla="*/ 254929 w 346897"/>
                <a:gd name="connsiteY10" fmla="*/ 0 h 394670"/>
                <a:gd name="connsiteX11" fmla="*/ 147612 w 346897"/>
                <a:gd name="connsiteY11" fmla="*/ 120790 h 394670"/>
                <a:gd name="connsiteX12" fmla="*/ 62776 w 346897"/>
                <a:gd name="connsiteY12" fmla="*/ 252425 h 394670"/>
                <a:gd name="connsiteX13" fmla="*/ 0 w 346897"/>
                <a:gd name="connsiteY13" fmla="*/ 394670 h 394670"/>
                <a:gd name="connsiteX0" fmla="*/ 0 w 346897"/>
                <a:gd name="connsiteY0" fmla="*/ 394670 h 394670"/>
                <a:gd name="connsiteX1" fmla="*/ 73053 w 346897"/>
                <a:gd name="connsiteY1" fmla="*/ 377113 h 394670"/>
                <a:gd name="connsiteX2" fmla="*/ 146872 w 346897"/>
                <a:gd name="connsiteY2" fmla="*/ 386638 h 394670"/>
                <a:gd name="connsiteX3" fmla="*/ 201641 w 346897"/>
                <a:gd name="connsiteY3" fmla="*/ 391400 h 394670"/>
                <a:gd name="connsiteX4" fmla="*/ 270697 w 346897"/>
                <a:gd name="connsiteY4" fmla="*/ 377113 h 394670"/>
                <a:gd name="connsiteX5" fmla="*/ 332610 w 346897"/>
                <a:gd name="connsiteY5" fmla="*/ 350919 h 394670"/>
                <a:gd name="connsiteX6" fmla="*/ 346897 w 346897"/>
                <a:gd name="connsiteY6" fmla="*/ 289007 h 394670"/>
                <a:gd name="connsiteX7" fmla="*/ 330228 w 346897"/>
                <a:gd name="connsiteY7" fmla="*/ 219951 h 394670"/>
                <a:gd name="connsiteX8" fmla="*/ 306416 w 346897"/>
                <a:gd name="connsiteY8" fmla="*/ 141370 h 394670"/>
                <a:gd name="connsiteX9" fmla="*/ 301740 w 346897"/>
                <a:gd name="connsiteY9" fmla="*/ 73880 h 394670"/>
                <a:gd name="connsiteX10" fmla="*/ 254929 w 346897"/>
                <a:gd name="connsiteY10" fmla="*/ 0 h 394670"/>
                <a:gd name="connsiteX11" fmla="*/ 147612 w 346897"/>
                <a:gd name="connsiteY11" fmla="*/ 120790 h 394670"/>
                <a:gd name="connsiteX12" fmla="*/ 62776 w 346897"/>
                <a:gd name="connsiteY12" fmla="*/ 252425 h 394670"/>
                <a:gd name="connsiteX13" fmla="*/ 0 w 346897"/>
                <a:gd name="connsiteY13" fmla="*/ 394670 h 394670"/>
                <a:gd name="connsiteX0" fmla="*/ 0 w 346897"/>
                <a:gd name="connsiteY0" fmla="*/ 394670 h 394670"/>
                <a:gd name="connsiteX1" fmla="*/ 73053 w 346897"/>
                <a:gd name="connsiteY1" fmla="*/ 377113 h 394670"/>
                <a:gd name="connsiteX2" fmla="*/ 146872 w 346897"/>
                <a:gd name="connsiteY2" fmla="*/ 386638 h 394670"/>
                <a:gd name="connsiteX3" fmla="*/ 201641 w 346897"/>
                <a:gd name="connsiteY3" fmla="*/ 391400 h 394670"/>
                <a:gd name="connsiteX4" fmla="*/ 270697 w 346897"/>
                <a:gd name="connsiteY4" fmla="*/ 377113 h 394670"/>
                <a:gd name="connsiteX5" fmla="*/ 332610 w 346897"/>
                <a:gd name="connsiteY5" fmla="*/ 350919 h 394670"/>
                <a:gd name="connsiteX6" fmla="*/ 346897 w 346897"/>
                <a:gd name="connsiteY6" fmla="*/ 289007 h 394670"/>
                <a:gd name="connsiteX7" fmla="*/ 330228 w 346897"/>
                <a:gd name="connsiteY7" fmla="*/ 219951 h 394670"/>
                <a:gd name="connsiteX8" fmla="*/ 333473 w 346897"/>
                <a:gd name="connsiteY8" fmla="*/ 162061 h 394670"/>
                <a:gd name="connsiteX9" fmla="*/ 301740 w 346897"/>
                <a:gd name="connsiteY9" fmla="*/ 73880 h 394670"/>
                <a:gd name="connsiteX10" fmla="*/ 254929 w 346897"/>
                <a:gd name="connsiteY10" fmla="*/ 0 h 394670"/>
                <a:gd name="connsiteX11" fmla="*/ 147612 w 346897"/>
                <a:gd name="connsiteY11" fmla="*/ 120790 h 394670"/>
                <a:gd name="connsiteX12" fmla="*/ 62776 w 346897"/>
                <a:gd name="connsiteY12" fmla="*/ 252425 h 394670"/>
                <a:gd name="connsiteX13" fmla="*/ 0 w 346897"/>
                <a:gd name="connsiteY13" fmla="*/ 394670 h 394670"/>
                <a:gd name="connsiteX0" fmla="*/ 0 w 346897"/>
                <a:gd name="connsiteY0" fmla="*/ 394670 h 394670"/>
                <a:gd name="connsiteX1" fmla="*/ 73053 w 346897"/>
                <a:gd name="connsiteY1" fmla="*/ 377113 h 394670"/>
                <a:gd name="connsiteX2" fmla="*/ 146872 w 346897"/>
                <a:gd name="connsiteY2" fmla="*/ 386638 h 394670"/>
                <a:gd name="connsiteX3" fmla="*/ 201641 w 346897"/>
                <a:gd name="connsiteY3" fmla="*/ 391400 h 394670"/>
                <a:gd name="connsiteX4" fmla="*/ 270697 w 346897"/>
                <a:gd name="connsiteY4" fmla="*/ 377113 h 394670"/>
                <a:gd name="connsiteX5" fmla="*/ 332610 w 346897"/>
                <a:gd name="connsiteY5" fmla="*/ 350919 h 394670"/>
                <a:gd name="connsiteX6" fmla="*/ 346897 w 346897"/>
                <a:gd name="connsiteY6" fmla="*/ 289007 h 394670"/>
                <a:gd name="connsiteX7" fmla="*/ 346144 w 346897"/>
                <a:gd name="connsiteY7" fmla="*/ 234275 h 394670"/>
                <a:gd name="connsiteX8" fmla="*/ 333473 w 346897"/>
                <a:gd name="connsiteY8" fmla="*/ 162061 h 394670"/>
                <a:gd name="connsiteX9" fmla="*/ 301740 w 346897"/>
                <a:gd name="connsiteY9" fmla="*/ 73880 h 394670"/>
                <a:gd name="connsiteX10" fmla="*/ 254929 w 346897"/>
                <a:gd name="connsiteY10" fmla="*/ 0 h 394670"/>
                <a:gd name="connsiteX11" fmla="*/ 147612 w 346897"/>
                <a:gd name="connsiteY11" fmla="*/ 120790 h 394670"/>
                <a:gd name="connsiteX12" fmla="*/ 62776 w 346897"/>
                <a:gd name="connsiteY12" fmla="*/ 252425 h 394670"/>
                <a:gd name="connsiteX13" fmla="*/ 0 w 346897"/>
                <a:gd name="connsiteY13" fmla="*/ 394670 h 394670"/>
                <a:gd name="connsiteX0" fmla="*/ 0 w 346897"/>
                <a:gd name="connsiteY0" fmla="*/ 394670 h 394670"/>
                <a:gd name="connsiteX1" fmla="*/ 66686 w 346897"/>
                <a:gd name="connsiteY1" fmla="*/ 393029 h 394670"/>
                <a:gd name="connsiteX2" fmla="*/ 146872 w 346897"/>
                <a:gd name="connsiteY2" fmla="*/ 386638 h 394670"/>
                <a:gd name="connsiteX3" fmla="*/ 201641 w 346897"/>
                <a:gd name="connsiteY3" fmla="*/ 391400 h 394670"/>
                <a:gd name="connsiteX4" fmla="*/ 270697 w 346897"/>
                <a:gd name="connsiteY4" fmla="*/ 377113 h 394670"/>
                <a:gd name="connsiteX5" fmla="*/ 332610 w 346897"/>
                <a:gd name="connsiteY5" fmla="*/ 350919 h 394670"/>
                <a:gd name="connsiteX6" fmla="*/ 346897 w 346897"/>
                <a:gd name="connsiteY6" fmla="*/ 289007 h 394670"/>
                <a:gd name="connsiteX7" fmla="*/ 346144 w 346897"/>
                <a:gd name="connsiteY7" fmla="*/ 234275 h 394670"/>
                <a:gd name="connsiteX8" fmla="*/ 333473 w 346897"/>
                <a:gd name="connsiteY8" fmla="*/ 162061 h 394670"/>
                <a:gd name="connsiteX9" fmla="*/ 301740 w 346897"/>
                <a:gd name="connsiteY9" fmla="*/ 73880 h 394670"/>
                <a:gd name="connsiteX10" fmla="*/ 254929 w 346897"/>
                <a:gd name="connsiteY10" fmla="*/ 0 h 394670"/>
                <a:gd name="connsiteX11" fmla="*/ 147612 w 346897"/>
                <a:gd name="connsiteY11" fmla="*/ 120790 h 394670"/>
                <a:gd name="connsiteX12" fmla="*/ 62776 w 346897"/>
                <a:gd name="connsiteY12" fmla="*/ 252425 h 394670"/>
                <a:gd name="connsiteX13" fmla="*/ 0 w 346897"/>
                <a:gd name="connsiteY13" fmla="*/ 394670 h 394670"/>
                <a:gd name="connsiteX0" fmla="*/ 0 w 346897"/>
                <a:gd name="connsiteY0" fmla="*/ 394670 h 394670"/>
                <a:gd name="connsiteX1" fmla="*/ 66686 w 346897"/>
                <a:gd name="connsiteY1" fmla="*/ 393029 h 394670"/>
                <a:gd name="connsiteX2" fmla="*/ 146872 w 346897"/>
                <a:gd name="connsiteY2" fmla="*/ 386638 h 394670"/>
                <a:gd name="connsiteX3" fmla="*/ 201641 w 346897"/>
                <a:gd name="connsiteY3" fmla="*/ 391400 h 394670"/>
                <a:gd name="connsiteX4" fmla="*/ 270697 w 346897"/>
                <a:gd name="connsiteY4" fmla="*/ 377113 h 394670"/>
                <a:gd name="connsiteX5" fmla="*/ 332610 w 346897"/>
                <a:gd name="connsiteY5" fmla="*/ 350919 h 394670"/>
                <a:gd name="connsiteX6" fmla="*/ 346897 w 346897"/>
                <a:gd name="connsiteY6" fmla="*/ 289007 h 394670"/>
                <a:gd name="connsiteX7" fmla="*/ 346144 w 346897"/>
                <a:gd name="connsiteY7" fmla="*/ 234275 h 394670"/>
                <a:gd name="connsiteX8" fmla="*/ 333473 w 346897"/>
                <a:gd name="connsiteY8" fmla="*/ 162061 h 394670"/>
                <a:gd name="connsiteX9" fmla="*/ 301740 w 346897"/>
                <a:gd name="connsiteY9" fmla="*/ 73880 h 394670"/>
                <a:gd name="connsiteX10" fmla="*/ 254929 w 346897"/>
                <a:gd name="connsiteY10" fmla="*/ 0 h 394670"/>
                <a:gd name="connsiteX11" fmla="*/ 147612 w 346897"/>
                <a:gd name="connsiteY11" fmla="*/ 120790 h 394670"/>
                <a:gd name="connsiteX12" fmla="*/ 62776 w 346897"/>
                <a:gd name="connsiteY12" fmla="*/ 252425 h 394670"/>
                <a:gd name="connsiteX13" fmla="*/ 0 w 346897"/>
                <a:gd name="connsiteY13" fmla="*/ 394670 h 394670"/>
                <a:gd name="connsiteX0" fmla="*/ 0 w 346897"/>
                <a:gd name="connsiteY0" fmla="*/ 394670 h 394670"/>
                <a:gd name="connsiteX1" fmla="*/ 66686 w 346897"/>
                <a:gd name="connsiteY1" fmla="*/ 393029 h 394670"/>
                <a:gd name="connsiteX2" fmla="*/ 142097 w 346897"/>
                <a:gd name="connsiteY2" fmla="*/ 394596 h 394670"/>
                <a:gd name="connsiteX3" fmla="*/ 201641 w 346897"/>
                <a:gd name="connsiteY3" fmla="*/ 391400 h 394670"/>
                <a:gd name="connsiteX4" fmla="*/ 270697 w 346897"/>
                <a:gd name="connsiteY4" fmla="*/ 377113 h 394670"/>
                <a:gd name="connsiteX5" fmla="*/ 332610 w 346897"/>
                <a:gd name="connsiteY5" fmla="*/ 350919 h 394670"/>
                <a:gd name="connsiteX6" fmla="*/ 346897 w 346897"/>
                <a:gd name="connsiteY6" fmla="*/ 289007 h 394670"/>
                <a:gd name="connsiteX7" fmla="*/ 346144 w 346897"/>
                <a:gd name="connsiteY7" fmla="*/ 234275 h 394670"/>
                <a:gd name="connsiteX8" fmla="*/ 333473 w 346897"/>
                <a:gd name="connsiteY8" fmla="*/ 162061 h 394670"/>
                <a:gd name="connsiteX9" fmla="*/ 301740 w 346897"/>
                <a:gd name="connsiteY9" fmla="*/ 73880 h 394670"/>
                <a:gd name="connsiteX10" fmla="*/ 254929 w 346897"/>
                <a:gd name="connsiteY10" fmla="*/ 0 h 394670"/>
                <a:gd name="connsiteX11" fmla="*/ 147612 w 346897"/>
                <a:gd name="connsiteY11" fmla="*/ 120790 h 394670"/>
                <a:gd name="connsiteX12" fmla="*/ 62776 w 346897"/>
                <a:gd name="connsiteY12" fmla="*/ 252425 h 394670"/>
                <a:gd name="connsiteX13" fmla="*/ 0 w 346897"/>
                <a:gd name="connsiteY13" fmla="*/ 394670 h 394670"/>
                <a:gd name="connsiteX0" fmla="*/ 0 w 346897"/>
                <a:gd name="connsiteY0" fmla="*/ 394670 h 394670"/>
                <a:gd name="connsiteX1" fmla="*/ 66686 w 346897"/>
                <a:gd name="connsiteY1" fmla="*/ 393029 h 394670"/>
                <a:gd name="connsiteX2" fmla="*/ 142097 w 346897"/>
                <a:gd name="connsiteY2" fmla="*/ 394596 h 394670"/>
                <a:gd name="connsiteX3" fmla="*/ 201641 w 346897"/>
                <a:gd name="connsiteY3" fmla="*/ 391400 h 394670"/>
                <a:gd name="connsiteX4" fmla="*/ 270697 w 346897"/>
                <a:gd name="connsiteY4" fmla="*/ 377113 h 394670"/>
                <a:gd name="connsiteX5" fmla="*/ 316694 w 346897"/>
                <a:gd name="connsiteY5" fmla="*/ 335003 h 394670"/>
                <a:gd name="connsiteX6" fmla="*/ 346897 w 346897"/>
                <a:gd name="connsiteY6" fmla="*/ 289007 h 394670"/>
                <a:gd name="connsiteX7" fmla="*/ 346144 w 346897"/>
                <a:gd name="connsiteY7" fmla="*/ 234275 h 394670"/>
                <a:gd name="connsiteX8" fmla="*/ 333473 w 346897"/>
                <a:gd name="connsiteY8" fmla="*/ 162061 h 394670"/>
                <a:gd name="connsiteX9" fmla="*/ 301740 w 346897"/>
                <a:gd name="connsiteY9" fmla="*/ 73880 h 394670"/>
                <a:gd name="connsiteX10" fmla="*/ 254929 w 346897"/>
                <a:gd name="connsiteY10" fmla="*/ 0 h 394670"/>
                <a:gd name="connsiteX11" fmla="*/ 147612 w 346897"/>
                <a:gd name="connsiteY11" fmla="*/ 120790 h 394670"/>
                <a:gd name="connsiteX12" fmla="*/ 62776 w 346897"/>
                <a:gd name="connsiteY12" fmla="*/ 252425 h 394670"/>
                <a:gd name="connsiteX13" fmla="*/ 0 w 346897"/>
                <a:gd name="connsiteY13" fmla="*/ 394670 h 394670"/>
                <a:gd name="connsiteX0" fmla="*/ 0 w 346144"/>
                <a:gd name="connsiteY0" fmla="*/ 394670 h 394670"/>
                <a:gd name="connsiteX1" fmla="*/ 66686 w 346144"/>
                <a:gd name="connsiteY1" fmla="*/ 393029 h 394670"/>
                <a:gd name="connsiteX2" fmla="*/ 142097 w 346144"/>
                <a:gd name="connsiteY2" fmla="*/ 394596 h 394670"/>
                <a:gd name="connsiteX3" fmla="*/ 201641 w 346144"/>
                <a:gd name="connsiteY3" fmla="*/ 391400 h 394670"/>
                <a:gd name="connsiteX4" fmla="*/ 270697 w 346144"/>
                <a:gd name="connsiteY4" fmla="*/ 377113 h 394670"/>
                <a:gd name="connsiteX5" fmla="*/ 316694 w 346144"/>
                <a:gd name="connsiteY5" fmla="*/ 335003 h 394670"/>
                <a:gd name="connsiteX6" fmla="*/ 340531 w 346144"/>
                <a:gd name="connsiteY6" fmla="*/ 281049 h 394670"/>
                <a:gd name="connsiteX7" fmla="*/ 346144 w 346144"/>
                <a:gd name="connsiteY7" fmla="*/ 234275 h 394670"/>
                <a:gd name="connsiteX8" fmla="*/ 333473 w 346144"/>
                <a:gd name="connsiteY8" fmla="*/ 162061 h 394670"/>
                <a:gd name="connsiteX9" fmla="*/ 301740 w 346144"/>
                <a:gd name="connsiteY9" fmla="*/ 73880 h 394670"/>
                <a:gd name="connsiteX10" fmla="*/ 254929 w 346144"/>
                <a:gd name="connsiteY10" fmla="*/ 0 h 394670"/>
                <a:gd name="connsiteX11" fmla="*/ 147612 w 346144"/>
                <a:gd name="connsiteY11" fmla="*/ 120790 h 394670"/>
                <a:gd name="connsiteX12" fmla="*/ 62776 w 346144"/>
                <a:gd name="connsiteY12" fmla="*/ 252425 h 394670"/>
                <a:gd name="connsiteX13" fmla="*/ 0 w 346144"/>
                <a:gd name="connsiteY13" fmla="*/ 394670 h 394670"/>
                <a:gd name="connsiteX0" fmla="*/ 0 w 346144"/>
                <a:gd name="connsiteY0" fmla="*/ 394670 h 394670"/>
                <a:gd name="connsiteX1" fmla="*/ 66686 w 346144"/>
                <a:gd name="connsiteY1" fmla="*/ 393029 h 394670"/>
                <a:gd name="connsiteX2" fmla="*/ 142097 w 346144"/>
                <a:gd name="connsiteY2" fmla="*/ 394596 h 394670"/>
                <a:gd name="connsiteX3" fmla="*/ 201641 w 346144"/>
                <a:gd name="connsiteY3" fmla="*/ 391400 h 394670"/>
                <a:gd name="connsiteX4" fmla="*/ 270697 w 346144"/>
                <a:gd name="connsiteY4" fmla="*/ 377113 h 394670"/>
                <a:gd name="connsiteX5" fmla="*/ 316694 w 346144"/>
                <a:gd name="connsiteY5" fmla="*/ 335003 h 394670"/>
                <a:gd name="connsiteX6" fmla="*/ 340531 w 346144"/>
                <a:gd name="connsiteY6" fmla="*/ 281049 h 394670"/>
                <a:gd name="connsiteX7" fmla="*/ 346144 w 346144"/>
                <a:gd name="connsiteY7" fmla="*/ 234275 h 394670"/>
                <a:gd name="connsiteX8" fmla="*/ 333473 w 346144"/>
                <a:gd name="connsiteY8" fmla="*/ 162061 h 394670"/>
                <a:gd name="connsiteX9" fmla="*/ 301740 w 346144"/>
                <a:gd name="connsiteY9" fmla="*/ 73880 h 394670"/>
                <a:gd name="connsiteX10" fmla="*/ 254929 w 346144"/>
                <a:gd name="connsiteY10" fmla="*/ 0 h 394670"/>
                <a:gd name="connsiteX11" fmla="*/ 136471 w 346144"/>
                <a:gd name="connsiteY11" fmla="*/ 116015 h 394670"/>
                <a:gd name="connsiteX12" fmla="*/ 62776 w 346144"/>
                <a:gd name="connsiteY12" fmla="*/ 252425 h 394670"/>
                <a:gd name="connsiteX13" fmla="*/ 0 w 346144"/>
                <a:gd name="connsiteY13" fmla="*/ 394670 h 394670"/>
                <a:gd name="connsiteX0" fmla="*/ 0 w 346144"/>
                <a:gd name="connsiteY0" fmla="*/ 394670 h 394670"/>
                <a:gd name="connsiteX1" fmla="*/ 66686 w 346144"/>
                <a:gd name="connsiteY1" fmla="*/ 393029 h 394670"/>
                <a:gd name="connsiteX2" fmla="*/ 142097 w 346144"/>
                <a:gd name="connsiteY2" fmla="*/ 394596 h 394670"/>
                <a:gd name="connsiteX3" fmla="*/ 201641 w 346144"/>
                <a:gd name="connsiteY3" fmla="*/ 391400 h 394670"/>
                <a:gd name="connsiteX4" fmla="*/ 270697 w 346144"/>
                <a:gd name="connsiteY4" fmla="*/ 377113 h 394670"/>
                <a:gd name="connsiteX5" fmla="*/ 316694 w 346144"/>
                <a:gd name="connsiteY5" fmla="*/ 335003 h 394670"/>
                <a:gd name="connsiteX6" fmla="*/ 340531 w 346144"/>
                <a:gd name="connsiteY6" fmla="*/ 281049 h 394670"/>
                <a:gd name="connsiteX7" fmla="*/ 346144 w 346144"/>
                <a:gd name="connsiteY7" fmla="*/ 234275 h 394670"/>
                <a:gd name="connsiteX8" fmla="*/ 333473 w 346144"/>
                <a:gd name="connsiteY8" fmla="*/ 162061 h 394670"/>
                <a:gd name="connsiteX9" fmla="*/ 301740 w 346144"/>
                <a:gd name="connsiteY9" fmla="*/ 73880 h 394670"/>
                <a:gd name="connsiteX10" fmla="*/ 254929 w 346144"/>
                <a:gd name="connsiteY10" fmla="*/ 0 h 394670"/>
                <a:gd name="connsiteX11" fmla="*/ 136471 w 346144"/>
                <a:gd name="connsiteY11" fmla="*/ 116015 h 394670"/>
                <a:gd name="connsiteX12" fmla="*/ 54818 w 346144"/>
                <a:gd name="connsiteY12" fmla="*/ 250834 h 394670"/>
                <a:gd name="connsiteX13" fmla="*/ 0 w 346144"/>
                <a:gd name="connsiteY13" fmla="*/ 394670 h 394670"/>
                <a:gd name="connsiteX0" fmla="*/ 0 w 346144"/>
                <a:gd name="connsiteY0" fmla="*/ 394670 h 394670"/>
                <a:gd name="connsiteX1" fmla="*/ 66686 w 346144"/>
                <a:gd name="connsiteY1" fmla="*/ 393029 h 394670"/>
                <a:gd name="connsiteX2" fmla="*/ 142097 w 346144"/>
                <a:gd name="connsiteY2" fmla="*/ 394596 h 394670"/>
                <a:gd name="connsiteX3" fmla="*/ 201641 w 346144"/>
                <a:gd name="connsiteY3" fmla="*/ 391400 h 394670"/>
                <a:gd name="connsiteX4" fmla="*/ 270697 w 346144"/>
                <a:gd name="connsiteY4" fmla="*/ 377113 h 394670"/>
                <a:gd name="connsiteX5" fmla="*/ 324652 w 346144"/>
                <a:gd name="connsiteY5" fmla="*/ 336595 h 394670"/>
                <a:gd name="connsiteX6" fmla="*/ 340531 w 346144"/>
                <a:gd name="connsiteY6" fmla="*/ 281049 h 394670"/>
                <a:gd name="connsiteX7" fmla="*/ 346144 w 346144"/>
                <a:gd name="connsiteY7" fmla="*/ 234275 h 394670"/>
                <a:gd name="connsiteX8" fmla="*/ 333473 w 346144"/>
                <a:gd name="connsiteY8" fmla="*/ 162061 h 394670"/>
                <a:gd name="connsiteX9" fmla="*/ 301740 w 346144"/>
                <a:gd name="connsiteY9" fmla="*/ 73880 h 394670"/>
                <a:gd name="connsiteX10" fmla="*/ 254929 w 346144"/>
                <a:gd name="connsiteY10" fmla="*/ 0 h 394670"/>
                <a:gd name="connsiteX11" fmla="*/ 136471 w 346144"/>
                <a:gd name="connsiteY11" fmla="*/ 116015 h 394670"/>
                <a:gd name="connsiteX12" fmla="*/ 54818 w 346144"/>
                <a:gd name="connsiteY12" fmla="*/ 250834 h 394670"/>
                <a:gd name="connsiteX13" fmla="*/ 0 w 346144"/>
                <a:gd name="connsiteY13" fmla="*/ 394670 h 394670"/>
                <a:gd name="connsiteX0" fmla="*/ 0 w 348489"/>
                <a:gd name="connsiteY0" fmla="*/ 394670 h 394670"/>
                <a:gd name="connsiteX1" fmla="*/ 66686 w 348489"/>
                <a:gd name="connsiteY1" fmla="*/ 393029 h 394670"/>
                <a:gd name="connsiteX2" fmla="*/ 142097 w 348489"/>
                <a:gd name="connsiteY2" fmla="*/ 394596 h 394670"/>
                <a:gd name="connsiteX3" fmla="*/ 201641 w 348489"/>
                <a:gd name="connsiteY3" fmla="*/ 391400 h 394670"/>
                <a:gd name="connsiteX4" fmla="*/ 270697 w 348489"/>
                <a:gd name="connsiteY4" fmla="*/ 377113 h 394670"/>
                <a:gd name="connsiteX5" fmla="*/ 324652 w 348489"/>
                <a:gd name="connsiteY5" fmla="*/ 336595 h 394670"/>
                <a:gd name="connsiteX6" fmla="*/ 348489 w 348489"/>
                <a:gd name="connsiteY6" fmla="*/ 281049 h 394670"/>
                <a:gd name="connsiteX7" fmla="*/ 346144 w 348489"/>
                <a:gd name="connsiteY7" fmla="*/ 234275 h 394670"/>
                <a:gd name="connsiteX8" fmla="*/ 333473 w 348489"/>
                <a:gd name="connsiteY8" fmla="*/ 162061 h 394670"/>
                <a:gd name="connsiteX9" fmla="*/ 301740 w 348489"/>
                <a:gd name="connsiteY9" fmla="*/ 73880 h 394670"/>
                <a:gd name="connsiteX10" fmla="*/ 254929 w 348489"/>
                <a:gd name="connsiteY10" fmla="*/ 0 h 394670"/>
                <a:gd name="connsiteX11" fmla="*/ 136471 w 348489"/>
                <a:gd name="connsiteY11" fmla="*/ 116015 h 394670"/>
                <a:gd name="connsiteX12" fmla="*/ 54818 w 348489"/>
                <a:gd name="connsiteY12" fmla="*/ 250834 h 394670"/>
                <a:gd name="connsiteX13" fmla="*/ 0 w 348489"/>
                <a:gd name="connsiteY13" fmla="*/ 394670 h 394670"/>
                <a:gd name="connsiteX0" fmla="*/ 0 w 348489"/>
                <a:gd name="connsiteY0" fmla="*/ 394670 h 394670"/>
                <a:gd name="connsiteX1" fmla="*/ 66686 w 348489"/>
                <a:gd name="connsiteY1" fmla="*/ 393029 h 394670"/>
                <a:gd name="connsiteX2" fmla="*/ 142097 w 348489"/>
                <a:gd name="connsiteY2" fmla="*/ 394596 h 394670"/>
                <a:gd name="connsiteX3" fmla="*/ 201641 w 348489"/>
                <a:gd name="connsiteY3" fmla="*/ 391400 h 394670"/>
                <a:gd name="connsiteX4" fmla="*/ 270697 w 348489"/>
                <a:gd name="connsiteY4" fmla="*/ 377113 h 394670"/>
                <a:gd name="connsiteX5" fmla="*/ 324652 w 348489"/>
                <a:gd name="connsiteY5" fmla="*/ 336595 h 394670"/>
                <a:gd name="connsiteX6" fmla="*/ 348489 w 348489"/>
                <a:gd name="connsiteY6" fmla="*/ 281049 h 394670"/>
                <a:gd name="connsiteX7" fmla="*/ 346144 w 348489"/>
                <a:gd name="connsiteY7" fmla="*/ 234275 h 394670"/>
                <a:gd name="connsiteX8" fmla="*/ 339839 w 348489"/>
                <a:gd name="connsiteY8" fmla="*/ 157287 h 394670"/>
                <a:gd name="connsiteX9" fmla="*/ 301740 w 348489"/>
                <a:gd name="connsiteY9" fmla="*/ 73880 h 394670"/>
                <a:gd name="connsiteX10" fmla="*/ 254929 w 348489"/>
                <a:gd name="connsiteY10" fmla="*/ 0 h 394670"/>
                <a:gd name="connsiteX11" fmla="*/ 136471 w 348489"/>
                <a:gd name="connsiteY11" fmla="*/ 116015 h 394670"/>
                <a:gd name="connsiteX12" fmla="*/ 54818 w 348489"/>
                <a:gd name="connsiteY12" fmla="*/ 250834 h 394670"/>
                <a:gd name="connsiteX13" fmla="*/ 0 w 348489"/>
                <a:gd name="connsiteY13" fmla="*/ 394670 h 394670"/>
                <a:gd name="connsiteX0" fmla="*/ 0 w 357285"/>
                <a:gd name="connsiteY0" fmla="*/ 394670 h 394670"/>
                <a:gd name="connsiteX1" fmla="*/ 66686 w 357285"/>
                <a:gd name="connsiteY1" fmla="*/ 393029 h 394670"/>
                <a:gd name="connsiteX2" fmla="*/ 142097 w 357285"/>
                <a:gd name="connsiteY2" fmla="*/ 394596 h 394670"/>
                <a:gd name="connsiteX3" fmla="*/ 201641 w 357285"/>
                <a:gd name="connsiteY3" fmla="*/ 391400 h 394670"/>
                <a:gd name="connsiteX4" fmla="*/ 270697 w 357285"/>
                <a:gd name="connsiteY4" fmla="*/ 377113 h 394670"/>
                <a:gd name="connsiteX5" fmla="*/ 324652 w 357285"/>
                <a:gd name="connsiteY5" fmla="*/ 336595 h 394670"/>
                <a:gd name="connsiteX6" fmla="*/ 348489 w 357285"/>
                <a:gd name="connsiteY6" fmla="*/ 281049 h 394670"/>
                <a:gd name="connsiteX7" fmla="*/ 357285 w 357285"/>
                <a:gd name="connsiteY7" fmla="*/ 239050 h 394670"/>
                <a:gd name="connsiteX8" fmla="*/ 339839 w 357285"/>
                <a:gd name="connsiteY8" fmla="*/ 157287 h 394670"/>
                <a:gd name="connsiteX9" fmla="*/ 301740 w 357285"/>
                <a:gd name="connsiteY9" fmla="*/ 73880 h 394670"/>
                <a:gd name="connsiteX10" fmla="*/ 254929 w 357285"/>
                <a:gd name="connsiteY10" fmla="*/ 0 h 394670"/>
                <a:gd name="connsiteX11" fmla="*/ 136471 w 357285"/>
                <a:gd name="connsiteY11" fmla="*/ 116015 h 394670"/>
                <a:gd name="connsiteX12" fmla="*/ 54818 w 357285"/>
                <a:gd name="connsiteY12" fmla="*/ 250834 h 394670"/>
                <a:gd name="connsiteX13" fmla="*/ 0 w 357285"/>
                <a:gd name="connsiteY13" fmla="*/ 394670 h 394670"/>
                <a:gd name="connsiteX0" fmla="*/ 0 w 357285"/>
                <a:gd name="connsiteY0" fmla="*/ 394670 h 394670"/>
                <a:gd name="connsiteX1" fmla="*/ 66686 w 357285"/>
                <a:gd name="connsiteY1" fmla="*/ 393029 h 394670"/>
                <a:gd name="connsiteX2" fmla="*/ 142097 w 357285"/>
                <a:gd name="connsiteY2" fmla="*/ 394596 h 394670"/>
                <a:gd name="connsiteX3" fmla="*/ 201641 w 357285"/>
                <a:gd name="connsiteY3" fmla="*/ 391400 h 394670"/>
                <a:gd name="connsiteX4" fmla="*/ 270697 w 357285"/>
                <a:gd name="connsiteY4" fmla="*/ 377113 h 394670"/>
                <a:gd name="connsiteX5" fmla="*/ 324652 w 357285"/>
                <a:gd name="connsiteY5" fmla="*/ 336595 h 394670"/>
                <a:gd name="connsiteX6" fmla="*/ 356448 w 357285"/>
                <a:gd name="connsiteY6" fmla="*/ 293782 h 394670"/>
                <a:gd name="connsiteX7" fmla="*/ 357285 w 357285"/>
                <a:gd name="connsiteY7" fmla="*/ 239050 h 394670"/>
                <a:gd name="connsiteX8" fmla="*/ 339839 w 357285"/>
                <a:gd name="connsiteY8" fmla="*/ 157287 h 394670"/>
                <a:gd name="connsiteX9" fmla="*/ 301740 w 357285"/>
                <a:gd name="connsiteY9" fmla="*/ 73880 h 394670"/>
                <a:gd name="connsiteX10" fmla="*/ 254929 w 357285"/>
                <a:gd name="connsiteY10" fmla="*/ 0 h 394670"/>
                <a:gd name="connsiteX11" fmla="*/ 136471 w 357285"/>
                <a:gd name="connsiteY11" fmla="*/ 116015 h 394670"/>
                <a:gd name="connsiteX12" fmla="*/ 54818 w 357285"/>
                <a:gd name="connsiteY12" fmla="*/ 250834 h 394670"/>
                <a:gd name="connsiteX13" fmla="*/ 0 w 357285"/>
                <a:gd name="connsiteY13" fmla="*/ 394670 h 394670"/>
                <a:gd name="connsiteX0" fmla="*/ 0 w 357285"/>
                <a:gd name="connsiteY0" fmla="*/ 394670 h 404171"/>
                <a:gd name="connsiteX1" fmla="*/ 63502 w 357285"/>
                <a:gd name="connsiteY1" fmla="*/ 404171 h 404171"/>
                <a:gd name="connsiteX2" fmla="*/ 142097 w 357285"/>
                <a:gd name="connsiteY2" fmla="*/ 394596 h 404171"/>
                <a:gd name="connsiteX3" fmla="*/ 201641 w 357285"/>
                <a:gd name="connsiteY3" fmla="*/ 391400 h 404171"/>
                <a:gd name="connsiteX4" fmla="*/ 270697 w 357285"/>
                <a:gd name="connsiteY4" fmla="*/ 377113 h 404171"/>
                <a:gd name="connsiteX5" fmla="*/ 324652 w 357285"/>
                <a:gd name="connsiteY5" fmla="*/ 336595 h 404171"/>
                <a:gd name="connsiteX6" fmla="*/ 356448 w 357285"/>
                <a:gd name="connsiteY6" fmla="*/ 293782 h 404171"/>
                <a:gd name="connsiteX7" fmla="*/ 357285 w 357285"/>
                <a:gd name="connsiteY7" fmla="*/ 239050 h 404171"/>
                <a:gd name="connsiteX8" fmla="*/ 339839 w 357285"/>
                <a:gd name="connsiteY8" fmla="*/ 157287 h 404171"/>
                <a:gd name="connsiteX9" fmla="*/ 301740 w 357285"/>
                <a:gd name="connsiteY9" fmla="*/ 73880 h 404171"/>
                <a:gd name="connsiteX10" fmla="*/ 254929 w 357285"/>
                <a:gd name="connsiteY10" fmla="*/ 0 h 404171"/>
                <a:gd name="connsiteX11" fmla="*/ 136471 w 357285"/>
                <a:gd name="connsiteY11" fmla="*/ 116015 h 404171"/>
                <a:gd name="connsiteX12" fmla="*/ 54818 w 357285"/>
                <a:gd name="connsiteY12" fmla="*/ 250834 h 404171"/>
                <a:gd name="connsiteX13" fmla="*/ 0 w 357285"/>
                <a:gd name="connsiteY13" fmla="*/ 394670 h 404171"/>
                <a:gd name="connsiteX0" fmla="*/ 0 w 357285"/>
                <a:gd name="connsiteY0" fmla="*/ 394670 h 407329"/>
                <a:gd name="connsiteX1" fmla="*/ 63502 w 357285"/>
                <a:gd name="connsiteY1" fmla="*/ 404171 h 407329"/>
                <a:gd name="connsiteX2" fmla="*/ 142097 w 357285"/>
                <a:gd name="connsiteY2" fmla="*/ 407329 h 407329"/>
                <a:gd name="connsiteX3" fmla="*/ 201641 w 357285"/>
                <a:gd name="connsiteY3" fmla="*/ 391400 h 407329"/>
                <a:gd name="connsiteX4" fmla="*/ 270697 w 357285"/>
                <a:gd name="connsiteY4" fmla="*/ 377113 h 407329"/>
                <a:gd name="connsiteX5" fmla="*/ 324652 w 357285"/>
                <a:gd name="connsiteY5" fmla="*/ 336595 h 407329"/>
                <a:gd name="connsiteX6" fmla="*/ 356448 w 357285"/>
                <a:gd name="connsiteY6" fmla="*/ 293782 h 407329"/>
                <a:gd name="connsiteX7" fmla="*/ 357285 w 357285"/>
                <a:gd name="connsiteY7" fmla="*/ 239050 h 407329"/>
                <a:gd name="connsiteX8" fmla="*/ 339839 w 357285"/>
                <a:gd name="connsiteY8" fmla="*/ 157287 h 407329"/>
                <a:gd name="connsiteX9" fmla="*/ 301740 w 357285"/>
                <a:gd name="connsiteY9" fmla="*/ 73880 h 407329"/>
                <a:gd name="connsiteX10" fmla="*/ 254929 w 357285"/>
                <a:gd name="connsiteY10" fmla="*/ 0 h 407329"/>
                <a:gd name="connsiteX11" fmla="*/ 136471 w 357285"/>
                <a:gd name="connsiteY11" fmla="*/ 116015 h 407329"/>
                <a:gd name="connsiteX12" fmla="*/ 54818 w 357285"/>
                <a:gd name="connsiteY12" fmla="*/ 250834 h 407329"/>
                <a:gd name="connsiteX13" fmla="*/ 0 w 357285"/>
                <a:gd name="connsiteY13" fmla="*/ 394670 h 407329"/>
                <a:gd name="connsiteX0" fmla="*/ 0 w 357285"/>
                <a:gd name="connsiteY0" fmla="*/ 394670 h 407329"/>
                <a:gd name="connsiteX1" fmla="*/ 63502 w 357285"/>
                <a:gd name="connsiteY1" fmla="*/ 404171 h 407329"/>
                <a:gd name="connsiteX2" fmla="*/ 142097 w 357285"/>
                <a:gd name="connsiteY2" fmla="*/ 407329 h 407329"/>
                <a:gd name="connsiteX3" fmla="*/ 206416 w 357285"/>
                <a:gd name="connsiteY3" fmla="*/ 400949 h 407329"/>
                <a:gd name="connsiteX4" fmla="*/ 270697 w 357285"/>
                <a:gd name="connsiteY4" fmla="*/ 377113 h 407329"/>
                <a:gd name="connsiteX5" fmla="*/ 324652 w 357285"/>
                <a:gd name="connsiteY5" fmla="*/ 336595 h 407329"/>
                <a:gd name="connsiteX6" fmla="*/ 356448 w 357285"/>
                <a:gd name="connsiteY6" fmla="*/ 293782 h 407329"/>
                <a:gd name="connsiteX7" fmla="*/ 357285 w 357285"/>
                <a:gd name="connsiteY7" fmla="*/ 239050 h 407329"/>
                <a:gd name="connsiteX8" fmla="*/ 339839 w 357285"/>
                <a:gd name="connsiteY8" fmla="*/ 157287 h 407329"/>
                <a:gd name="connsiteX9" fmla="*/ 301740 w 357285"/>
                <a:gd name="connsiteY9" fmla="*/ 73880 h 407329"/>
                <a:gd name="connsiteX10" fmla="*/ 254929 w 357285"/>
                <a:gd name="connsiteY10" fmla="*/ 0 h 407329"/>
                <a:gd name="connsiteX11" fmla="*/ 136471 w 357285"/>
                <a:gd name="connsiteY11" fmla="*/ 116015 h 407329"/>
                <a:gd name="connsiteX12" fmla="*/ 54818 w 357285"/>
                <a:gd name="connsiteY12" fmla="*/ 250834 h 407329"/>
                <a:gd name="connsiteX13" fmla="*/ 0 w 357285"/>
                <a:gd name="connsiteY13" fmla="*/ 394670 h 407329"/>
                <a:gd name="connsiteX0" fmla="*/ 0 w 362060"/>
                <a:gd name="connsiteY0" fmla="*/ 394670 h 407329"/>
                <a:gd name="connsiteX1" fmla="*/ 63502 w 362060"/>
                <a:gd name="connsiteY1" fmla="*/ 404171 h 407329"/>
                <a:gd name="connsiteX2" fmla="*/ 142097 w 362060"/>
                <a:gd name="connsiteY2" fmla="*/ 407329 h 407329"/>
                <a:gd name="connsiteX3" fmla="*/ 206416 w 362060"/>
                <a:gd name="connsiteY3" fmla="*/ 400949 h 407329"/>
                <a:gd name="connsiteX4" fmla="*/ 270697 w 362060"/>
                <a:gd name="connsiteY4" fmla="*/ 377113 h 407329"/>
                <a:gd name="connsiteX5" fmla="*/ 324652 w 362060"/>
                <a:gd name="connsiteY5" fmla="*/ 336595 h 407329"/>
                <a:gd name="connsiteX6" fmla="*/ 356448 w 362060"/>
                <a:gd name="connsiteY6" fmla="*/ 293782 h 407329"/>
                <a:gd name="connsiteX7" fmla="*/ 362060 w 362060"/>
                <a:gd name="connsiteY7" fmla="*/ 234276 h 407329"/>
                <a:gd name="connsiteX8" fmla="*/ 339839 w 362060"/>
                <a:gd name="connsiteY8" fmla="*/ 157287 h 407329"/>
                <a:gd name="connsiteX9" fmla="*/ 301740 w 362060"/>
                <a:gd name="connsiteY9" fmla="*/ 73880 h 407329"/>
                <a:gd name="connsiteX10" fmla="*/ 254929 w 362060"/>
                <a:gd name="connsiteY10" fmla="*/ 0 h 407329"/>
                <a:gd name="connsiteX11" fmla="*/ 136471 w 362060"/>
                <a:gd name="connsiteY11" fmla="*/ 116015 h 407329"/>
                <a:gd name="connsiteX12" fmla="*/ 54818 w 362060"/>
                <a:gd name="connsiteY12" fmla="*/ 250834 h 407329"/>
                <a:gd name="connsiteX13" fmla="*/ 0 w 362060"/>
                <a:gd name="connsiteY13" fmla="*/ 394670 h 407329"/>
                <a:gd name="connsiteX0" fmla="*/ 0 w 362060"/>
                <a:gd name="connsiteY0" fmla="*/ 394670 h 407329"/>
                <a:gd name="connsiteX1" fmla="*/ 63502 w 362060"/>
                <a:gd name="connsiteY1" fmla="*/ 404171 h 407329"/>
                <a:gd name="connsiteX2" fmla="*/ 142097 w 362060"/>
                <a:gd name="connsiteY2" fmla="*/ 407329 h 407329"/>
                <a:gd name="connsiteX3" fmla="*/ 206416 w 362060"/>
                <a:gd name="connsiteY3" fmla="*/ 400949 h 407329"/>
                <a:gd name="connsiteX4" fmla="*/ 270697 w 362060"/>
                <a:gd name="connsiteY4" fmla="*/ 377113 h 407329"/>
                <a:gd name="connsiteX5" fmla="*/ 324652 w 362060"/>
                <a:gd name="connsiteY5" fmla="*/ 336595 h 407329"/>
                <a:gd name="connsiteX6" fmla="*/ 356448 w 362060"/>
                <a:gd name="connsiteY6" fmla="*/ 293782 h 407329"/>
                <a:gd name="connsiteX7" fmla="*/ 362060 w 362060"/>
                <a:gd name="connsiteY7" fmla="*/ 234276 h 407329"/>
                <a:gd name="connsiteX8" fmla="*/ 344614 w 362060"/>
                <a:gd name="connsiteY8" fmla="*/ 155695 h 407329"/>
                <a:gd name="connsiteX9" fmla="*/ 301740 w 362060"/>
                <a:gd name="connsiteY9" fmla="*/ 73880 h 407329"/>
                <a:gd name="connsiteX10" fmla="*/ 254929 w 362060"/>
                <a:gd name="connsiteY10" fmla="*/ 0 h 407329"/>
                <a:gd name="connsiteX11" fmla="*/ 136471 w 362060"/>
                <a:gd name="connsiteY11" fmla="*/ 116015 h 407329"/>
                <a:gd name="connsiteX12" fmla="*/ 54818 w 362060"/>
                <a:gd name="connsiteY12" fmla="*/ 250834 h 407329"/>
                <a:gd name="connsiteX13" fmla="*/ 0 w 362060"/>
                <a:gd name="connsiteY13" fmla="*/ 394670 h 407329"/>
                <a:gd name="connsiteX0" fmla="*/ 0 w 365244"/>
                <a:gd name="connsiteY0" fmla="*/ 394670 h 407329"/>
                <a:gd name="connsiteX1" fmla="*/ 63502 w 365244"/>
                <a:gd name="connsiteY1" fmla="*/ 404171 h 407329"/>
                <a:gd name="connsiteX2" fmla="*/ 142097 w 365244"/>
                <a:gd name="connsiteY2" fmla="*/ 407329 h 407329"/>
                <a:gd name="connsiteX3" fmla="*/ 206416 w 365244"/>
                <a:gd name="connsiteY3" fmla="*/ 400949 h 407329"/>
                <a:gd name="connsiteX4" fmla="*/ 270697 w 365244"/>
                <a:gd name="connsiteY4" fmla="*/ 377113 h 407329"/>
                <a:gd name="connsiteX5" fmla="*/ 324652 w 365244"/>
                <a:gd name="connsiteY5" fmla="*/ 336595 h 407329"/>
                <a:gd name="connsiteX6" fmla="*/ 356448 w 365244"/>
                <a:gd name="connsiteY6" fmla="*/ 293782 h 407329"/>
                <a:gd name="connsiteX7" fmla="*/ 365244 w 365244"/>
                <a:gd name="connsiteY7" fmla="*/ 226318 h 407329"/>
                <a:gd name="connsiteX8" fmla="*/ 344614 w 365244"/>
                <a:gd name="connsiteY8" fmla="*/ 155695 h 407329"/>
                <a:gd name="connsiteX9" fmla="*/ 301740 w 365244"/>
                <a:gd name="connsiteY9" fmla="*/ 73880 h 407329"/>
                <a:gd name="connsiteX10" fmla="*/ 254929 w 365244"/>
                <a:gd name="connsiteY10" fmla="*/ 0 h 407329"/>
                <a:gd name="connsiteX11" fmla="*/ 136471 w 365244"/>
                <a:gd name="connsiteY11" fmla="*/ 116015 h 407329"/>
                <a:gd name="connsiteX12" fmla="*/ 54818 w 365244"/>
                <a:gd name="connsiteY12" fmla="*/ 250834 h 407329"/>
                <a:gd name="connsiteX13" fmla="*/ 0 w 365244"/>
                <a:gd name="connsiteY13" fmla="*/ 394670 h 407329"/>
                <a:gd name="connsiteX0" fmla="*/ 0 w 365244"/>
                <a:gd name="connsiteY0" fmla="*/ 394670 h 407329"/>
                <a:gd name="connsiteX1" fmla="*/ 63502 w 365244"/>
                <a:gd name="connsiteY1" fmla="*/ 404171 h 407329"/>
                <a:gd name="connsiteX2" fmla="*/ 142097 w 365244"/>
                <a:gd name="connsiteY2" fmla="*/ 407329 h 407329"/>
                <a:gd name="connsiteX3" fmla="*/ 206416 w 365244"/>
                <a:gd name="connsiteY3" fmla="*/ 400949 h 407329"/>
                <a:gd name="connsiteX4" fmla="*/ 270697 w 365244"/>
                <a:gd name="connsiteY4" fmla="*/ 377113 h 407329"/>
                <a:gd name="connsiteX5" fmla="*/ 324652 w 365244"/>
                <a:gd name="connsiteY5" fmla="*/ 336595 h 407329"/>
                <a:gd name="connsiteX6" fmla="*/ 356448 w 365244"/>
                <a:gd name="connsiteY6" fmla="*/ 293782 h 407329"/>
                <a:gd name="connsiteX7" fmla="*/ 365244 w 365244"/>
                <a:gd name="connsiteY7" fmla="*/ 226318 h 407329"/>
                <a:gd name="connsiteX8" fmla="*/ 339839 w 365244"/>
                <a:gd name="connsiteY8" fmla="*/ 144554 h 407329"/>
                <a:gd name="connsiteX9" fmla="*/ 301740 w 365244"/>
                <a:gd name="connsiteY9" fmla="*/ 73880 h 407329"/>
                <a:gd name="connsiteX10" fmla="*/ 254929 w 365244"/>
                <a:gd name="connsiteY10" fmla="*/ 0 h 407329"/>
                <a:gd name="connsiteX11" fmla="*/ 136471 w 365244"/>
                <a:gd name="connsiteY11" fmla="*/ 116015 h 407329"/>
                <a:gd name="connsiteX12" fmla="*/ 54818 w 365244"/>
                <a:gd name="connsiteY12" fmla="*/ 250834 h 407329"/>
                <a:gd name="connsiteX13" fmla="*/ 0 w 365244"/>
                <a:gd name="connsiteY13" fmla="*/ 394670 h 407329"/>
                <a:gd name="connsiteX0" fmla="*/ 0 w 365244"/>
                <a:gd name="connsiteY0" fmla="*/ 394670 h 407329"/>
                <a:gd name="connsiteX1" fmla="*/ 63502 w 365244"/>
                <a:gd name="connsiteY1" fmla="*/ 404171 h 407329"/>
                <a:gd name="connsiteX2" fmla="*/ 142097 w 365244"/>
                <a:gd name="connsiteY2" fmla="*/ 407329 h 407329"/>
                <a:gd name="connsiteX3" fmla="*/ 206416 w 365244"/>
                <a:gd name="connsiteY3" fmla="*/ 400949 h 407329"/>
                <a:gd name="connsiteX4" fmla="*/ 270697 w 365244"/>
                <a:gd name="connsiteY4" fmla="*/ 377113 h 407329"/>
                <a:gd name="connsiteX5" fmla="*/ 324652 w 365244"/>
                <a:gd name="connsiteY5" fmla="*/ 336595 h 407329"/>
                <a:gd name="connsiteX6" fmla="*/ 356448 w 365244"/>
                <a:gd name="connsiteY6" fmla="*/ 293782 h 407329"/>
                <a:gd name="connsiteX7" fmla="*/ 365244 w 365244"/>
                <a:gd name="connsiteY7" fmla="*/ 226318 h 407329"/>
                <a:gd name="connsiteX8" fmla="*/ 339839 w 365244"/>
                <a:gd name="connsiteY8" fmla="*/ 144554 h 407329"/>
                <a:gd name="connsiteX9" fmla="*/ 306515 w 365244"/>
                <a:gd name="connsiteY9" fmla="*/ 75472 h 407329"/>
                <a:gd name="connsiteX10" fmla="*/ 254929 w 365244"/>
                <a:gd name="connsiteY10" fmla="*/ 0 h 407329"/>
                <a:gd name="connsiteX11" fmla="*/ 136471 w 365244"/>
                <a:gd name="connsiteY11" fmla="*/ 116015 h 407329"/>
                <a:gd name="connsiteX12" fmla="*/ 54818 w 365244"/>
                <a:gd name="connsiteY12" fmla="*/ 250834 h 407329"/>
                <a:gd name="connsiteX13" fmla="*/ 0 w 365244"/>
                <a:gd name="connsiteY13" fmla="*/ 394670 h 407329"/>
                <a:gd name="connsiteX0" fmla="*/ 0 w 365244"/>
                <a:gd name="connsiteY0" fmla="*/ 394670 h 407329"/>
                <a:gd name="connsiteX1" fmla="*/ 63502 w 365244"/>
                <a:gd name="connsiteY1" fmla="*/ 404171 h 407329"/>
                <a:gd name="connsiteX2" fmla="*/ 142097 w 365244"/>
                <a:gd name="connsiteY2" fmla="*/ 407329 h 407329"/>
                <a:gd name="connsiteX3" fmla="*/ 206416 w 365244"/>
                <a:gd name="connsiteY3" fmla="*/ 400949 h 407329"/>
                <a:gd name="connsiteX4" fmla="*/ 270697 w 365244"/>
                <a:gd name="connsiteY4" fmla="*/ 377113 h 407329"/>
                <a:gd name="connsiteX5" fmla="*/ 324652 w 365244"/>
                <a:gd name="connsiteY5" fmla="*/ 336595 h 407329"/>
                <a:gd name="connsiteX6" fmla="*/ 356448 w 365244"/>
                <a:gd name="connsiteY6" fmla="*/ 293782 h 407329"/>
                <a:gd name="connsiteX7" fmla="*/ 365244 w 365244"/>
                <a:gd name="connsiteY7" fmla="*/ 226318 h 407329"/>
                <a:gd name="connsiteX8" fmla="*/ 346205 w 365244"/>
                <a:gd name="connsiteY8" fmla="*/ 149328 h 407329"/>
                <a:gd name="connsiteX9" fmla="*/ 306515 w 365244"/>
                <a:gd name="connsiteY9" fmla="*/ 75472 h 407329"/>
                <a:gd name="connsiteX10" fmla="*/ 254929 w 365244"/>
                <a:gd name="connsiteY10" fmla="*/ 0 h 407329"/>
                <a:gd name="connsiteX11" fmla="*/ 136471 w 365244"/>
                <a:gd name="connsiteY11" fmla="*/ 116015 h 407329"/>
                <a:gd name="connsiteX12" fmla="*/ 54818 w 365244"/>
                <a:gd name="connsiteY12" fmla="*/ 250834 h 407329"/>
                <a:gd name="connsiteX13" fmla="*/ 0 w 365244"/>
                <a:gd name="connsiteY13" fmla="*/ 394670 h 407329"/>
                <a:gd name="connsiteX0" fmla="*/ 0 w 365244"/>
                <a:gd name="connsiteY0" fmla="*/ 394670 h 407329"/>
                <a:gd name="connsiteX1" fmla="*/ 63502 w 365244"/>
                <a:gd name="connsiteY1" fmla="*/ 404171 h 407329"/>
                <a:gd name="connsiteX2" fmla="*/ 142097 w 365244"/>
                <a:gd name="connsiteY2" fmla="*/ 407329 h 407329"/>
                <a:gd name="connsiteX3" fmla="*/ 206416 w 365244"/>
                <a:gd name="connsiteY3" fmla="*/ 400949 h 407329"/>
                <a:gd name="connsiteX4" fmla="*/ 270697 w 365244"/>
                <a:gd name="connsiteY4" fmla="*/ 377113 h 407329"/>
                <a:gd name="connsiteX5" fmla="*/ 324652 w 365244"/>
                <a:gd name="connsiteY5" fmla="*/ 336595 h 407329"/>
                <a:gd name="connsiteX6" fmla="*/ 356448 w 365244"/>
                <a:gd name="connsiteY6" fmla="*/ 293782 h 407329"/>
                <a:gd name="connsiteX7" fmla="*/ 365244 w 365244"/>
                <a:gd name="connsiteY7" fmla="*/ 226318 h 407329"/>
                <a:gd name="connsiteX8" fmla="*/ 346205 w 365244"/>
                <a:gd name="connsiteY8" fmla="*/ 149328 h 407329"/>
                <a:gd name="connsiteX9" fmla="*/ 306515 w 365244"/>
                <a:gd name="connsiteY9" fmla="*/ 75472 h 407329"/>
                <a:gd name="connsiteX10" fmla="*/ 254929 w 365244"/>
                <a:gd name="connsiteY10" fmla="*/ 0 h 407329"/>
                <a:gd name="connsiteX11" fmla="*/ 136471 w 365244"/>
                <a:gd name="connsiteY11" fmla="*/ 116015 h 407329"/>
                <a:gd name="connsiteX12" fmla="*/ 54818 w 365244"/>
                <a:gd name="connsiteY12" fmla="*/ 250834 h 407329"/>
                <a:gd name="connsiteX13" fmla="*/ 0 w 365244"/>
                <a:gd name="connsiteY13" fmla="*/ 394670 h 407329"/>
                <a:gd name="connsiteX0" fmla="*/ 0 w 365244"/>
                <a:gd name="connsiteY0" fmla="*/ 394670 h 407329"/>
                <a:gd name="connsiteX1" fmla="*/ 63502 w 365244"/>
                <a:gd name="connsiteY1" fmla="*/ 404171 h 407329"/>
                <a:gd name="connsiteX2" fmla="*/ 142097 w 365244"/>
                <a:gd name="connsiteY2" fmla="*/ 407329 h 407329"/>
                <a:gd name="connsiteX3" fmla="*/ 206416 w 365244"/>
                <a:gd name="connsiteY3" fmla="*/ 400949 h 407329"/>
                <a:gd name="connsiteX4" fmla="*/ 270697 w 365244"/>
                <a:gd name="connsiteY4" fmla="*/ 377113 h 407329"/>
                <a:gd name="connsiteX5" fmla="*/ 324652 w 365244"/>
                <a:gd name="connsiteY5" fmla="*/ 336595 h 407329"/>
                <a:gd name="connsiteX6" fmla="*/ 356448 w 365244"/>
                <a:gd name="connsiteY6" fmla="*/ 293782 h 407329"/>
                <a:gd name="connsiteX7" fmla="*/ 365244 w 365244"/>
                <a:gd name="connsiteY7" fmla="*/ 226318 h 407329"/>
                <a:gd name="connsiteX8" fmla="*/ 346205 w 365244"/>
                <a:gd name="connsiteY8" fmla="*/ 149328 h 407329"/>
                <a:gd name="connsiteX9" fmla="*/ 306515 w 365244"/>
                <a:gd name="connsiteY9" fmla="*/ 75472 h 407329"/>
                <a:gd name="connsiteX10" fmla="*/ 254929 w 365244"/>
                <a:gd name="connsiteY10" fmla="*/ 0 h 407329"/>
                <a:gd name="connsiteX11" fmla="*/ 136471 w 365244"/>
                <a:gd name="connsiteY11" fmla="*/ 116015 h 407329"/>
                <a:gd name="connsiteX12" fmla="*/ 54818 w 365244"/>
                <a:gd name="connsiteY12" fmla="*/ 250834 h 407329"/>
                <a:gd name="connsiteX13" fmla="*/ 0 w 365244"/>
                <a:gd name="connsiteY13" fmla="*/ 394670 h 407329"/>
                <a:gd name="connsiteX0" fmla="*/ 0 w 365244"/>
                <a:gd name="connsiteY0" fmla="*/ 394670 h 407329"/>
                <a:gd name="connsiteX1" fmla="*/ 63502 w 365244"/>
                <a:gd name="connsiteY1" fmla="*/ 404171 h 407329"/>
                <a:gd name="connsiteX2" fmla="*/ 142097 w 365244"/>
                <a:gd name="connsiteY2" fmla="*/ 407329 h 407329"/>
                <a:gd name="connsiteX3" fmla="*/ 206416 w 365244"/>
                <a:gd name="connsiteY3" fmla="*/ 400949 h 407329"/>
                <a:gd name="connsiteX4" fmla="*/ 270697 w 365244"/>
                <a:gd name="connsiteY4" fmla="*/ 377113 h 407329"/>
                <a:gd name="connsiteX5" fmla="*/ 324652 w 365244"/>
                <a:gd name="connsiteY5" fmla="*/ 336595 h 407329"/>
                <a:gd name="connsiteX6" fmla="*/ 356448 w 365244"/>
                <a:gd name="connsiteY6" fmla="*/ 293782 h 407329"/>
                <a:gd name="connsiteX7" fmla="*/ 365244 w 365244"/>
                <a:gd name="connsiteY7" fmla="*/ 226318 h 407329"/>
                <a:gd name="connsiteX8" fmla="*/ 347796 w 365244"/>
                <a:gd name="connsiteY8" fmla="*/ 142962 h 407329"/>
                <a:gd name="connsiteX9" fmla="*/ 306515 w 365244"/>
                <a:gd name="connsiteY9" fmla="*/ 75472 h 407329"/>
                <a:gd name="connsiteX10" fmla="*/ 254929 w 365244"/>
                <a:gd name="connsiteY10" fmla="*/ 0 h 407329"/>
                <a:gd name="connsiteX11" fmla="*/ 136471 w 365244"/>
                <a:gd name="connsiteY11" fmla="*/ 116015 h 407329"/>
                <a:gd name="connsiteX12" fmla="*/ 54818 w 365244"/>
                <a:gd name="connsiteY12" fmla="*/ 250834 h 407329"/>
                <a:gd name="connsiteX13" fmla="*/ 0 w 365244"/>
                <a:gd name="connsiteY13" fmla="*/ 394670 h 407329"/>
                <a:gd name="connsiteX0" fmla="*/ 0 w 365244"/>
                <a:gd name="connsiteY0" fmla="*/ 394670 h 407329"/>
                <a:gd name="connsiteX1" fmla="*/ 63502 w 365244"/>
                <a:gd name="connsiteY1" fmla="*/ 404171 h 407329"/>
                <a:gd name="connsiteX2" fmla="*/ 142097 w 365244"/>
                <a:gd name="connsiteY2" fmla="*/ 407329 h 407329"/>
                <a:gd name="connsiteX3" fmla="*/ 206416 w 365244"/>
                <a:gd name="connsiteY3" fmla="*/ 400949 h 407329"/>
                <a:gd name="connsiteX4" fmla="*/ 270697 w 365244"/>
                <a:gd name="connsiteY4" fmla="*/ 377113 h 407329"/>
                <a:gd name="connsiteX5" fmla="*/ 324652 w 365244"/>
                <a:gd name="connsiteY5" fmla="*/ 336595 h 407329"/>
                <a:gd name="connsiteX6" fmla="*/ 351673 w 365244"/>
                <a:gd name="connsiteY6" fmla="*/ 298556 h 407329"/>
                <a:gd name="connsiteX7" fmla="*/ 365244 w 365244"/>
                <a:gd name="connsiteY7" fmla="*/ 226318 h 407329"/>
                <a:gd name="connsiteX8" fmla="*/ 347796 w 365244"/>
                <a:gd name="connsiteY8" fmla="*/ 142962 h 407329"/>
                <a:gd name="connsiteX9" fmla="*/ 306515 w 365244"/>
                <a:gd name="connsiteY9" fmla="*/ 75472 h 407329"/>
                <a:gd name="connsiteX10" fmla="*/ 254929 w 365244"/>
                <a:gd name="connsiteY10" fmla="*/ 0 h 407329"/>
                <a:gd name="connsiteX11" fmla="*/ 136471 w 365244"/>
                <a:gd name="connsiteY11" fmla="*/ 116015 h 407329"/>
                <a:gd name="connsiteX12" fmla="*/ 54818 w 365244"/>
                <a:gd name="connsiteY12" fmla="*/ 250834 h 407329"/>
                <a:gd name="connsiteX13" fmla="*/ 0 w 365244"/>
                <a:gd name="connsiteY13" fmla="*/ 394670 h 407329"/>
                <a:gd name="connsiteX0" fmla="*/ 0 w 365244"/>
                <a:gd name="connsiteY0" fmla="*/ 394670 h 407329"/>
                <a:gd name="connsiteX1" fmla="*/ 63502 w 365244"/>
                <a:gd name="connsiteY1" fmla="*/ 404171 h 407329"/>
                <a:gd name="connsiteX2" fmla="*/ 142097 w 365244"/>
                <a:gd name="connsiteY2" fmla="*/ 407329 h 407329"/>
                <a:gd name="connsiteX3" fmla="*/ 206416 w 365244"/>
                <a:gd name="connsiteY3" fmla="*/ 400949 h 407329"/>
                <a:gd name="connsiteX4" fmla="*/ 270697 w 365244"/>
                <a:gd name="connsiteY4" fmla="*/ 377113 h 407329"/>
                <a:gd name="connsiteX5" fmla="*/ 321468 w 365244"/>
                <a:gd name="connsiteY5" fmla="*/ 339778 h 407329"/>
                <a:gd name="connsiteX6" fmla="*/ 351673 w 365244"/>
                <a:gd name="connsiteY6" fmla="*/ 298556 h 407329"/>
                <a:gd name="connsiteX7" fmla="*/ 365244 w 365244"/>
                <a:gd name="connsiteY7" fmla="*/ 226318 h 407329"/>
                <a:gd name="connsiteX8" fmla="*/ 347796 w 365244"/>
                <a:gd name="connsiteY8" fmla="*/ 142962 h 407329"/>
                <a:gd name="connsiteX9" fmla="*/ 306515 w 365244"/>
                <a:gd name="connsiteY9" fmla="*/ 75472 h 407329"/>
                <a:gd name="connsiteX10" fmla="*/ 254929 w 365244"/>
                <a:gd name="connsiteY10" fmla="*/ 0 h 407329"/>
                <a:gd name="connsiteX11" fmla="*/ 136471 w 365244"/>
                <a:gd name="connsiteY11" fmla="*/ 116015 h 407329"/>
                <a:gd name="connsiteX12" fmla="*/ 54818 w 365244"/>
                <a:gd name="connsiteY12" fmla="*/ 250834 h 407329"/>
                <a:gd name="connsiteX13" fmla="*/ 0 w 365244"/>
                <a:gd name="connsiteY13" fmla="*/ 394670 h 407329"/>
                <a:gd name="connsiteX0" fmla="*/ 0 w 365244"/>
                <a:gd name="connsiteY0" fmla="*/ 394670 h 407329"/>
                <a:gd name="connsiteX1" fmla="*/ 63502 w 365244"/>
                <a:gd name="connsiteY1" fmla="*/ 404171 h 407329"/>
                <a:gd name="connsiteX2" fmla="*/ 142097 w 365244"/>
                <a:gd name="connsiteY2" fmla="*/ 407329 h 407329"/>
                <a:gd name="connsiteX3" fmla="*/ 206416 w 365244"/>
                <a:gd name="connsiteY3" fmla="*/ 400949 h 407329"/>
                <a:gd name="connsiteX4" fmla="*/ 270697 w 365244"/>
                <a:gd name="connsiteY4" fmla="*/ 377113 h 407329"/>
                <a:gd name="connsiteX5" fmla="*/ 321468 w 365244"/>
                <a:gd name="connsiteY5" fmla="*/ 339778 h 407329"/>
                <a:gd name="connsiteX6" fmla="*/ 351673 w 365244"/>
                <a:gd name="connsiteY6" fmla="*/ 298556 h 407329"/>
                <a:gd name="connsiteX7" fmla="*/ 365244 w 365244"/>
                <a:gd name="connsiteY7" fmla="*/ 226318 h 407329"/>
                <a:gd name="connsiteX8" fmla="*/ 347796 w 365244"/>
                <a:gd name="connsiteY8" fmla="*/ 142962 h 407329"/>
                <a:gd name="connsiteX9" fmla="*/ 306515 w 365244"/>
                <a:gd name="connsiteY9" fmla="*/ 75472 h 407329"/>
                <a:gd name="connsiteX10" fmla="*/ 254929 w 365244"/>
                <a:gd name="connsiteY10" fmla="*/ 0 h 407329"/>
                <a:gd name="connsiteX11" fmla="*/ 136471 w 365244"/>
                <a:gd name="connsiteY11" fmla="*/ 116015 h 407329"/>
                <a:gd name="connsiteX12" fmla="*/ 54818 w 365244"/>
                <a:gd name="connsiteY12" fmla="*/ 250834 h 407329"/>
                <a:gd name="connsiteX13" fmla="*/ 0 w 365244"/>
                <a:gd name="connsiteY13" fmla="*/ 394670 h 407329"/>
                <a:gd name="connsiteX0" fmla="*/ 0 w 365244"/>
                <a:gd name="connsiteY0" fmla="*/ 394670 h 407329"/>
                <a:gd name="connsiteX1" fmla="*/ 63502 w 365244"/>
                <a:gd name="connsiteY1" fmla="*/ 404171 h 407329"/>
                <a:gd name="connsiteX2" fmla="*/ 142097 w 365244"/>
                <a:gd name="connsiteY2" fmla="*/ 407329 h 407329"/>
                <a:gd name="connsiteX3" fmla="*/ 206416 w 365244"/>
                <a:gd name="connsiteY3" fmla="*/ 400949 h 407329"/>
                <a:gd name="connsiteX4" fmla="*/ 270697 w 365244"/>
                <a:gd name="connsiteY4" fmla="*/ 377113 h 407329"/>
                <a:gd name="connsiteX5" fmla="*/ 321468 w 365244"/>
                <a:gd name="connsiteY5" fmla="*/ 339778 h 407329"/>
                <a:gd name="connsiteX6" fmla="*/ 351673 w 365244"/>
                <a:gd name="connsiteY6" fmla="*/ 298556 h 407329"/>
                <a:gd name="connsiteX7" fmla="*/ 365244 w 365244"/>
                <a:gd name="connsiteY7" fmla="*/ 226318 h 407329"/>
                <a:gd name="connsiteX8" fmla="*/ 347796 w 365244"/>
                <a:gd name="connsiteY8" fmla="*/ 142962 h 407329"/>
                <a:gd name="connsiteX9" fmla="*/ 306515 w 365244"/>
                <a:gd name="connsiteY9" fmla="*/ 75472 h 407329"/>
                <a:gd name="connsiteX10" fmla="*/ 254929 w 365244"/>
                <a:gd name="connsiteY10" fmla="*/ 0 h 407329"/>
                <a:gd name="connsiteX11" fmla="*/ 136471 w 365244"/>
                <a:gd name="connsiteY11" fmla="*/ 116015 h 407329"/>
                <a:gd name="connsiteX12" fmla="*/ 54818 w 365244"/>
                <a:gd name="connsiteY12" fmla="*/ 250834 h 407329"/>
                <a:gd name="connsiteX13" fmla="*/ 0 w 365244"/>
                <a:gd name="connsiteY13" fmla="*/ 394670 h 407329"/>
                <a:gd name="connsiteX0" fmla="*/ 0 w 365244"/>
                <a:gd name="connsiteY0" fmla="*/ 394670 h 407329"/>
                <a:gd name="connsiteX1" fmla="*/ 63502 w 365244"/>
                <a:gd name="connsiteY1" fmla="*/ 404171 h 407329"/>
                <a:gd name="connsiteX2" fmla="*/ 142097 w 365244"/>
                <a:gd name="connsiteY2" fmla="*/ 407329 h 407329"/>
                <a:gd name="connsiteX3" fmla="*/ 206416 w 365244"/>
                <a:gd name="connsiteY3" fmla="*/ 400949 h 407329"/>
                <a:gd name="connsiteX4" fmla="*/ 270697 w 365244"/>
                <a:gd name="connsiteY4" fmla="*/ 378704 h 407329"/>
                <a:gd name="connsiteX5" fmla="*/ 321468 w 365244"/>
                <a:gd name="connsiteY5" fmla="*/ 339778 h 407329"/>
                <a:gd name="connsiteX6" fmla="*/ 351673 w 365244"/>
                <a:gd name="connsiteY6" fmla="*/ 298556 h 407329"/>
                <a:gd name="connsiteX7" fmla="*/ 365244 w 365244"/>
                <a:gd name="connsiteY7" fmla="*/ 226318 h 407329"/>
                <a:gd name="connsiteX8" fmla="*/ 347796 w 365244"/>
                <a:gd name="connsiteY8" fmla="*/ 142962 h 407329"/>
                <a:gd name="connsiteX9" fmla="*/ 306515 w 365244"/>
                <a:gd name="connsiteY9" fmla="*/ 75472 h 407329"/>
                <a:gd name="connsiteX10" fmla="*/ 254929 w 365244"/>
                <a:gd name="connsiteY10" fmla="*/ 0 h 407329"/>
                <a:gd name="connsiteX11" fmla="*/ 136471 w 365244"/>
                <a:gd name="connsiteY11" fmla="*/ 116015 h 407329"/>
                <a:gd name="connsiteX12" fmla="*/ 54818 w 365244"/>
                <a:gd name="connsiteY12" fmla="*/ 250834 h 407329"/>
                <a:gd name="connsiteX13" fmla="*/ 0 w 365244"/>
                <a:gd name="connsiteY13" fmla="*/ 394670 h 407329"/>
                <a:gd name="connsiteX0" fmla="*/ 0 w 365244"/>
                <a:gd name="connsiteY0" fmla="*/ 394670 h 407329"/>
                <a:gd name="connsiteX1" fmla="*/ 63502 w 365244"/>
                <a:gd name="connsiteY1" fmla="*/ 404171 h 407329"/>
                <a:gd name="connsiteX2" fmla="*/ 142097 w 365244"/>
                <a:gd name="connsiteY2" fmla="*/ 407329 h 407329"/>
                <a:gd name="connsiteX3" fmla="*/ 206416 w 365244"/>
                <a:gd name="connsiteY3" fmla="*/ 400949 h 407329"/>
                <a:gd name="connsiteX4" fmla="*/ 270697 w 365244"/>
                <a:gd name="connsiteY4" fmla="*/ 378704 h 407329"/>
                <a:gd name="connsiteX5" fmla="*/ 321468 w 365244"/>
                <a:gd name="connsiteY5" fmla="*/ 339778 h 407329"/>
                <a:gd name="connsiteX6" fmla="*/ 351673 w 365244"/>
                <a:gd name="connsiteY6" fmla="*/ 298556 h 407329"/>
                <a:gd name="connsiteX7" fmla="*/ 365244 w 365244"/>
                <a:gd name="connsiteY7" fmla="*/ 226318 h 407329"/>
                <a:gd name="connsiteX8" fmla="*/ 347796 w 365244"/>
                <a:gd name="connsiteY8" fmla="*/ 142962 h 407329"/>
                <a:gd name="connsiteX9" fmla="*/ 306515 w 365244"/>
                <a:gd name="connsiteY9" fmla="*/ 75472 h 407329"/>
                <a:gd name="connsiteX10" fmla="*/ 254929 w 365244"/>
                <a:gd name="connsiteY10" fmla="*/ 0 h 407329"/>
                <a:gd name="connsiteX11" fmla="*/ 136471 w 365244"/>
                <a:gd name="connsiteY11" fmla="*/ 116015 h 407329"/>
                <a:gd name="connsiteX12" fmla="*/ 54818 w 365244"/>
                <a:gd name="connsiteY12" fmla="*/ 250834 h 407329"/>
                <a:gd name="connsiteX13" fmla="*/ 0 w 365244"/>
                <a:gd name="connsiteY13" fmla="*/ 394670 h 407329"/>
                <a:gd name="connsiteX0" fmla="*/ 0 w 365244"/>
                <a:gd name="connsiteY0" fmla="*/ 394670 h 407329"/>
                <a:gd name="connsiteX1" fmla="*/ 63502 w 365244"/>
                <a:gd name="connsiteY1" fmla="*/ 404171 h 407329"/>
                <a:gd name="connsiteX2" fmla="*/ 142097 w 365244"/>
                <a:gd name="connsiteY2" fmla="*/ 407329 h 407329"/>
                <a:gd name="connsiteX3" fmla="*/ 206416 w 365244"/>
                <a:gd name="connsiteY3" fmla="*/ 400949 h 407329"/>
                <a:gd name="connsiteX4" fmla="*/ 270697 w 365244"/>
                <a:gd name="connsiteY4" fmla="*/ 378704 h 407329"/>
                <a:gd name="connsiteX5" fmla="*/ 321468 w 365244"/>
                <a:gd name="connsiteY5" fmla="*/ 339778 h 407329"/>
                <a:gd name="connsiteX6" fmla="*/ 351673 w 365244"/>
                <a:gd name="connsiteY6" fmla="*/ 298556 h 407329"/>
                <a:gd name="connsiteX7" fmla="*/ 365244 w 365244"/>
                <a:gd name="connsiteY7" fmla="*/ 226318 h 407329"/>
                <a:gd name="connsiteX8" fmla="*/ 347796 w 365244"/>
                <a:gd name="connsiteY8" fmla="*/ 142962 h 407329"/>
                <a:gd name="connsiteX9" fmla="*/ 306515 w 365244"/>
                <a:gd name="connsiteY9" fmla="*/ 75472 h 407329"/>
                <a:gd name="connsiteX10" fmla="*/ 254929 w 365244"/>
                <a:gd name="connsiteY10" fmla="*/ 0 h 407329"/>
                <a:gd name="connsiteX11" fmla="*/ 136471 w 365244"/>
                <a:gd name="connsiteY11" fmla="*/ 116015 h 407329"/>
                <a:gd name="connsiteX12" fmla="*/ 54818 w 365244"/>
                <a:gd name="connsiteY12" fmla="*/ 250834 h 407329"/>
                <a:gd name="connsiteX13" fmla="*/ 0 w 365244"/>
                <a:gd name="connsiteY13" fmla="*/ 394670 h 407329"/>
                <a:gd name="connsiteX0" fmla="*/ 0 w 365244"/>
                <a:gd name="connsiteY0" fmla="*/ 394670 h 410513"/>
                <a:gd name="connsiteX1" fmla="*/ 63502 w 365244"/>
                <a:gd name="connsiteY1" fmla="*/ 404171 h 410513"/>
                <a:gd name="connsiteX2" fmla="*/ 135731 w 365244"/>
                <a:gd name="connsiteY2" fmla="*/ 410513 h 410513"/>
                <a:gd name="connsiteX3" fmla="*/ 206416 w 365244"/>
                <a:gd name="connsiteY3" fmla="*/ 400949 h 410513"/>
                <a:gd name="connsiteX4" fmla="*/ 270697 w 365244"/>
                <a:gd name="connsiteY4" fmla="*/ 378704 h 410513"/>
                <a:gd name="connsiteX5" fmla="*/ 321468 w 365244"/>
                <a:gd name="connsiteY5" fmla="*/ 339778 h 410513"/>
                <a:gd name="connsiteX6" fmla="*/ 351673 w 365244"/>
                <a:gd name="connsiteY6" fmla="*/ 298556 h 410513"/>
                <a:gd name="connsiteX7" fmla="*/ 365244 w 365244"/>
                <a:gd name="connsiteY7" fmla="*/ 226318 h 410513"/>
                <a:gd name="connsiteX8" fmla="*/ 347796 w 365244"/>
                <a:gd name="connsiteY8" fmla="*/ 142962 h 410513"/>
                <a:gd name="connsiteX9" fmla="*/ 306515 w 365244"/>
                <a:gd name="connsiteY9" fmla="*/ 75472 h 410513"/>
                <a:gd name="connsiteX10" fmla="*/ 254929 w 365244"/>
                <a:gd name="connsiteY10" fmla="*/ 0 h 410513"/>
                <a:gd name="connsiteX11" fmla="*/ 136471 w 365244"/>
                <a:gd name="connsiteY11" fmla="*/ 116015 h 410513"/>
                <a:gd name="connsiteX12" fmla="*/ 54818 w 365244"/>
                <a:gd name="connsiteY12" fmla="*/ 250834 h 410513"/>
                <a:gd name="connsiteX13" fmla="*/ 0 w 365244"/>
                <a:gd name="connsiteY13" fmla="*/ 394670 h 410513"/>
                <a:gd name="connsiteX0" fmla="*/ 0 w 365244"/>
                <a:gd name="connsiteY0" fmla="*/ 394670 h 410513"/>
                <a:gd name="connsiteX1" fmla="*/ 63502 w 365244"/>
                <a:gd name="connsiteY1" fmla="*/ 404171 h 410513"/>
                <a:gd name="connsiteX2" fmla="*/ 135731 w 365244"/>
                <a:gd name="connsiteY2" fmla="*/ 410513 h 410513"/>
                <a:gd name="connsiteX3" fmla="*/ 206416 w 365244"/>
                <a:gd name="connsiteY3" fmla="*/ 400949 h 410513"/>
                <a:gd name="connsiteX4" fmla="*/ 270697 w 365244"/>
                <a:gd name="connsiteY4" fmla="*/ 378704 h 410513"/>
                <a:gd name="connsiteX5" fmla="*/ 321468 w 365244"/>
                <a:gd name="connsiteY5" fmla="*/ 339778 h 410513"/>
                <a:gd name="connsiteX6" fmla="*/ 351673 w 365244"/>
                <a:gd name="connsiteY6" fmla="*/ 298556 h 410513"/>
                <a:gd name="connsiteX7" fmla="*/ 365244 w 365244"/>
                <a:gd name="connsiteY7" fmla="*/ 226318 h 410513"/>
                <a:gd name="connsiteX8" fmla="*/ 347796 w 365244"/>
                <a:gd name="connsiteY8" fmla="*/ 142962 h 410513"/>
                <a:gd name="connsiteX9" fmla="*/ 306515 w 365244"/>
                <a:gd name="connsiteY9" fmla="*/ 75472 h 410513"/>
                <a:gd name="connsiteX10" fmla="*/ 254929 w 365244"/>
                <a:gd name="connsiteY10" fmla="*/ 0 h 410513"/>
                <a:gd name="connsiteX11" fmla="*/ 136471 w 365244"/>
                <a:gd name="connsiteY11" fmla="*/ 116015 h 410513"/>
                <a:gd name="connsiteX12" fmla="*/ 54818 w 365244"/>
                <a:gd name="connsiteY12" fmla="*/ 250834 h 410513"/>
                <a:gd name="connsiteX13" fmla="*/ 0 w 365244"/>
                <a:gd name="connsiteY13" fmla="*/ 394670 h 410513"/>
                <a:gd name="connsiteX0" fmla="*/ 0 w 365244"/>
                <a:gd name="connsiteY0" fmla="*/ 394670 h 410513"/>
                <a:gd name="connsiteX1" fmla="*/ 63502 w 365244"/>
                <a:gd name="connsiteY1" fmla="*/ 404171 h 410513"/>
                <a:gd name="connsiteX2" fmla="*/ 135731 w 365244"/>
                <a:gd name="connsiteY2" fmla="*/ 410513 h 410513"/>
                <a:gd name="connsiteX3" fmla="*/ 206416 w 365244"/>
                <a:gd name="connsiteY3" fmla="*/ 400949 h 410513"/>
                <a:gd name="connsiteX4" fmla="*/ 270697 w 365244"/>
                <a:gd name="connsiteY4" fmla="*/ 378704 h 410513"/>
                <a:gd name="connsiteX5" fmla="*/ 321468 w 365244"/>
                <a:gd name="connsiteY5" fmla="*/ 339778 h 410513"/>
                <a:gd name="connsiteX6" fmla="*/ 351673 w 365244"/>
                <a:gd name="connsiteY6" fmla="*/ 298556 h 410513"/>
                <a:gd name="connsiteX7" fmla="*/ 365244 w 365244"/>
                <a:gd name="connsiteY7" fmla="*/ 226318 h 410513"/>
                <a:gd name="connsiteX8" fmla="*/ 347796 w 365244"/>
                <a:gd name="connsiteY8" fmla="*/ 142962 h 410513"/>
                <a:gd name="connsiteX9" fmla="*/ 306515 w 365244"/>
                <a:gd name="connsiteY9" fmla="*/ 75472 h 410513"/>
                <a:gd name="connsiteX10" fmla="*/ 254929 w 365244"/>
                <a:gd name="connsiteY10" fmla="*/ 0 h 410513"/>
                <a:gd name="connsiteX11" fmla="*/ 136471 w 365244"/>
                <a:gd name="connsiteY11" fmla="*/ 116015 h 410513"/>
                <a:gd name="connsiteX12" fmla="*/ 54818 w 365244"/>
                <a:gd name="connsiteY12" fmla="*/ 250834 h 410513"/>
                <a:gd name="connsiteX13" fmla="*/ 0 w 365244"/>
                <a:gd name="connsiteY13" fmla="*/ 394670 h 410513"/>
                <a:gd name="connsiteX0" fmla="*/ 0 w 365244"/>
                <a:gd name="connsiteY0" fmla="*/ 394670 h 410513"/>
                <a:gd name="connsiteX1" fmla="*/ 66685 w 365244"/>
                <a:gd name="connsiteY1" fmla="*/ 405763 h 410513"/>
                <a:gd name="connsiteX2" fmla="*/ 135731 w 365244"/>
                <a:gd name="connsiteY2" fmla="*/ 410513 h 410513"/>
                <a:gd name="connsiteX3" fmla="*/ 206416 w 365244"/>
                <a:gd name="connsiteY3" fmla="*/ 400949 h 410513"/>
                <a:gd name="connsiteX4" fmla="*/ 270697 w 365244"/>
                <a:gd name="connsiteY4" fmla="*/ 378704 h 410513"/>
                <a:gd name="connsiteX5" fmla="*/ 321468 w 365244"/>
                <a:gd name="connsiteY5" fmla="*/ 339778 h 410513"/>
                <a:gd name="connsiteX6" fmla="*/ 351673 w 365244"/>
                <a:gd name="connsiteY6" fmla="*/ 298556 h 410513"/>
                <a:gd name="connsiteX7" fmla="*/ 365244 w 365244"/>
                <a:gd name="connsiteY7" fmla="*/ 226318 h 410513"/>
                <a:gd name="connsiteX8" fmla="*/ 347796 w 365244"/>
                <a:gd name="connsiteY8" fmla="*/ 142962 h 410513"/>
                <a:gd name="connsiteX9" fmla="*/ 306515 w 365244"/>
                <a:gd name="connsiteY9" fmla="*/ 75472 h 410513"/>
                <a:gd name="connsiteX10" fmla="*/ 254929 w 365244"/>
                <a:gd name="connsiteY10" fmla="*/ 0 h 410513"/>
                <a:gd name="connsiteX11" fmla="*/ 136471 w 365244"/>
                <a:gd name="connsiteY11" fmla="*/ 116015 h 410513"/>
                <a:gd name="connsiteX12" fmla="*/ 54818 w 365244"/>
                <a:gd name="connsiteY12" fmla="*/ 250834 h 410513"/>
                <a:gd name="connsiteX13" fmla="*/ 0 w 365244"/>
                <a:gd name="connsiteY13" fmla="*/ 394670 h 410513"/>
                <a:gd name="connsiteX0" fmla="*/ 0 w 365244"/>
                <a:gd name="connsiteY0" fmla="*/ 394670 h 410513"/>
                <a:gd name="connsiteX1" fmla="*/ 66685 w 365244"/>
                <a:gd name="connsiteY1" fmla="*/ 405763 h 410513"/>
                <a:gd name="connsiteX2" fmla="*/ 140506 w 365244"/>
                <a:gd name="connsiteY2" fmla="*/ 410513 h 410513"/>
                <a:gd name="connsiteX3" fmla="*/ 206416 w 365244"/>
                <a:gd name="connsiteY3" fmla="*/ 400949 h 410513"/>
                <a:gd name="connsiteX4" fmla="*/ 270697 w 365244"/>
                <a:gd name="connsiteY4" fmla="*/ 378704 h 410513"/>
                <a:gd name="connsiteX5" fmla="*/ 321468 w 365244"/>
                <a:gd name="connsiteY5" fmla="*/ 339778 h 410513"/>
                <a:gd name="connsiteX6" fmla="*/ 351673 w 365244"/>
                <a:gd name="connsiteY6" fmla="*/ 298556 h 410513"/>
                <a:gd name="connsiteX7" fmla="*/ 365244 w 365244"/>
                <a:gd name="connsiteY7" fmla="*/ 226318 h 410513"/>
                <a:gd name="connsiteX8" fmla="*/ 347796 w 365244"/>
                <a:gd name="connsiteY8" fmla="*/ 142962 h 410513"/>
                <a:gd name="connsiteX9" fmla="*/ 306515 w 365244"/>
                <a:gd name="connsiteY9" fmla="*/ 75472 h 410513"/>
                <a:gd name="connsiteX10" fmla="*/ 254929 w 365244"/>
                <a:gd name="connsiteY10" fmla="*/ 0 h 410513"/>
                <a:gd name="connsiteX11" fmla="*/ 136471 w 365244"/>
                <a:gd name="connsiteY11" fmla="*/ 116015 h 410513"/>
                <a:gd name="connsiteX12" fmla="*/ 54818 w 365244"/>
                <a:gd name="connsiteY12" fmla="*/ 250834 h 410513"/>
                <a:gd name="connsiteX13" fmla="*/ 0 w 365244"/>
                <a:gd name="connsiteY13" fmla="*/ 394670 h 410513"/>
                <a:gd name="connsiteX0" fmla="*/ 0 w 365244"/>
                <a:gd name="connsiteY0" fmla="*/ 394670 h 410513"/>
                <a:gd name="connsiteX1" fmla="*/ 66685 w 365244"/>
                <a:gd name="connsiteY1" fmla="*/ 405763 h 410513"/>
                <a:gd name="connsiteX2" fmla="*/ 140506 w 365244"/>
                <a:gd name="connsiteY2" fmla="*/ 410513 h 410513"/>
                <a:gd name="connsiteX3" fmla="*/ 206416 w 365244"/>
                <a:gd name="connsiteY3" fmla="*/ 400949 h 410513"/>
                <a:gd name="connsiteX4" fmla="*/ 264331 w 365244"/>
                <a:gd name="connsiteY4" fmla="*/ 377112 h 410513"/>
                <a:gd name="connsiteX5" fmla="*/ 321468 w 365244"/>
                <a:gd name="connsiteY5" fmla="*/ 339778 h 410513"/>
                <a:gd name="connsiteX6" fmla="*/ 351673 w 365244"/>
                <a:gd name="connsiteY6" fmla="*/ 298556 h 410513"/>
                <a:gd name="connsiteX7" fmla="*/ 365244 w 365244"/>
                <a:gd name="connsiteY7" fmla="*/ 226318 h 410513"/>
                <a:gd name="connsiteX8" fmla="*/ 347796 w 365244"/>
                <a:gd name="connsiteY8" fmla="*/ 142962 h 410513"/>
                <a:gd name="connsiteX9" fmla="*/ 306515 w 365244"/>
                <a:gd name="connsiteY9" fmla="*/ 75472 h 410513"/>
                <a:gd name="connsiteX10" fmla="*/ 254929 w 365244"/>
                <a:gd name="connsiteY10" fmla="*/ 0 h 410513"/>
                <a:gd name="connsiteX11" fmla="*/ 136471 w 365244"/>
                <a:gd name="connsiteY11" fmla="*/ 116015 h 410513"/>
                <a:gd name="connsiteX12" fmla="*/ 54818 w 365244"/>
                <a:gd name="connsiteY12" fmla="*/ 250834 h 410513"/>
                <a:gd name="connsiteX13" fmla="*/ 0 w 365244"/>
                <a:gd name="connsiteY13" fmla="*/ 394670 h 410513"/>
                <a:gd name="connsiteX0" fmla="*/ 0 w 365244"/>
                <a:gd name="connsiteY0" fmla="*/ 394670 h 410513"/>
                <a:gd name="connsiteX1" fmla="*/ 66685 w 365244"/>
                <a:gd name="connsiteY1" fmla="*/ 405763 h 410513"/>
                <a:gd name="connsiteX2" fmla="*/ 140506 w 365244"/>
                <a:gd name="connsiteY2" fmla="*/ 410513 h 410513"/>
                <a:gd name="connsiteX3" fmla="*/ 206416 w 365244"/>
                <a:gd name="connsiteY3" fmla="*/ 400949 h 410513"/>
                <a:gd name="connsiteX4" fmla="*/ 267514 w 365244"/>
                <a:gd name="connsiteY4" fmla="*/ 378704 h 410513"/>
                <a:gd name="connsiteX5" fmla="*/ 321468 w 365244"/>
                <a:gd name="connsiteY5" fmla="*/ 339778 h 410513"/>
                <a:gd name="connsiteX6" fmla="*/ 351673 w 365244"/>
                <a:gd name="connsiteY6" fmla="*/ 298556 h 410513"/>
                <a:gd name="connsiteX7" fmla="*/ 365244 w 365244"/>
                <a:gd name="connsiteY7" fmla="*/ 226318 h 410513"/>
                <a:gd name="connsiteX8" fmla="*/ 347796 w 365244"/>
                <a:gd name="connsiteY8" fmla="*/ 142962 h 410513"/>
                <a:gd name="connsiteX9" fmla="*/ 306515 w 365244"/>
                <a:gd name="connsiteY9" fmla="*/ 75472 h 410513"/>
                <a:gd name="connsiteX10" fmla="*/ 254929 w 365244"/>
                <a:gd name="connsiteY10" fmla="*/ 0 h 410513"/>
                <a:gd name="connsiteX11" fmla="*/ 136471 w 365244"/>
                <a:gd name="connsiteY11" fmla="*/ 116015 h 410513"/>
                <a:gd name="connsiteX12" fmla="*/ 54818 w 365244"/>
                <a:gd name="connsiteY12" fmla="*/ 250834 h 410513"/>
                <a:gd name="connsiteX13" fmla="*/ 0 w 365244"/>
                <a:gd name="connsiteY13" fmla="*/ 394670 h 410513"/>
                <a:gd name="connsiteX0" fmla="*/ 0 w 365244"/>
                <a:gd name="connsiteY0" fmla="*/ 394670 h 410513"/>
                <a:gd name="connsiteX1" fmla="*/ 66685 w 365244"/>
                <a:gd name="connsiteY1" fmla="*/ 405763 h 410513"/>
                <a:gd name="connsiteX2" fmla="*/ 140506 w 365244"/>
                <a:gd name="connsiteY2" fmla="*/ 410513 h 410513"/>
                <a:gd name="connsiteX3" fmla="*/ 206416 w 365244"/>
                <a:gd name="connsiteY3" fmla="*/ 400949 h 410513"/>
                <a:gd name="connsiteX4" fmla="*/ 267514 w 365244"/>
                <a:gd name="connsiteY4" fmla="*/ 378704 h 410513"/>
                <a:gd name="connsiteX5" fmla="*/ 321468 w 365244"/>
                <a:gd name="connsiteY5" fmla="*/ 339778 h 410513"/>
                <a:gd name="connsiteX6" fmla="*/ 351673 w 365244"/>
                <a:gd name="connsiteY6" fmla="*/ 298556 h 410513"/>
                <a:gd name="connsiteX7" fmla="*/ 365244 w 365244"/>
                <a:gd name="connsiteY7" fmla="*/ 226318 h 410513"/>
                <a:gd name="connsiteX8" fmla="*/ 347796 w 365244"/>
                <a:gd name="connsiteY8" fmla="*/ 142962 h 410513"/>
                <a:gd name="connsiteX9" fmla="*/ 306515 w 365244"/>
                <a:gd name="connsiteY9" fmla="*/ 75472 h 410513"/>
                <a:gd name="connsiteX10" fmla="*/ 254929 w 365244"/>
                <a:gd name="connsiteY10" fmla="*/ 0 h 410513"/>
                <a:gd name="connsiteX11" fmla="*/ 136471 w 365244"/>
                <a:gd name="connsiteY11" fmla="*/ 116015 h 410513"/>
                <a:gd name="connsiteX12" fmla="*/ 54818 w 365244"/>
                <a:gd name="connsiteY12" fmla="*/ 250834 h 410513"/>
                <a:gd name="connsiteX13" fmla="*/ 0 w 365244"/>
                <a:gd name="connsiteY13" fmla="*/ 394670 h 410513"/>
                <a:gd name="connsiteX0" fmla="*/ 0 w 365244"/>
                <a:gd name="connsiteY0" fmla="*/ 394670 h 410513"/>
                <a:gd name="connsiteX1" fmla="*/ 66685 w 365244"/>
                <a:gd name="connsiteY1" fmla="*/ 405763 h 410513"/>
                <a:gd name="connsiteX2" fmla="*/ 140506 w 365244"/>
                <a:gd name="connsiteY2" fmla="*/ 410513 h 410513"/>
                <a:gd name="connsiteX3" fmla="*/ 206416 w 365244"/>
                <a:gd name="connsiteY3" fmla="*/ 400949 h 410513"/>
                <a:gd name="connsiteX4" fmla="*/ 267514 w 365244"/>
                <a:gd name="connsiteY4" fmla="*/ 378704 h 410513"/>
                <a:gd name="connsiteX5" fmla="*/ 321468 w 365244"/>
                <a:gd name="connsiteY5" fmla="*/ 339778 h 410513"/>
                <a:gd name="connsiteX6" fmla="*/ 351673 w 365244"/>
                <a:gd name="connsiteY6" fmla="*/ 298556 h 410513"/>
                <a:gd name="connsiteX7" fmla="*/ 365244 w 365244"/>
                <a:gd name="connsiteY7" fmla="*/ 226318 h 410513"/>
                <a:gd name="connsiteX8" fmla="*/ 347796 w 365244"/>
                <a:gd name="connsiteY8" fmla="*/ 142962 h 410513"/>
                <a:gd name="connsiteX9" fmla="*/ 311290 w 365244"/>
                <a:gd name="connsiteY9" fmla="*/ 75472 h 410513"/>
                <a:gd name="connsiteX10" fmla="*/ 254929 w 365244"/>
                <a:gd name="connsiteY10" fmla="*/ 0 h 410513"/>
                <a:gd name="connsiteX11" fmla="*/ 136471 w 365244"/>
                <a:gd name="connsiteY11" fmla="*/ 116015 h 410513"/>
                <a:gd name="connsiteX12" fmla="*/ 54818 w 365244"/>
                <a:gd name="connsiteY12" fmla="*/ 250834 h 410513"/>
                <a:gd name="connsiteX13" fmla="*/ 0 w 365244"/>
                <a:gd name="connsiteY13" fmla="*/ 394670 h 410513"/>
                <a:gd name="connsiteX0" fmla="*/ 0 w 365244"/>
                <a:gd name="connsiteY0" fmla="*/ 394670 h 410513"/>
                <a:gd name="connsiteX1" fmla="*/ 66685 w 365244"/>
                <a:gd name="connsiteY1" fmla="*/ 405763 h 410513"/>
                <a:gd name="connsiteX2" fmla="*/ 140506 w 365244"/>
                <a:gd name="connsiteY2" fmla="*/ 410513 h 410513"/>
                <a:gd name="connsiteX3" fmla="*/ 206416 w 365244"/>
                <a:gd name="connsiteY3" fmla="*/ 400949 h 410513"/>
                <a:gd name="connsiteX4" fmla="*/ 267514 w 365244"/>
                <a:gd name="connsiteY4" fmla="*/ 378704 h 410513"/>
                <a:gd name="connsiteX5" fmla="*/ 321468 w 365244"/>
                <a:gd name="connsiteY5" fmla="*/ 339778 h 410513"/>
                <a:gd name="connsiteX6" fmla="*/ 351673 w 365244"/>
                <a:gd name="connsiteY6" fmla="*/ 298556 h 410513"/>
                <a:gd name="connsiteX7" fmla="*/ 365244 w 365244"/>
                <a:gd name="connsiteY7" fmla="*/ 226318 h 410513"/>
                <a:gd name="connsiteX8" fmla="*/ 347796 w 365244"/>
                <a:gd name="connsiteY8" fmla="*/ 142962 h 410513"/>
                <a:gd name="connsiteX9" fmla="*/ 311290 w 365244"/>
                <a:gd name="connsiteY9" fmla="*/ 75472 h 410513"/>
                <a:gd name="connsiteX10" fmla="*/ 254929 w 365244"/>
                <a:gd name="connsiteY10" fmla="*/ 0 h 410513"/>
                <a:gd name="connsiteX11" fmla="*/ 136471 w 365244"/>
                <a:gd name="connsiteY11" fmla="*/ 116015 h 410513"/>
                <a:gd name="connsiteX12" fmla="*/ 54818 w 365244"/>
                <a:gd name="connsiteY12" fmla="*/ 250834 h 410513"/>
                <a:gd name="connsiteX13" fmla="*/ 0 w 365244"/>
                <a:gd name="connsiteY13" fmla="*/ 394670 h 410513"/>
                <a:gd name="connsiteX0" fmla="*/ 0 w 365244"/>
                <a:gd name="connsiteY0" fmla="*/ 394670 h 410513"/>
                <a:gd name="connsiteX1" fmla="*/ 66685 w 365244"/>
                <a:gd name="connsiteY1" fmla="*/ 405763 h 410513"/>
                <a:gd name="connsiteX2" fmla="*/ 140506 w 365244"/>
                <a:gd name="connsiteY2" fmla="*/ 410513 h 410513"/>
                <a:gd name="connsiteX3" fmla="*/ 206416 w 365244"/>
                <a:gd name="connsiteY3" fmla="*/ 400949 h 410513"/>
                <a:gd name="connsiteX4" fmla="*/ 267514 w 365244"/>
                <a:gd name="connsiteY4" fmla="*/ 378704 h 410513"/>
                <a:gd name="connsiteX5" fmla="*/ 321468 w 365244"/>
                <a:gd name="connsiteY5" fmla="*/ 339778 h 410513"/>
                <a:gd name="connsiteX6" fmla="*/ 351673 w 365244"/>
                <a:gd name="connsiteY6" fmla="*/ 298556 h 410513"/>
                <a:gd name="connsiteX7" fmla="*/ 365244 w 365244"/>
                <a:gd name="connsiteY7" fmla="*/ 226318 h 410513"/>
                <a:gd name="connsiteX8" fmla="*/ 347796 w 365244"/>
                <a:gd name="connsiteY8" fmla="*/ 142962 h 410513"/>
                <a:gd name="connsiteX9" fmla="*/ 311290 w 365244"/>
                <a:gd name="connsiteY9" fmla="*/ 75472 h 410513"/>
                <a:gd name="connsiteX10" fmla="*/ 254929 w 365244"/>
                <a:gd name="connsiteY10" fmla="*/ 0 h 410513"/>
                <a:gd name="connsiteX11" fmla="*/ 136471 w 365244"/>
                <a:gd name="connsiteY11" fmla="*/ 116015 h 410513"/>
                <a:gd name="connsiteX12" fmla="*/ 54818 w 365244"/>
                <a:gd name="connsiteY12" fmla="*/ 250834 h 410513"/>
                <a:gd name="connsiteX13" fmla="*/ 0 w 365244"/>
                <a:gd name="connsiteY13" fmla="*/ 394670 h 410513"/>
                <a:gd name="connsiteX0" fmla="*/ 0 w 365244"/>
                <a:gd name="connsiteY0" fmla="*/ 394670 h 410513"/>
                <a:gd name="connsiteX1" fmla="*/ 66685 w 365244"/>
                <a:gd name="connsiteY1" fmla="*/ 405763 h 410513"/>
                <a:gd name="connsiteX2" fmla="*/ 140506 w 365244"/>
                <a:gd name="connsiteY2" fmla="*/ 410513 h 410513"/>
                <a:gd name="connsiteX3" fmla="*/ 206416 w 365244"/>
                <a:gd name="connsiteY3" fmla="*/ 400949 h 410513"/>
                <a:gd name="connsiteX4" fmla="*/ 267514 w 365244"/>
                <a:gd name="connsiteY4" fmla="*/ 378704 h 410513"/>
                <a:gd name="connsiteX5" fmla="*/ 321468 w 365244"/>
                <a:gd name="connsiteY5" fmla="*/ 339778 h 410513"/>
                <a:gd name="connsiteX6" fmla="*/ 351673 w 365244"/>
                <a:gd name="connsiteY6" fmla="*/ 298556 h 410513"/>
                <a:gd name="connsiteX7" fmla="*/ 365244 w 365244"/>
                <a:gd name="connsiteY7" fmla="*/ 226318 h 410513"/>
                <a:gd name="connsiteX8" fmla="*/ 352571 w 365244"/>
                <a:gd name="connsiteY8" fmla="*/ 155695 h 410513"/>
                <a:gd name="connsiteX9" fmla="*/ 311290 w 365244"/>
                <a:gd name="connsiteY9" fmla="*/ 75472 h 410513"/>
                <a:gd name="connsiteX10" fmla="*/ 254929 w 365244"/>
                <a:gd name="connsiteY10" fmla="*/ 0 h 410513"/>
                <a:gd name="connsiteX11" fmla="*/ 136471 w 365244"/>
                <a:gd name="connsiteY11" fmla="*/ 116015 h 410513"/>
                <a:gd name="connsiteX12" fmla="*/ 54818 w 365244"/>
                <a:gd name="connsiteY12" fmla="*/ 250834 h 410513"/>
                <a:gd name="connsiteX13" fmla="*/ 0 w 365244"/>
                <a:gd name="connsiteY13" fmla="*/ 394670 h 410513"/>
                <a:gd name="connsiteX0" fmla="*/ 0 w 365244"/>
                <a:gd name="connsiteY0" fmla="*/ 394670 h 410513"/>
                <a:gd name="connsiteX1" fmla="*/ 66685 w 365244"/>
                <a:gd name="connsiteY1" fmla="*/ 405763 h 410513"/>
                <a:gd name="connsiteX2" fmla="*/ 140506 w 365244"/>
                <a:gd name="connsiteY2" fmla="*/ 410513 h 410513"/>
                <a:gd name="connsiteX3" fmla="*/ 206416 w 365244"/>
                <a:gd name="connsiteY3" fmla="*/ 400949 h 410513"/>
                <a:gd name="connsiteX4" fmla="*/ 267514 w 365244"/>
                <a:gd name="connsiteY4" fmla="*/ 378704 h 410513"/>
                <a:gd name="connsiteX5" fmla="*/ 321468 w 365244"/>
                <a:gd name="connsiteY5" fmla="*/ 339778 h 410513"/>
                <a:gd name="connsiteX6" fmla="*/ 351673 w 365244"/>
                <a:gd name="connsiteY6" fmla="*/ 298556 h 410513"/>
                <a:gd name="connsiteX7" fmla="*/ 365244 w 365244"/>
                <a:gd name="connsiteY7" fmla="*/ 226318 h 410513"/>
                <a:gd name="connsiteX8" fmla="*/ 352571 w 365244"/>
                <a:gd name="connsiteY8" fmla="*/ 155695 h 410513"/>
                <a:gd name="connsiteX9" fmla="*/ 311290 w 365244"/>
                <a:gd name="connsiteY9" fmla="*/ 75472 h 410513"/>
                <a:gd name="connsiteX10" fmla="*/ 254929 w 365244"/>
                <a:gd name="connsiteY10" fmla="*/ 0 h 410513"/>
                <a:gd name="connsiteX11" fmla="*/ 136471 w 365244"/>
                <a:gd name="connsiteY11" fmla="*/ 116015 h 410513"/>
                <a:gd name="connsiteX12" fmla="*/ 54818 w 365244"/>
                <a:gd name="connsiteY12" fmla="*/ 250834 h 410513"/>
                <a:gd name="connsiteX13" fmla="*/ 0 w 365244"/>
                <a:gd name="connsiteY13" fmla="*/ 394670 h 410513"/>
                <a:gd name="connsiteX0" fmla="*/ 0 w 365244"/>
                <a:gd name="connsiteY0" fmla="*/ 394670 h 410513"/>
                <a:gd name="connsiteX1" fmla="*/ 66685 w 365244"/>
                <a:gd name="connsiteY1" fmla="*/ 405763 h 410513"/>
                <a:gd name="connsiteX2" fmla="*/ 140506 w 365244"/>
                <a:gd name="connsiteY2" fmla="*/ 410513 h 410513"/>
                <a:gd name="connsiteX3" fmla="*/ 206416 w 365244"/>
                <a:gd name="connsiteY3" fmla="*/ 400949 h 410513"/>
                <a:gd name="connsiteX4" fmla="*/ 267514 w 365244"/>
                <a:gd name="connsiteY4" fmla="*/ 378704 h 410513"/>
                <a:gd name="connsiteX5" fmla="*/ 321468 w 365244"/>
                <a:gd name="connsiteY5" fmla="*/ 339778 h 410513"/>
                <a:gd name="connsiteX6" fmla="*/ 351673 w 365244"/>
                <a:gd name="connsiteY6" fmla="*/ 298556 h 410513"/>
                <a:gd name="connsiteX7" fmla="*/ 365244 w 365244"/>
                <a:gd name="connsiteY7" fmla="*/ 226318 h 410513"/>
                <a:gd name="connsiteX8" fmla="*/ 352571 w 365244"/>
                <a:gd name="connsiteY8" fmla="*/ 155695 h 410513"/>
                <a:gd name="connsiteX9" fmla="*/ 311290 w 365244"/>
                <a:gd name="connsiteY9" fmla="*/ 75472 h 410513"/>
                <a:gd name="connsiteX10" fmla="*/ 254929 w 365244"/>
                <a:gd name="connsiteY10" fmla="*/ 0 h 410513"/>
                <a:gd name="connsiteX11" fmla="*/ 136471 w 365244"/>
                <a:gd name="connsiteY11" fmla="*/ 116015 h 410513"/>
                <a:gd name="connsiteX12" fmla="*/ 54818 w 365244"/>
                <a:gd name="connsiteY12" fmla="*/ 250834 h 410513"/>
                <a:gd name="connsiteX13" fmla="*/ 0 w 365244"/>
                <a:gd name="connsiteY13" fmla="*/ 394670 h 410513"/>
                <a:gd name="connsiteX0" fmla="*/ 0 w 365244"/>
                <a:gd name="connsiteY0" fmla="*/ 394670 h 410513"/>
                <a:gd name="connsiteX1" fmla="*/ 66685 w 365244"/>
                <a:gd name="connsiteY1" fmla="*/ 405763 h 410513"/>
                <a:gd name="connsiteX2" fmla="*/ 140506 w 365244"/>
                <a:gd name="connsiteY2" fmla="*/ 410513 h 410513"/>
                <a:gd name="connsiteX3" fmla="*/ 206416 w 365244"/>
                <a:gd name="connsiteY3" fmla="*/ 400949 h 410513"/>
                <a:gd name="connsiteX4" fmla="*/ 267514 w 365244"/>
                <a:gd name="connsiteY4" fmla="*/ 378704 h 410513"/>
                <a:gd name="connsiteX5" fmla="*/ 321468 w 365244"/>
                <a:gd name="connsiteY5" fmla="*/ 339778 h 410513"/>
                <a:gd name="connsiteX6" fmla="*/ 351673 w 365244"/>
                <a:gd name="connsiteY6" fmla="*/ 298556 h 410513"/>
                <a:gd name="connsiteX7" fmla="*/ 365244 w 365244"/>
                <a:gd name="connsiteY7" fmla="*/ 226318 h 410513"/>
                <a:gd name="connsiteX8" fmla="*/ 352571 w 365244"/>
                <a:gd name="connsiteY8" fmla="*/ 155695 h 410513"/>
                <a:gd name="connsiteX9" fmla="*/ 311290 w 365244"/>
                <a:gd name="connsiteY9" fmla="*/ 75472 h 410513"/>
                <a:gd name="connsiteX10" fmla="*/ 254929 w 365244"/>
                <a:gd name="connsiteY10" fmla="*/ 0 h 410513"/>
                <a:gd name="connsiteX11" fmla="*/ 136471 w 365244"/>
                <a:gd name="connsiteY11" fmla="*/ 116015 h 410513"/>
                <a:gd name="connsiteX12" fmla="*/ 54818 w 365244"/>
                <a:gd name="connsiteY12" fmla="*/ 250834 h 410513"/>
                <a:gd name="connsiteX13" fmla="*/ 0 w 365244"/>
                <a:gd name="connsiteY13" fmla="*/ 394670 h 410513"/>
                <a:gd name="connsiteX0" fmla="*/ 0 w 365244"/>
                <a:gd name="connsiteY0" fmla="*/ 394670 h 410513"/>
                <a:gd name="connsiteX1" fmla="*/ 66685 w 365244"/>
                <a:gd name="connsiteY1" fmla="*/ 405763 h 410513"/>
                <a:gd name="connsiteX2" fmla="*/ 140506 w 365244"/>
                <a:gd name="connsiteY2" fmla="*/ 410513 h 410513"/>
                <a:gd name="connsiteX3" fmla="*/ 206416 w 365244"/>
                <a:gd name="connsiteY3" fmla="*/ 400949 h 410513"/>
                <a:gd name="connsiteX4" fmla="*/ 267514 w 365244"/>
                <a:gd name="connsiteY4" fmla="*/ 378704 h 410513"/>
                <a:gd name="connsiteX5" fmla="*/ 321468 w 365244"/>
                <a:gd name="connsiteY5" fmla="*/ 339778 h 410513"/>
                <a:gd name="connsiteX6" fmla="*/ 351673 w 365244"/>
                <a:gd name="connsiteY6" fmla="*/ 298556 h 410513"/>
                <a:gd name="connsiteX7" fmla="*/ 365244 w 365244"/>
                <a:gd name="connsiteY7" fmla="*/ 226318 h 410513"/>
                <a:gd name="connsiteX8" fmla="*/ 352571 w 365244"/>
                <a:gd name="connsiteY8" fmla="*/ 155695 h 410513"/>
                <a:gd name="connsiteX9" fmla="*/ 311290 w 365244"/>
                <a:gd name="connsiteY9" fmla="*/ 75472 h 410513"/>
                <a:gd name="connsiteX10" fmla="*/ 254929 w 365244"/>
                <a:gd name="connsiteY10" fmla="*/ 0 h 410513"/>
                <a:gd name="connsiteX11" fmla="*/ 136471 w 365244"/>
                <a:gd name="connsiteY11" fmla="*/ 116015 h 410513"/>
                <a:gd name="connsiteX12" fmla="*/ 54818 w 365244"/>
                <a:gd name="connsiteY12" fmla="*/ 250834 h 410513"/>
                <a:gd name="connsiteX13" fmla="*/ 0 w 365244"/>
                <a:gd name="connsiteY13" fmla="*/ 394670 h 410513"/>
                <a:gd name="connsiteX0" fmla="*/ 0 w 365244"/>
                <a:gd name="connsiteY0" fmla="*/ 394670 h 410513"/>
                <a:gd name="connsiteX1" fmla="*/ 66685 w 365244"/>
                <a:gd name="connsiteY1" fmla="*/ 405763 h 410513"/>
                <a:gd name="connsiteX2" fmla="*/ 140506 w 365244"/>
                <a:gd name="connsiteY2" fmla="*/ 410513 h 410513"/>
                <a:gd name="connsiteX3" fmla="*/ 206416 w 365244"/>
                <a:gd name="connsiteY3" fmla="*/ 400949 h 410513"/>
                <a:gd name="connsiteX4" fmla="*/ 267514 w 365244"/>
                <a:gd name="connsiteY4" fmla="*/ 378704 h 410513"/>
                <a:gd name="connsiteX5" fmla="*/ 327835 w 365244"/>
                <a:gd name="connsiteY5" fmla="*/ 341369 h 410513"/>
                <a:gd name="connsiteX6" fmla="*/ 351673 w 365244"/>
                <a:gd name="connsiteY6" fmla="*/ 298556 h 410513"/>
                <a:gd name="connsiteX7" fmla="*/ 365244 w 365244"/>
                <a:gd name="connsiteY7" fmla="*/ 226318 h 410513"/>
                <a:gd name="connsiteX8" fmla="*/ 352571 w 365244"/>
                <a:gd name="connsiteY8" fmla="*/ 155695 h 410513"/>
                <a:gd name="connsiteX9" fmla="*/ 311290 w 365244"/>
                <a:gd name="connsiteY9" fmla="*/ 75472 h 410513"/>
                <a:gd name="connsiteX10" fmla="*/ 254929 w 365244"/>
                <a:gd name="connsiteY10" fmla="*/ 0 h 410513"/>
                <a:gd name="connsiteX11" fmla="*/ 136471 w 365244"/>
                <a:gd name="connsiteY11" fmla="*/ 116015 h 410513"/>
                <a:gd name="connsiteX12" fmla="*/ 54818 w 365244"/>
                <a:gd name="connsiteY12" fmla="*/ 250834 h 410513"/>
                <a:gd name="connsiteX13" fmla="*/ 0 w 365244"/>
                <a:gd name="connsiteY13" fmla="*/ 394670 h 410513"/>
                <a:gd name="connsiteX0" fmla="*/ 0 w 366287"/>
                <a:gd name="connsiteY0" fmla="*/ 394670 h 410513"/>
                <a:gd name="connsiteX1" fmla="*/ 66685 w 366287"/>
                <a:gd name="connsiteY1" fmla="*/ 405763 h 410513"/>
                <a:gd name="connsiteX2" fmla="*/ 140506 w 366287"/>
                <a:gd name="connsiteY2" fmla="*/ 410513 h 410513"/>
                <a:gd name="connsiteX3" fmla="*/ 206416 w 366287"/>
                <a:gd name="connsiteY3" fmla="*/ 400949 h 410513"/>
                <a:gd name="connsiteX4" fmla="*/ 267514 w 366287"/>
                <a:gd name="connsiteY4" fmla="*/ 378704 h 410513"/>
                <a:gd name="connsiteX5" fmla="*/ 327835 w 366287"/>
                <a:gd name="connsiteY5" fmla="*/ 341369 h 410513"/>
                <a:gd name="connsiteX6" fmla="*/ 361223 w 366287"/>
                <a:gd name="connsiteY6" fmla="*/ 290598 h 410513"/>
                <a:gd name="connsiteX7" fmla="*/ 365244 w 366287"/>
                <a:gd name="connsiteY7" fmla="*/ 226318 h 410513"/>
                <a:gd name="connsiteX8" fmla="*/ 352571 w 366287"/>
                <a:gd name="connsiteY8" fmla="*/ 155695 h 410513"/>
                <a:gd name="connsiteX9" fmla="*/ 311290 w 366287"/>
                <a:gd name="connsiteY9" fmla="*/ 75472 h 410513"/>
                <a:gd name="connsiteX10" fmla="*/ 254929 w 366287"/>
                <a:gd name="connsiteY10" fmla="*/ 0 h 410513"/>
                <a:gd name="connsiteX11" fmla="*/ 136471 w 366287"/>
                <a:gd name="connsiteY11" fmla="*/ 116015 h 410513"/>
                <a:gd name="connsiteX12" fmla="*/ 54818 w 366287"/>
                <a:gd name="connsiteY12" fmla="*/ 250834 h 410513"/>
                <a:gd name="connsiteX13" fmla="*/ 0 w 366287"/>
                <a:gd name="connsiteY13" fmla="*/ 394670 h 410513"/>
                <a:gd name="connsiteX0" fmla="*/ 0 w 370019"/>
                <a:gd name="connsiteY0" fmla="*/ 394670 h 410513"/>
                <a:gd name="connsiteX1" fmla="*/ 66685 w 370019"/>
                <a:gd name="connsiteY1" fmla="*/ 405763 h 410513"/>
                <a:gd name="connsiteX2" fmla="*/ 140506 w 370019"/>
                <a:gd name="connsiteY2" fmla="*/ 410513 h 410513"/>
                <a:gd name="connsiteX3" fmla="*/ 206416 w 370019"/>
                <a:gd name="connsiteY3" fmla="*/ 400949 h 410513"/>
                <a:gd name="connsiteX4" fmla="*/ 267514 w 370019"/>
                <a:gd name="connsiteY4" fmla="*/ 378704 h 410513"/>
                <a:gd name="connsiteX5" fmla="*/ 327835 w 370019"/>
                <a:gd name="connsiteY5" fmla="*/ 341369 h 410513"/>
                <a:gd name="connsiteX6" fmla="*/ 361223 w 370019"/>
                <a:gd name="connsiteY6" fmla="*/ 290598 h 410513"/>
                <a:gd name="connsiteX7" fmla="*/ 370019 w 370019"/>
                <a:gd name="connsiteY7" fmla="*/ 224727 h 410513"/>
                <a:gd name="connsiteX8" fmla="*/ 352571 w 370019"/>
                <a:gd name="connsiteY8" fmla="*/ 155695 h 410513"/>
                <a:gd name="connsiteX9" fmla="*/ 311290 w 370019"/>
                <a:gd name="connsiteY9" fmla="*/ 75472 h 410513"/>
                <a:gd name="connsiteX10" fmla="*/ 254929 w 370019"/>
                <a:gd name="connsiteY10" fmla="*/ 0 h 410513"/>
                <a:gd name="connsiteX11" fmla="*/ 136471 w 370019"/>
                <a:gd name="connsiteY11" fmla="*/ 116015 h 410513"/>
                <a:gd name="connsiteX12" fmla="*/ 54818 w 370019"/>
                <a:gd name="connsiteY12" fmla="*/ 250834 h 410513"/>
                <a:gd name="connsiteX13" fmla="*/ 0 w 370019"/>
                <a:gd name="connsiteY13" fmla="*/ 394670 h 410513"/>
                <a:gd name="connsiteX0" fmla="*/ 0 w 370019"/>
                <a:gd name="connsiteY0" fmla="*/ 394670 h 410513"/>
                <a:gd name="connsiteX1" fmla="*/ 66685 w 370019"/>
                <a:gd name="connsiteY1" fmla="*/ 405763 h 410513"/>
                <a:gd name="connsiteX2" fmla="*/ 140506 w 370019"/>
                <a:gd name="connsiteY2" fmla="*/ 410513 h 410513"/>
                <a:gd name="connsiteX3" fmla="*/ 206416 w 370019"/>
                <a:gd name="connsiteY3" fmla="*/ 400949 h 410513"/>
                <a:gd name="connsiteX4" fmla="*/ 267514 w 370019"/>
                <a:gd name="connsiteY4" fmla="*/ 378704 h 410513"/>
                <a:gd name="connsiteX5" fmla="*/ 327835 w 370019"/>
                <a:gd name="connsiteY5" fmla="*/ 341369 h 410513"/>
                <a:gd name="connsiteX6" fmla="*/ 359631 w 370019"/>
                <a:gd name="connsiteY6" fmla="*/ 293781 h 410513"/>
                <a:gd name="connsiteX7" fmla="*/ 370019 w 370019"/>
                <a:gd name="connsiteY7" fmla="*/ 224727 h 410513"/>
                <a:gd name="connsiteX8" fmla="*/ 352571 w 370019"/>
                <a:gd name="connsiteY8" fmla="*/ 155695 h 410513"/>
                <a:gd name="connsiteX9" fmla="*/ 311290 w 370019"/>
                <a:gd name="connsiteY9" fmla="*/ 75472 h 410513"/>
                <a:gd name="connsiteX10" fmla="*/ 254929 w 370019"/>
                <a:gd name="connsiteY10" fmla="*/ 0 h 410513"/>
                <a:gd name="connsiteX11" fmla="*/ 136471 w 370019"/>
                <a:gd name="connsiteY11" fmla="*/ 116015 h 410513"/>
                <a:gd name="connsiteX12" fmla="*/ 54818 w 370019"/>
                <a:gd name="connsiteY12" fmla="*/ 250834 h 410513"/>
                <a:gd name="connsiteX13" fmla="*/ 0 w 370019"/>
                <a:gd name="connsiteY13" fmla="*/ 394670 h 410513"/>
                <a:gd name="connsiteX0" fmla="*/ 0 w 370019"/>
                <a:gd name="connsiteY0" fmla="*/ 394670 h 410513"/>
                <a:gd name="connsiteX1" fmla="*/ 66685 w 370019"/>
                <a:gd name="connsiteY1" fmla="*/ 405763 h 410513"/>
                <a:gd name="connsiteX2" fmla="*/ 140506 w 370019"/>
                <a:gd name="connsiteY2" fmla="*/ 410513 h 410513"/>
                <a:gd name="connsiteX3" fmla="*/ 206416 w 370019"/>
                <a:gd name="connsiteY3" fmla="*/ 400949 h 410513"/>
                <a:gd name="connsiteX4" fmla="*/ 267514 w 370019"/>
                <a:gd name="connsiteY4" fmla="*/ 378704 h 410513"/>
                <a:gd name="connsiteX5" fmla="*/ 327835 w 370019"/>
                <a:gd name="connsiteY5" fmla="*/ 341369 h 410513"/>
                <a:gd name="connsiteX6" fmla="*/ 359631 w 370019"/>
                <a:gd name="connsiteY6" fmla="*/ 293781 h 410513"/>
                <a:gd name="connsiteX7" fmla="*/ 370019 w 370019"/>
                <a:gd name="connsiteY7" fmla="*/ 224727 h 410513"/>
                <a:gd name="connsiteX8" fmla="*/ 352571 w 370019"/>
                <a:gd name="connsiteY8" fmla="*/ 155695 h 410513"/>
                <a:gd name="connsiteX9" fmla="*/ 311290 w 370019"/>
                <a:gd name="connsiteY9" fmla="*/ 75472 h 410513"/>
                <a:gd name="connsiteX10" fmla="*/ 254929 w 370019"/>
                <a:gd name="connsiteY10" fmla="*/ 0 h 410513"/>
                <a:gd name="connsiteX11" fmla="*/ 136471 w 370019"/>
                <a:gd name="connsiteY11" fmla="*/ 116015 h 410513"/>
                <a:gd name="connsiteX12" fmla="*/ 54818 w 370019"/>
                <a:gd name="connsiteY12" fmla="*/ 250834 h 410513"/>
                <a:gd name="connsiteX13" fmla="*/ 0 w 370019"/>
                <a:gd name="connsiteY13" fmla="*/ 394670 h 410513"/>
                <a:gd name="connsiteX0" fmla="*/ 0 w 370019"/>
                <a:gd name="connsiteY0" fmla="*/ 394670 h 410513"/>
                <a:gd name="connsiteX1" fmla="*/ 66685 w 370019"/>
                <a:gd name="connsiteY1" fmla="*/ 405763 h 410513"/>
                <a:gd name="connsiteX2" fmla="*/ 140506 w 370019"/>
                <a:gd name="connsiteY2" fmla="*/ 410513 h 410513"/>
                <a:gd name="connsiteX3" fmla="*/ 206416 w 370019"/>
                <a:gd name="connsiteY3" fmla="*/ 400949 h 410513"/>
                <a:gd name="connsiteX4" fmla="*/ 267514 w 370019"/>
                <a:gd name="connsiteY4" fmla="*/ 378704 h 410513"/>
                <a:gd name="connsiteX5" fmla="*/ 327835 w 370019"/>
                <a:gd name="connsiteY5" fmla="*/ 341369 h 410513"/>
                <a:gd name="connsiteX6" fmla="*/ 359631 w 370019"/>
                <a:gd name="connsiteY6" fmla="*/ 293781 h 410513"/>
                <a:gd name="connsiteX7" fmla="*/ 370019 w 370019"/>
                <a:gd name="connsiteY7" fmla="*/ 224727 h 410513"/>
                <a:gd name="connsiteX8" fmla="*/ 352571 w 370019"/>
                <a:gd name="connsiteY8" fmla="*/ 155695 h 410513"/>
                <a:gd name="connsiteX9" fmla="*/ 311290 w 370019"/>
                <a:gd name="connsiteY9" fmla="*/ 75472 h 410513"/>
                <a:gd name="connsiteX10" fmla="*/ 254929 w 370019"/>
                <a:gd name="connsiteY10" fmla="*/ 0 h 410513"/>
                <a:gd name="connsiteX11" fmla="*/ 136471 w 370019"/>
                <a:gd name="connsiteY11" fmla="*/ 116015 h 410513"/>
                <a:gd name="connsiteX12" fmla="*/ 54818 w 370019"/>
                <a:gd name="connsiteY12" fmla="*/ 250834 h 410513"/>
                <a:gd name="connsiteX13" fmla="*/ 0 w 370019"/>
                <a:gd name="connsiteY13" fmla="*/ 394670 h 410513"/>
                <a:gd name="connsiteX0" fmla="*/ 0 w 370019"/>
                <a:gd name="connsiteY0" fmla="*/ 394670 h 410513"/>
                <a:gd name="connsiteX1" fmla="*/ 66685 w 370019"/>
                <a:gd name="connsiteY1" fmla="*/ 405763 h 410513"/>
                <a:gd name="connsiteX2" fmla="*/ 140506 w 370019"/>
                <a:gd name="connsiteY2" fmla="*/ 410513 h 410513"/>
                <a:gd name="connsiteX3" fmla="*/ 206416 w 370019"/>
                <a:gd name="connsiteY3" fmla="*/ 400949 h 410513"/>
                <a:gd name="connsiteX4" fmla="*/ 267514 w 370019"/>
                <a:gd name="connsiteY4" fmla="*/ 378704 h 410513"/>
                <a:gd name="connsiteX5" fmla="*/ 327835 w 370019"/>
                <a:gd name="connsiteY5" fmla="*/ 341369 h 410513"/>
                <a:gd name="connsiteX6" fmla="*/ 359631 w 370019"/>
                <a:gd name="connsiteY6" fmla="*/ 293781 h 410513"/>
                <a:gd name="connsiteX7" fmla="*/ 370019 w 370019"/>
                <a:gd name="connsiteY7" fmla="*/ 224727 h 410513"/>
                <a:gd name="connsiteX8" fmla="*/ 358938 w 370019"/>
                <a:gd name="connsiteY8" fmla="*/ 157287 h 410513"/>
                <a:gd name="connsiteX9" fmla="*/ 311290 w 370019"/>
                <a:gd name="connsiteY9" fmla="*/ 75472 h 410513"/>
                <a:gd name="connsiteX10" fmla="*/ 254929 w 370019"/>
                <a:gd name="connsiteY10" fmla="*/ 0 h 410513"/>
                <a:gd name="connsiteX11" fmla="*/ 136471 w 370019"/>
                <a:gd name="connsiteY11" fmla="*/ 116015 h 410513"/>
                <a:gd name="connsiteX12" fmla="*/ 54818 w 370019"/>
                <a:gd name="connsiteY12" fmla="*/ 250834 h 410513"/>
                <a:gd name="connsiteX13" fmla="*/ 0 w 370019"/>
                <a:gd name="connsiteY13" fmla="*/ 394670 h 410513"/>
                <a:gd name="connsiteX0" fmla="*/ 0 w 370019"/>
                <a:gd name="connsiteY0" fmla="*/ 394670 h 410513"/>
                <a:gd name="connsiteX1" fmla="*/ 66685 w 370019"/>
                <a:gd name="connsiteY1" fmla="*/ 405763 h 410513"/>
                <a:gd name="connsiteX2" fmla="*/ 140506 w 370019"/>
                <a:gd name="connsiteY2" fmla="*/ 410513 h 410513"/>
                <a:gd name="connsiteX3" fmla="*/ 206416 w 370019"/>
                <a:gd name="connsiteY3" fmla="*/ 400949 h 410513"/>
                <a:gd name="connsiteX4" fmla="*/ 267514 w 370019"/>
                <a:gd name="connsiteY4" fmla="*/ 378704 h 410513"/>
                <a:gd name="connsiteX5" fmla="*/ 327835 w 370019"/>
                <a:gd name="connsiteY5" fmla="*/ 341369 h 410513"/>
                <a:gd name="connsiteX6" fmla="*/ 359631 w 370019"/>
                <a:gd name="connsiteY6" fmla="*/ 293781 h 410513"/>
                <a:gd name="connsiteX7" fmla="*/ 370019 w 370019"/>
                <a:gd name="connsiteY7" fmla="*/ 224727 h 410513"/>
                <a:gd name="connsiteX8" fmla="*/ 358938 w 370019"/>
                <a:gd name="connsiteY8" fmla="*/ 157287 h 410513"/>
                <a:gd name="connsiteX9" fmla="*/ 311290 w 370019"/>
                <a:gd name="connsiteY9" fmla="*/ 75472 h 410513"/>
                <a:gd name="connsiteX10" fmla="*/ 254929 w 370019"/>
                <a:gd name="connsiteY10" fmla="*/ 0 h 410513"/>
                <a:gd name="connsiteX11" fmla="*/ 136471 w 370019"/>
                <a:gd name="connsiteY11" fmla="*/ 116015 h 410513"/>
                <a:gd name="connsiteX12" fmla="*/ 54818 w 370019"/>
                <a:gd name="connsiteY12" fmla="*/ 250834 h 410513"/>
                <a:gd name="connsiteX13" fmla="*/ 0 w 370019"/>
                <a:gd name="connsiteY13" fmla="*/ 394670 h 410513"/>
                <a:gd name="connsiteX0" fmla="*/ 0 w 370019"/>
                <a:gd name="connsiteY0" fmla="*/ 394670 h 410513"/>
                <a:gd name="connsiteX1" fmla="*/ 66685 w 370019"/>
                <a:gd name="connsiteY1" fmla="*/ 405763 h 410513"/>
                <a:gd name="connsiteX2" fmla="*/ 140506 w 370019"/>
                <a:gd name="connsiteY2" fmla="*/ 410513 h 410513"/>
                <a:gd name="connsiteX3" fmla="*/ 206416 w 370019"/>
                <a:gd name="connsiteY3" fmla="*/ 400949 h 410513"/>
                <a:gd name="connsiteX4" fmla="*/ 267514 w 370019"/>
                <a:gd name="connsiteY4" fmla="*/ 378704 h 410513"/>
                <a:gd name="connsiteX5" fmla="*/ 327835 w 370019"/>
                <a:gd name="connsiteY5" fmla="*/ 341369 h 410513"/>
                <a:gd name="connsiteX6" fmla="*/ 359631 w 370019"/>
                <a:gd name="connsiteY6" fmla="*/ 293781 h 410513"/>
                <a:gd name="connsiteX7" fmla="*/ 370019 w 370019"/>
                <a:gd name="connsiteY7" fmla="*/ 224727 h 410513"/>
                <a:gd name="connsiteX8" fmla="*/ 355754 w 370019"/>
                <a:gd name="connsiteY8" fmla="*/ 157287 h 410513"/>
                <a:gd name="connsiteX9" fmla="*/ 311290 w 370019"/>
                <a:gd name="connsiteY9" fmla="*/ 75472 h 410513"/>
                <a:gd name="connsiteX10" fmla="*/ 254929 w 370019"/>
                <a:gd name="connsiteY10" fmla="*/ 0 h 410513"/>
                <a:gd name="connsiteX11" fmla="*/ 136471 w 370019"/>
                <a:gd name="connsiteY11" fmla="*/ 116015 h 410513"/>
                <a:gd name="connsiteX12" fmla="*/ 54818 w 370019"/>
                <a:gd name="connsiteY12" fmla="*/ 250834 h 410513"/>
                <a:gd name="connsiteX13" fmla="*/ 0 w 370019"/>
                <a:gd name="connsiteY13" fmla="*/ 394670 h 410513"/>
                <a:gd name="connsiteX0" fmla="*/ 0 w 371611"/>
                <a:gd name="connsiteY0" fmla="*/ 394670 h 410513"/>
                <a:gd name="connsiteX1" fmla="*/ 66685 w 371611"/>
                <a:gd name="connsiteY1" fmla="*/ 405763 h 410513"/>
                <a:gd name="connsiteX2" fmla="*/ 140506 w 371611"/>
                <a:gd name="connsiteY2" fmla="*/ 410513 h 410513"/>
                <a:gd name="connsiteX3" fmla="*/ 206416 w 371611"/>
                <a:gd name="connsiteY3" fmla="*/ 400949 h 410513"/>
                <a:gd name="connsiteX4" fmla="*/ 267514 w 371611"/>
                <a:gd name="connsiteY4" fmla="*/ 378704 h 410513"/>
                <a:gd name="connsiteX5" fmla="*/ 327835 w 371611"/>
                <a:gd name="connsiteY5" fmla="*/ 341369 h 410513"/>
                <a:gd name="connsiteX6" fmla="*/ 359631 w 371611"/>
                <a:gd name="connsiteY6" fmla="*/ 293781 h 410513"/>
                <a:gd name="connsiteX7" fmla="*/ 371611 w 371611"/>
                <a:gd name="connsiteY7" fmla="*/ 229502 h 410513"/>
                <a:gd name="connsiteX8" fmla="*/ 355754 w 371611"/>
                <a:gd name="connsiteY8" fmla="*/ 157287 h 410513"/>
                <a:gd name="connsiteX9" fmla="*/ 311290 w 371611"/>
                <a:gd name="connsiteY9" fmla="*/ 75472 h 410513"/>
                <a:gd name="connsiteX10" fmla="*/ 254929 w 371611"/>
                <a:gd name="connsiteY10" fmla="*/ 0 h 410513"/>
                <a:gd name="connsiteX11" fmla="*/ 136471 w 371611"/>
                <a:gd name="connsiteY11" fmla="*/ 116015 h 410513"/>
                <a:gd name="connsiteX12" fmla="*/ 54818 w 371611"/>
                <a:gd name="connsiteY12" fmla="*/ 250834 h 410513"/>
                <a:gd name="connsiteX13" fmla="*/ 0 w 371611"/>
                <a:gd name="connsiteY13" fmla="*/ 394670 h 410513"/>
                <a:gd name="connsiteX0" fmla="*/ 138665 w 510276"/>
                <a:gd name="connsiteY0" fmla="*/ 394670 h 410513"/>
                <a:gd name="connsiteX1" fmla="*/ 205350 w 510276"/>
                <a:gd name="connsiteY1" fmla="*/ 405763 h 410513"/>
                <a:gd name="connsiteX2" fmla="*/ 279171 w 510276"/>
                <a:gd name="connsiteY2" fmla="*/ 410513 h 410513"/>
                <a:gd name="connsiteX3" fmla="*/ 345081 w 510276"/>
                <a:gd name="connsiteY3" fmla="*/ 400949 h 410513"/>
                <a:gd name="connsiteX4" fmla="*/ 406179 w 510276"/>
                <a:gd name="connsiteY4" fmla="*/ 378704 h 410513"/>
                <a:gd name="connsiteX5" fmla="*/ 466500 w 510276"/>
                <a:gd name="connsiteY5" fmla="*/ 341369 h 410513"/>
                <a:gd name="connsiteX6" fmla="*/ 498296 w 510276"/>
                <a:gd name="connsiteY6" fmla="*/ 293781 h 410513"/>
                <a:gd name="connsiteX7" fmla="*/ 510276 w 510276"/>
                <a:gd name="connsiteY7" fmla="*/ 229502 h 410513"/>
                <a:gd name="connsiteX8" fmla="*/ 494419 w 510276"/>
                <a:gd name="connsiteY8" fmla="*/ 157287 h 410513"/>
                <a:gd name="connsiteX9" fmla="*/ 449955 w 510276"/>
                <a:gd name="connsiteY9" fmla="*/ 75472 h 410513"/>
                <a:gd name="connsiteX10" fmla="*/ 393594 w 510276"/>
                <a:gd name="connsiteY10" fmla="*/ 0 h 410513"/>
                <a:gd name="connsiteX11" fmla="*/ 275136 w 510276"/>
                <a:gd name="connsiteY11" fmla="*/ 116015 h 410513"/>
                <a:gd name="connsiteX12" fmla="*/ 2490 w 510276"/>
                <a:gd name="connsiteY12" fmla="*/ 206269 h 410513"/>
                <a:gd name="connsiteX13" fmla="*/ 138665 w 510276"/>
                <a:gd name="connsiteY13" fmla="*/ 394670 h 410513"/>
                <a:gd name="connsiteX0" fmla="*/ 0 w 549872"/>
                <a:gd name="connsiteY0" fmla="*/ 350105 h 411193"/>
                <a:gd name="connsiteX1" fmla="*/ 244946 w 549872"/>
                <a:gd name="connsiteY1" fmla="*/ 405763 h 411193"/>
                <a:gd name="connsiteX2" fmla="*/ 318767 w 549872"/>
                <a:gd name="connsiteY2" fmla="*/ 410513 h 411193"/>
                <a:gd name="connsiteX3" fmla="*/ 384677 w 549872"/>
                <a:gd name="connsiteY3" fmla="*/ 400949 h 411193"/>
                <a:gd name="connsiteX4" fmla="*/ 445775 w 549872"/>
                <a:gd name="connsiteY4" fmla="*/ 378704 h 411193"/>
                <a:gd name="connsiteX5" fmla="*/ 506096 w 549872"/>
                <a:gd name="connsiteY5" fmla="*/ 341369 h 411193"/>
                <a:gd name="connsiteX6" fmla="*/ 537892 w 549872"/>
                <a:gd name="connsiteY6" fmla="*/ 293781 h 411193"/>
                <a:gd name="connsiteX7" fmla="*/ 549872 w 549872"/>
                <a:gd name="connsiteY7" fmla="*/ 229502 h 411193"/>
                <a:gd name="connsiteX8" fmla="*/ 534015 w 549872"/>
                <a:gd name="connsiteY8" fmla="*/ 157287 h 411193"/>
                <a:gd name="connsiteX9" fmla="*/ 489551 w 549872"/>
                <a:gd name="connsiteY9" fmla="*/ 75472 h 411193"/>
                <a:gd name="connsiteX10" fmla="*/ 433190 w 549872"/>
                <a:gd name="connsiteY10" fmla="*/ 0 h 411193"/>
                <a:gd name="connsiteX11" fmla="*/ 314732 w 549872"/>
                <a:gd name="connsiteY11" fmla="*/ 116015 h 411193"/>
                <a:gd name="connsiteX12" fmla="*/ 42086 w 549872"/>
                <a:gd name="connsiteY12" fmla="*/ 206269 h 411193"/>
                <a:gd name="connsiteX13" fmla="*/ 0 w 549872"/>
                <a:gd name="connsiteY13" fmla="*/ 350105 h 411193"/>
                <a:gd name="connsiteX0" fmla="*/ 0 w 549872"/>
                <a:gd name="connsiteY0" fmla="*/ 380518 h 441606"/>
                <a:gd name="connsiteX1" fmla="*/ 244946 w 549872"/>
                <a:gd name="connsiteY1" fmla="*/ 436176 h 441606"/>
                <a:gd name="connsiteX2" fmla="*/ 318767 w 549872"/>
                <a:gd name="connsiteY2" fmla="*/ 440926 h 441606"/>
                <a:gd name="connsiteX3" fmla="*/ 384677 w 549872"/>
                <a:gd name="connsiteY3" fmla="*/ 431362 h 441606"/>
                <a:gd name="connsiteX4" fmla="*/ 445775 w 549872"/>
                <a:gd name="connsiteY4" fmla="*/ 409117 h 441606"/>
                <a:gd name="connsiteX5" fmla="*/ 506096 w 549872"/>
                <a:gd name="connsiteY5" fmla="*/ 371782 h 441606"/>
                <a:gd name="connsiteX6" fmla="*/ 537892 w 549872"/>
                <a:gd name="connsiteY6" fmla="*/ 324194 h 441606"/>
                <a:gd name="connsiteX7" fmla="*/ 549872 w 549872"/>
                <a:gd name="connsiteY7" fmla="*/ 259915 h 441606"/>
                <a:gd name="connsiteX8" fmla="*/ 534015 w 549872"/>
                <a:gd name="connsiteY8" fmla="*/ 187700 h 441606"/>
                <a:gd name="connsiteX9" fmla="*/ 489551 w 549872"/>
                <a:gd name="connsiteY9" fmla="*/ 105885 h 441606"/>
                <a:gd name="connsiteX10" fmla="*/ 433190 w 549872"/>
                <a:gd name="connsiteY10" fmla="*/ 30413 h 441606"/>
                <a:gd name="connsiteX11" fmla="*/ 231968 w 549872"/>
                <a:gd name="connsiteY11" fmla="*/ 0 h 441606"/>
                <a:gd name="connsiteX12" fmla="*/ 42086 w 549872"/>
                <a:gd name="connsiteY12" fmla="*/ 236682 h 441606"/>
                <a:gd name="connsiteX13" fmla="*/ 0 w 549872"/>
                <a:gd name="connsiteY13" fmla="*/ 380518 h 441606"/>
                <a:gd name="connsiteX0" fmla="*/ 0 w 549872"/>
                <a:gd name="connsiteY0" fmla="*/ 477434 h 538522"/>
                <a:gd name="connsiteX1" fmla="*/ 244946 w 549872"/>
                <a:gd name="connsiteY1" fmla="*/ 533092 h 538522"/>
                <a:gd name="connsiteX2" fmla="*/ 318767 w 549872"/>
                <a:gd name="connsiteY2" fmla="*/ 537842 h 538522"/>
                <a:gd name="connsiteX3" fmla="*/ 384677 w 549872"/>
                <a:gd name="connsiteY3" fmla="*/ 528278 h 538522"/>
                <a:gd name="connsiteX4" fmla="*/ 445775 w 549872"/>
                <a:gd name="connsiteY4" fmla="*/ 506033 h 538522"/>
                <a:gd name="connsiteX5" fmla="*/ 506096 w 549872"/>
                <a:gd name="connsiteY5" fmla="*/ 468698 h 538522"/>
                <a:gd name="connsiteX6" fmla="*/ 537892 w 549872"/>
                <a:gd name="connsiteY6" fmla="*/ 421110 h 538522"/>
                <a:gd name="connsiteX7" fmla="*/ 549872 w 549872"/>
                <a:gd name="connsiteY7" fmla="*/ 356831 h 538522"/>
                <a:gd name="connsiteX8" fmla="*/ 534015 w 549872"/>
                <a:gd name="connsiteY8" fmla="*/ 284616 h 538522"/>
                <a:gd name="connsiteX9" fmla="*/ 489551 w 549872"/>
                <a:gd name="connsiteY9" fmla="*/ 202801 h 538522"/>
                <a:gd name="connsiteX10" fmla="*/ 344060 w 549872"/>
                <a:gd name="connsiteY10" fmla="*/ 0 h 538522"/>
                <a:gd name="connsiteX11" fmla="*/ 231968 w 549872"/>
                <a:gd name="connsiteY11" fmla="*/ 96916 h 538522"/>
                <a:gd name="connsiteX12" fmla="*/ 42086 w 549872"/>
                <a:gd name="connsiteY12" fmla="*/ 333598 h 538522"/>
                <a:gd name="connsiteX13" fmla="*/ 0 w 549872"/>
                <a:gd name="connsiteY13" fmla="*/ 477434 h 538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49872" h="538522">
                  <a:moveTo>
                    <a:pt x="0" y="477434"/>
                  </a:moveTo>
                  <a:cubicBezTo>
                    <a:pt x="21167" y="480601"/>
                    <a:pt x="191818" y="523024"/>
                    <a:pt x="244946" y="533092"/>
                  </a:cubicBezTo>
                  <a:cubicBezTo>
                    <a:pt x="298074" y="543160"/>
                    <a:pt x="294691" y="535728"/>
                    <a:pt x="318767" y="537842"/>
                  </a:cubicBezTo>
                  <a:cubicBezTo>
                    <a:pt x="340207" y="535715"/>
                    <a:pt x="352096" y="536771"/>
                    <a:pt x="384677" y="528278"/>
                  </a:cubicBezTo>
                  <a:cubicBezTo>
                    <a:pt x="406104" y="520333"/>
                    <a:pt x="406840" y="525119"/>
                    <a:pt x="445775" y="506033"/>
                  </a:cubicBezTo>
                  <a:cubicBezTo>
                    <a:pt x="471718" y="493058"/>
                    <a:pt x="488111" y="481673"/>
                    <a:pt x="506096" y="468698"/>
                  </a:cubicBezTo>
                  <a:cubicBezTo>
                    <a:pt x="516695" y="452835"/>
                    <a:pt x="530477" y="443339"/>
                    <a:pt x="537892" y="421110"/>
                  </a:cubicBezTo>
                  <a:cubicBezTo>
                    <a:pt x="547191" y="389073"/>
                    <a:pt x="548531" y="395234"/>
                    <a:pt x="549872" y="356831"/>
                  </a:cubicBezTo>
                  <a:cubicBezTo>
                    <a:pt x="543526" y="296153"/>
                    <a:pt x="541953" y="315054"/>
                    <a:pt x="534015" y="284616"/>
                  </a:cubicBezTo>
                  <a:cubicBezTo>
                    <a:pt x="517070" y="244612"/>
                    <a:pt x="509679" y="234848"/>
                    <a:pt x="489551" y="202801"/>
                  </a:cubicBezTo>
                  <a:cubicBezTo>
                    <a:pt x="470764" y="174461"/>
                    <a:pt x="362847" y="25157"/>
                    <a:pt x="344060" y="0"/>
                  </a:cubicBezTo>
                  <a:lnTo>
                    <a:pt x="231968" y="96916"/>
                  </a:lnTo>
                  <a:cubicBezTo>
                    <a:pt x="204750" y="141856"/>
                    <a:pt x="69304" y="288658"/>
                    <a:pt x="42086" y="333598"/>
                  </a:cubicBezTo>
                  <a:cubicBezTo>
                    <a:pt x="15855" y="390032"/>
                    <a:pt x="27823" y="416225"/>
                    <a:pt x="0" y="477434"/>
                  </a:cubicBezTo>
                  <a:close/>
                </a:path>
              </a:pathLst>
            </a:custGeom>
            <a:solidFill>
              <a:schemeClr val="bg1"/>
            </a:solidFill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7" name="Полилиния 126"/>
            <p:cNvSpPr/>
            <p:nvPr/>
          </p:nvSpPr>
          <p:spPr>
            <a:xfrm rot="179345">
              <a:off x="3492169" y="3474644"/>
              <a:ext cx="653522" cy="678728"/>
            </a:xfrm>
            <a:custGeom>
              <a:avLst/>
              <a:gdLst>
                <a:gd name="connsiteX0" fmla="*/ 3209 w 1398752"/>
                <a:gd name="connsiteY0" fmla="*/ 902745 h 1310193"/>
                <a:gd name="connsiteX1" fmla="*/ 48453 w 1398752"/>
                <a:gd name="connsiteY1" fmla="*/ 769395 h 1310193"/>
                <a:gd name="connsiteX2" fmla="*/ 127034 w 1398752"/>
                <a:gd name="connsiteY2" fmla="*/ 595564 h 1310193"/>
                <a:gd name="connsiteX3" fmla="*/ 229428 w 1398752"/>
                <a:gd name="connsiteY3" fmla="*/ 414589 h 1310193"/>
                <a:gd name="connsiteX4" fmla="*/ 343728 w 1398752"/>
                <a:gd name="connsiteY4" fmla="*/ 269332 h 1310193"/>
                <a:gd name="connsiteX5" fmla="*/ 443740 w 1398752"/>
                <a:gd name="connsiteY5" fmla="*/ 150270 h 1310193"/>
                <a:gd name="connsiteX6" fmla="*/ 550896 w 1398752"/>
                <a:gd name="connsiteY6" fmla="*/ 43114 h 1310193"/>
                <a:gd name="connsiteX7" fmla="*/ 605665 w 1398752"/>
                <a:gd name="connsiteY7" fmla="*/ 251 h 1310193"/>
                <a:gd name="connsiteX8" fmla="*/ 696153 w 1398752"/>
                <a:gd name="connsiteY8" fmla="*/ 59782 h 1310193"/>
                <a:gd name="connsiteX9" fmla="*/ 819978 w 1398752"/>
                <a:gd name="connsiteY9" fmla="*/ 147889 h 1310193"/>
                <a:gd name="connsiteX10" fmla="*/ 922371 w 1398752"/>
                <a:gd name="connsiteY10" fmla="*/ 245520 h 1310193"/>
                <a:gd name="connsiteX11" fmla="*/ 1046196 w 1398752"/>
                <a:gd name="connsiteY11" fmla="*/ 350295 h 1310193"/>
                <a:gd name="connsiteX12" fmla="*/ 1146209 w 1398752"/>
                <a:gd name="connsiteY12" fmla="*/ 469357 h 1310193"/>
                <a:gd name="connsiteX13" fmla="*/ 1227171 w 1398752"/>
                <a:gd name="connsiteY13" fmla="*/ 540795 h 1310193"/>
                <a:gd name="connsiteX14" fmla="*/ 1358140 w 1398752"/>
                <a:gd name="connsiteY14" fmla="*/ 700339 h 1310193"/>
                <a:gd name="connsiteX15" fmla="*/ 1158115 w 1398752"/>
                <a:gd name="connsiteY15" fmla="*/ 557464 h 1310193"/>
                <a:gd name="connsiteX16" fmla="*/ 1062865 w 1398752"/>
                <a:gd name="connsiteY16" fmla="*/ 676526 h 1310193"/>
                <a:gd name="connsiteX17" fmla="*/ 1177165 w 1398752"/>
                <a:gd name="connsiteY17" fmla="*/ 681289 h 1310193"/>
                <a:gd name="connsiteX18" fmla="*/ 1300990 w 1398752"/>
                <a:gd name="connsiteY18" fmla="*/ 738439 h 1310193"/>
                <a:gd name="connsiteX19" fmla="*/ 1365284 w 1398752"/>
                <a:gd name="connsiteY19" fmla="*/ 781301 h 1310193"/>
                <a:gd name="connsiteX20" fmla="*/ 1398621 w 1398752"/>
                <a:gd name="connsiteY20" fmla="*/ 840832 h 1310193"/>
                <a:gd name="connsiteX21" fmla="*/ 1372428 w 1398752"/>
                <a:gd name="connsiteY21" fmla="*/ 817020 h 1310193"/>
                <a:gd name="connsiteX22" fmla="*/ 1274796 w 1398752"/>
                <a:gd name="connsiteY22" fmla="*/ 924176 h 1310193"/>
                <a:gd name="connsiteX23" fmla="*/ 1217646 w 1398752"/>
                <a:gd name="connsiteY23" fmla="*/ 1057526 h 1310193"/>
                <a:gd name="connsiteX24" fmla="*/ 1155734 w 1398752"/>
                <a:gd name="connsiteY24" fmla="*/ 1128964 h 1310193"/>
                <a:gd name="connsiteX25" fmla="*/ 1086678 w 1398752"/>
                <a:gd name="connsiteY25" fmla="*/ 1183732 h 1310193"/>
                <a:gd name="connsiteX26" fmla="*/ 1041434 w 1398752"/>
                <a:gd name="connsiteY26" fmla="*/ 1257551 h 1310193"/>
                <a:gd name="connsiteX27" fmla="*/ 1020003 w 1398752"/>
                <a:gd name="connsiteY27" fmla="*/ 1309939 h 1310193"/>
                <a:gd name="connsiteX28" fmla="*/ 924753 w 1398752"/>
                <a:gd name="connsiteY28" fmla="*/ 1236120 h 1310193"/>
                <a:gd name="connsiteX29" fmla="*/ 889034 w 1398752"/>
                <a:gd name="connsiteY29" fmla="*/ 1152776 h 1310193"/>
                <a:gd name="connsiteX30" fmla="*/ 855696 w 1398752"/>
                <a:gd name="connsiteY30" fmla="*/ 1086101 h 1310193"/>
                <a:gd name="connsiteX31" fmla="*/ 798546 w 1398752"/>
                <a:gd name="connsiteY31" fmla="*/ 1057526 h 1310193"/>
                <a:gd name="connsiteX32" fmla="*/ 750921 w 1398752"/>
                <a:gd name="connsiteY32" fmla="*/ 1093245 h 1310193"/>
                <a:gd name="connsiteX33" fmla="*/ 708059 w 1398752"/>
                <a:gd name="connsiteY33" fmla="*/ 1233739 h 1310193"/>
                <a:gd name="connsiteX34" fmla="*/ 672340 w 1398752"/>
                <a:gd name="connsiteY34" fmla="*/ 1240882 h 1310193"/>
                <a:gd name="connsiteX35" fmla="*/ 588996 w 1398752"/>
                <a:gd name="connsiteY35" fmla="*/ 1212307 h 1310193"/>
                <a:gd name="connsiteX36" fmla="*/ 424690 w 1398752"/>
                <a:gd name="connsiteY36" fmla="*/ 1143251 h 1310193"/>
                <a:gd name="connsiteX37" fmla="*/ 284196 w 1398752"/>
                <a:gd name="connsiteY37" fmla="*/ 1064670 h 1310193"/>
                <a:gd name="connsiteX38" fmla="*/ 136559 w 1398752"/>
                <a:gd name="connsiteY38" fmla="*/ 990851 h 1310193"/>
                <a:gd name="connsiteX39" fmla="*/ 3209 w 1398752"/>
                <a:gd name="connsiteY39" fmla="*/ 902745 h 1310193"/>
                <a:gd name="connsiteX0" fmla="*/ 3209 w 1398752"/>
                <a:gd name="connsiteY0" fmla="*/ 902745 h 1310193"/>
                <a:gd name="connsiteX1" fmla="*/ 48453 w 1398752"/>
                <a:gd name="connsiteY1" fmla="*/ 769395 h 1310193"/>
                <a:gd name="connsiteX2" fmla="*/ 127034 w 1398752"/>
                <a:gd name="connsiteY2" fmla="*/ 595564 h 1310193"/>
                <a:gd name="connsiteX3" fmla="*/ 241334 w 1398752"/>
                <a:gd name="connsiteY3" fmla="*/ 407445 h 1310193"/>
                <a:gd name="connsiteX4" fmla="*/ 343728 w 1398752"/>
                <a:gd name="connsiteY4" fmla="*/ 269332 h 1310193"/>
                <a:gd name="connsiteX5" fmla="*/ 443740 w 1398752"/>
                <a:gd name="connsiteY5" fmla="*/ 150270 h 1310193"/>
                <a:gd name="connsiteX6" fmla="*/ 550896 w 1398752"/>
                <a:gd name="connsiteY6" fmla="*/ 43114 h 1310193"/>
                <a:gd name="connsiteX7" fmla="*/ 605665 w 1398752"/>
                <a:gd name="connsiteY7" fmla="*/ 251 h 1310193"/>
                <a:gd name="connsiteX8" fmla="*/ 696153 w 1398752"/>
                <a:gd name="connsiteY8" fmla="*/ 59782 h 1310193"/>
                <a:gd name="connsiteX9" fmla="*/ 819978 w 1398752"/>
                <a:gd name="connsiteY9" fmla="*/ 147889 h 1310193"/>
                <a:gd name="connsiteX10" fmla="*/ 922371 w 1398752"/>
                <a:gd name="connsiteY10" fmla="*/ 245520 h 1310193"/>
                <a:gd name="connsiteX11" fmla="*/ 1046196 w 1398752"/>
                <a:gd name="connsiteY11" fmla="*/ 350295 h 1310193"/>
                <a:gd name="connsiteX12" fmla="*/ 1146209 w 1398752"/>
                <a:gd name="connsiteY12" fmla="*/ 469357 h 1310193"/>
                <a:gd name="connsiteX13" fmla="*/ 1227171 w 1398752"/>
                <a:gd name="connsiteY13" fmla="*/ 540795 h 1310193"/>
                <a:gd name="connsiteX14" fmla="*/ 1358140 w 1398752"/>
                <a:gd name="connsiteY14" fmla="*/ 700339 h 1310193"/>
                <a:gd name="connsiteX15" fmla="*/ 1158115 w 1398752"/>
                <a:gd name="connsiteY15" fmla="*/ 557464 h 1310193"/>
                <a:gd name="connsiteX16" fmla="*/ 1062865 w 1398752"/>
                <a:gd name="connsiteY16" fmla="*/ 676526 h 1310193"/>
                <a:gd name="connsiteX17" fmla="*/ 1177165 w 1398752"/>
                <a:gd name="connsiteY17" fmla="*/ 681289 h 1310193"/>
                <a:gd name="connsiteX18" fmla="*/ 1300990 w 1398752"/>
                <a:gd name="connsiteY18" fmla="*/ 738439 h 1310193"/>
                <a:gd name="connsiteX19" fmla="*/ 1365284 w 1398752"/>
                <a:gd name="connsiteY19" fmla="*/ 781301 h 1310193"/>
                <a:gd name="connsiteX20" fmla="*/ 1398621 w 1398752"/>
                <a:gd name="connsiteY20" fmla="*/ 840832 h 1310193"/>
                <a:gd name="connsiteX21" fmla="*/ 1372428 w 1398752"/>
                <a:gd name="connsiteY21" fmla="*/ 817020 h 1310193"/>
                <a:gd name="connsiteX22" fmla="*/ 1274796 w 1398752"/>
                <a:gd name="connsiteY22" fmla="*/ 924176 h 1310193"/>
                <a:gd name="connsiteX23" fmla="*/ 1217646 w 1398752"/>
                <a:gd name="connsiteY23" fmla="*/ 1057526 h 1310193"/>
                <a:gd name="connsiteX24" fmla="*/ 1155734 w 1398752"/>
                <a:gd name="connsiteY24" fmla="*/ 1128964 h 1310193"/>
                <a:gd name="connsiteX25" fmla="*/ 1086678 w 1398752"/>
                <a:gd name="connsiteY25" fmla="*/ 1183732 h 1310193"/>
                <a:gd name="connsiteX26" fmla="*/ 1041434 w 1398752"/>
                <a:gd name="connsiteY26" fmla="*/ 1257551 h 1310193"/>
                <a:gd name="connsiteX27" fmla="*/ 1020003 w 1398752"/>
                <a:gd name="connsiteY27" fmla="*/ 1309939 h 1310193"/>
                <a:gd name="connsiteX28" fmla="*/ 924753 w 1398752"/>
                <a:gd name="connsiteY28" fmla="*/ 1236120 h 1310193"/>
                <a:gd name="connsiteX29" fmla="*/ 889034 w 1398752"/>
                <a:gd name="connsiteY29" fmla="*/ 1152776 h 1310193"/>
                <a:gd name="connsiteX30" fmla="*/ 855696 w 1398752"/>
                <a:gd name="connsiteY30" fmla="*/ 1086101 h 1310193"/>
                <a:gd name="connsiteX31" fmla="*/ 798546 w 1398752"/>
                <a:gd name="connsiteY31" fmla="*/ 1057526 h 1310193"/>
                <a:gd name="connsiteX32" fmla="*/ 750921 w 1398752"/>
                <a:gd name="connsiteY32" fmla="*/ 1093245 h 1310193"/>
                <a:gd name="connsiteX33" fmla="*/ 708059 w 1398752"/>
                <a:gd name="connsiteY33" fmla="*/ 1233739 h 1310193"/>
                <a:gd name="connsiteX34" fmla="*/ 672340 w 1398752"/>
                <a:gd name="connsiteY34" fmla="*/ 1240882 h 1310193"/>
                <a:gd name="connsiteX35" fmla="*/ 588996 w 1398752"/>
                <a:gd name="connsiteY35" fmla="*/ 1212307 h 1310193"/>
                <a:gd name="connsiteX36" fmla="*/ 424690 w 1398752"/>
                <a:gd name="connsiteY36" fmla="*/ 1143251 h 1310193"/>
                <a:gd name="connsiteX37" fmla="*/ 284196 w 1398752"/>
                <a:gd name="connsiteY37" fmla="*/ 1064670 h 1310193"/>
                <a:gd name="connsiteX38" fmla="*/ 136559 w 1398752"/>
                <a:gd name="connsiteY38" fmla="*/ 990851 h 1310193"/>
                <a:gd name="connsiteX39" fmla="*/ 3209 w 1398752"/>
                <a:gd name="connsiteY39" fmla="*/ 902745 h 1310193"/>
                <a:gd name="connsiteX0" fmla="*/ 3471 w 1399014"/>
                <a:gd name="connsiteY0" fmla="*/ 902745 h 1310193"/>
                <a:gd name="connsiteX1" fmla="*/ 48715 w 1399014"/>
                <a:gd name="connsiteY1" fmla="*/ 769395 h 1310193"/>
                <a:gd name="connsiteX2" fmla="*/ 127296 w 1399014"/>
                <a:gd name="connsiteY2" fmla="*/ 595564 h 1310193"/>
                <a:gd name="connsiteX3" fmla="*/ 241596 w 1399014"/>
                <a:gd name="connsiteY3" fmla="*/ 407445 h 1310193"/>
                <a:gd name="connsiteX4" fmla="*/ 343990 w 1399014"/>
                <a:gd name="connsiteY4" fmla="*/ 269332 h 1310193"/>
                <a:gd name="connsiteX5" fmla="*/ 444002 w 1399014"/>
                <a:gd name="connsiteY5" fmla="*/ 150270 h 1310193"/>
                <a:gd name="connsiteX6" fmla="*/ 551158 w 1399014"/>
                <a:gd name="connsiteY6" fmla="*/ 43114 h 1310193"/>
                <a:gd name="connsiteX7" fmla="*/ 605927 w 1399014"/>
                <a:gd name="connsiteY7" fmla="*/ 251 h 1310193"/>
                <a:gd name="connsiteX8" fmla="*/ 696415 w 1399014"/>
                <a:gd name="connsiteY8" fmla="*/ 59782 h 1310193"/>
                <a:gd name="connsiteX9" fmla="*/ 820240 w 1399014"/>
                <a:gd name="connsiteY9" fmla="*/ 147889 h 1310193"/>
                <a:gd name="connsiteX10" fmla="*/ 922633 w 1399014"/>
                <a:gd name="connsiteY10" fmla="*/ 245520 h 1310193"/>
                <a:gd name="connsiteX11" fmla="*/ 1046458 w 1399014"/>
                <a:gd name="connsiteY11" fmla="*/ 350295 h 1310193"/>
                <a:gd name="connsiteX12" fmla="*/ 1146471 w 1399014"/>
                <a:gd name="connsiteY12" fmla="*/ 469357 h 1310193"/>
                <a:gd name="connsiteX13" fmla="*/ 1227433 w 1399014"/>
                <a:gd name="connsiteY13" fmla="*/ 540795 h 1310193"/>
                <a:gd name="connsiteX14" fmla="*/ 1358402 w 1399014"/>
                <a:gd name="connsiteY14" fmla="*/ 700339 h 1310193"/>
                <a:gd name="connsiteX15" fmla="*/ 1158377 w 1399014"/>
                <a:gd name="connsiteY15" fmla="*/ 557464 h 1310193"/>
                <a:gd name="connsiteX16" fmla="*/ 1063127 w 1399014"/>
                <a:gd name="connsiteY16" fmla="*/ 676526 h 1310193"/>
                <a:gd name="connsiteX17" fmla="*/ 1177427 w 1399014"/>
                <a:gd name="connsiteY17" fmla="*/ 681289 h 1310193"/>
                <a:gd name="connsiteX18" fmla="*/ 1301252 w 1399014"/>
                <a:gd name="connsiteY18" fmla="*/ 738439 h 1310193"/>
                <a:gd name="connsiteX19" fmla="*/ 1365546 w 1399014"/>
                <a:gd name="connsiteY19" fmla="*/ 781301 h 1310193"/>
                <a:gd name="connsiteX20" fmla="*/ 1398883 w 1399014"/>
                <a:gd name="connsiteY20" fmla="*/ 840832 h 1310193"/>
                <a:gd name="connsiteX21" fmla="*/ 1372690 w 1399014"/>
                <a:gd name="connsiteY21" fmla="*/ 817020 h 1310193"/>
                <a:gd name="connsiteX22" fmla="*/ 1275058 w 1399014"/>
                <a:gd name="connsiteY22" fmla="*/ 924176 h 1310193"/>
                <a:gd name="connsiteX23" fmla="*/ 1217908 w 1399014"/>
                <a:gd name="connsiteY23" fmla="*/ 1057526 h 1310193"/>
                <a:gd name="connsiteX24" fmla="*/ 1155996 w 1399014"/>
                <a:gd name="connsiteY24" fmla="*/ 1128964 h 1310193"/>
                <a:gd name="connsiteX25" fmla="*/ 1086940 w 1399014"/>
                <a:gd name="connsiteY25" fmla="*/ 1183732 h 1310193"/>
                <a:gd name="connsiteX26" fmla="*/ 1041696 w 1399014"/>
                <a:gd name="connsiteY26" fmla="*/ 1257551 h 1310193"/>
                <a:gd name="connsiteX27" fmla="*/ 1020265 w 1399014"/>
                <a:gd name="connsiteY27" fmla="*/ 1309939 h 1310193"/>
                <a:gd name="connsiteX28" fmla="*/ 925015 w 1399014"/>
                <a:gd name="connsiteY28" fmla="*/ 1236120 h 1310193"/>
                <a:gd name="connsiteX29" fmla="*/ 889296 w 1399014"/>
                <a:gd name="connsiteY29" fmla="*/ 1152776 h 1310193"/>
                <a:gd name="connsiteX30" fmla="*/ 855958 w 1399014"/>
                <a:gd name="connsiteY30" fmla="*/ 1086101 h 1310193"/>
                <a:gd name="connsiteX31" fmla="*/ 798808 w 1399014"/>
                <a:gd name="connsiteY31" fmla="*/ 1057526 h 1310193"/>
                <a:gd name="connsiteX32" fmla="*/ 751183 w 1399014"/>
                <a:gd name="connsiteY32" fmla="*/ 1093245 h 1310193"/>
                <a:gd name="connsiteX33" fmla="*/ 708321 w 1399014"/>
                <a:gd name="connsiteY33" fmla="*/ 1233739 h 1310193"/>
                <a:gd name="connsiteX34" fmla="*/ 672602 w 1399014"/>
                <a:gd name="connsiteY34" fmla="*/ 1240882 h 1310193"/>
                <a:gd name="connsiteX35" fmla="*/ 589258 w 1399014"/>
                <a:gd name="connsiteY35" fmla="*/ 1212307 h 1310193"/>
                <a:gd name="connsiteX36" fmla="*/ 424952 w 1399014"/>
                <a:gd name="connsiteY36" fmla="*/ 1143251 h 1310193"/>
                <a:gd name="connsiteX37" fmla="*/ 284458 w 1399014"/>
                <a:gd name="connsiteY37" fmla="*/ 1064670 h 1310193"/>
                <a:gd name="connsiteX38" fmla="*/ 141584 w 1399014"/>
                <a:gd name="connsiteY38" fmla="*/ 997995 h 1310193"/>
                <a:gd name="connsiteX39" fmla="*/ 3471 w 1399014"/>
                <a:gd name="connsiteY39" fmla="*/ 902745 h 1310193"/>
                <a:gd name="connsiteX0" fmla="*/ 3471 w 1399014"/>
                <a:gd name="connsiteY0" fmla="*/ 902745 h 1310193"/>
                <a:gd name="connsiteX1" fmla="*/ 48715 w 1399014"/>
                <a:gd name="connsiteY1" fmla="*/ 769395 h 1310193"/>
                <a:gd name="connsiteX2" fmla="*/ 127296 w 1399014"/>
                <a:gd name="connsiteY2" fmla="*/ 595564 h 1310193"/>
                <a:gd name="connsiteX3" fmla="*/ 241596 w 1399014"/>
                <a:gd name="connsiteY3" fmla="*/ 407445 h 1310193"/>
                <a:gd name="connsiteX4" fmla="*/ 343990 w 1399014"/>
                <a:gd name="connsiteY4" fmla="*/ 269332 h 1310193"/>
                <a:gd name="connsiteX5" fmla="*/ 444002 w 1399014"/>
                <a:gd name="connsiteY5" fmla="*/ 150270 h 1310193"/>
                <a:gd name="connsiteX6" fmla="*/ 551158 w 1399014"/>
                <a:gd name="connsiteY6" fmla="*/ 43114 h 1310193"/>
                <a:gd name="connsiteX7" fmla="*/ 605927 w 1399014"/>
                <a:gd name="connsiteY7" fmla="*/ 251 h 1310193"/>
                <a:gd name="connsiteX8" fmla="*/ 696415 w 1399014"/>
                <a:gd name="connsiteY8" fmla="*/ 59782 h 1310193"/>
                <a:gd name="connsiteX9" fmla="*/ 820240 w 1399014"/>
                <a:gd name="connsiteY9" fmla="*/ 147889 h 1310193"/>
                <a:gd name="connsiteX10" fmla="*/ 922633 w 1399014"/>
                <a:gd name="connsiteY10" fmla="*/ 245520 h 1310193"/>
                <a:gd name="connsiteX11" fmla="*/ 1046458 w 1399014"/>
                <a:gd name="connsiteY11" fmla="*/ 350295 h 1310193"/>
                <a:gd name="connsiteX12" fmla="*/ 1146471 w 1399014"/>
                <a:gd name="connsiteY12" fmla="*/ 469357 h 1310193"/>
                <a:gd name="connsiteX13" fmla="*/ 1227433 w 1399014"/>
                <a:gd name="connsiteY13" fmla="*/ 540795 h 1310193"/>
                <a:gd name="connsiteX14" fmla="*/ 1358402 w 1399014"/>
                <a:gd name="connsiteY14" fmla="*/ 700339 h 1310193"/>
                <a:gd name="connsiteX15" fmla="*/ 1158377 w 1399014"/>
                <a:gd name="connsiteY15" fmla="*/ 557464 h 1310193"/>
                <a:gd name="connsiteX16" fmla="*/ 1063127 w 1399014"/>
                <a:gd name="connsiteY16" fmla="*/ 676526 h 1310193"/>
                <a:gd name="connsiteX17" fmla="*/ 1177427 w 1399014"/>
                <a:gd name="connsiteY17" fmla="*/ 681289 h 1310193"/>
                <a:gd name="connsiteX18" fmla="*/ 1301252 w 1399014"/>
                <a:gd name="connsiteY18" fmla="*/ 738439 h 1310193"/>
                <a:gd name="connsiteX19" fmla="*/ 1365546 w 1399014"/>
                <a:gd name="connsiteY19" fmla="*/ 781301 h 1310193"/>
                <a:gd name="connsiteX20" fmla="*/ 1398883 w 1399014"/>
                <a:gd name="connsiteY20" fmla="*/ 840832 h 1310193"/>
                <a:gd name="connsiteX21" fmla="*/ 1372690 w 1399014"/>
                <a:gd name="connsiteY21" fmla="*/ 817020 h 1310193"/>
                <a:gd name="connsiteX22" fmla="*/ 1275058 w 1399014"/>
                <a:gd name="connsiteY22" fmla="*/ 924176 h 1310193"/>
                <a:gd name="connsiteX23" fmla="*/ 1217908 w 1399014"/>
                <a:gd name="connsiteY23" fmla="*/ 1057526 h 1310193"/>
                <a:gd name="connsiteX24" fmla="*/ 1155996 w 1399014"/>
                <a:gd name="connsiteY24" fmla="*/ 1128964 h 1310193"/>
                <a:gd name="connsiteX25" fmla="*/ 1086940 w 1399014"/>
                <a:gd name="connsiteY25" fmla="*/ 1183732 h 1310193"/>
                <a:gd name="connsiteX26" fmla="*/ 1041696 w 1399014"/>
                <a:gd name="connsiteY26" fmla="*/ 1257551 h 1310193"/>
                <a:gd name="connsiteX27" fmla="*/ 1020265 w 1399014"/>
                <a:gd name="connsiteY27" fmla="*/ 1309939 h 1310193"/>
                <a:gd name="connsiteX28" fmla="*/ 925015 w 1399014"/>
                <a:gd name="connsiteY28" fmla="*/ 1236120 h 1310193"/>
                <a:gd name="connsiteX29" fmla="*/ 889296 w 1399014"/>
                <a:gd name="connsiteY29" fmla="*/ 1152776 h 1310193"/>
                <a:gd name="connsiteX30" fmla="*/ 855958 w 1399014"/>
                <a:gd name="connsiteY30" fmla="*/ 1086101 h 1310193"/>
                <a:gd name="connsiteX31" fmla="*/ 798808 w 1399014"/>
                <a:gd name="connsiteY31" fmla="*/ 1057526 h 1310193"/>
                <a:gd name="connsiteX32" fmla="*/ 751183 w 1399014"/>
                <a:gd name="connsiteY32" fmla="*/ 1093245 h 1310193"/>
                <a:gd name="connsiteX33" fmla="*/ 708321 w 1399014"/>
                <a:gd name="connsiteY33" fmla="*/ 1233739 h 1310193"/>
                <a:gd name="connsiteX34" fmla="*/ 672602 w 1399014"/>
                <a:gd name="connsiteY34" fmla="*/ 1240882 h 1310193"/>
                <a:gd name="connsiteX35" fmla="*/ 589258 w 1399014"/>
                <a:gd name="connsiteY35" fmla="*/ 1212307 h 1310193"/>
                <a:gd name="connsiteX36" fmla="*/ 424952 w 1399014"/>
                <a:gd name="connsiteY36" fmla="*/ 1143251 h 1310193"/>
                <a:gd name="connsiteX37" fmla="*/ 284458 w 1399014"/>
                <a:gd name="connsiteY37" fmla="*/ 1076576 h 1310193"/>
                <a:gd name="connsiteX38" fmla="*/ 141584 w 1399014"/>
                <a:gd name="connsiteY38" fmla="*/ 997995 h 1310193"/>
                <a:gd name="connsiteX39" fmla="*/ 3471 w 1399014"/>
                <a:gd name="connsiteY39" fmla="*/ 902745 h 1310193"/>
                <a:gd name="connsiteX0" fmla="*/ 3471 w 1399014"/>
                <a:gd name="connsiteY0" fmla="*/ 902745 h 1310193"/>
                <a:gd name="connsiteX1" fmla="*/ 48715 w 1399014"/>
                <a:gd name="connsiteY1" fmla="*/ 769395 h 1310193"/>
                <a:gd name="connsiteX2" fmla="*/ 127296 w 1399014"/>
                <a:gd name="connsiteY2" fmla="*/ 595564 h 1310193"/>
                <a:gd name="connsiteX3" fmla="*/ 241596 w 1399014"/>
                <a:gd name="connsiteY3" fmla="*/ 407445 h 1310193"/>
                <a:gd name="connsiteX4" fmla="*/ 343990 w 1399014"/>
                <a:gd name="connsiteY4" fmla="*/ 269332 h 1310193"/>
                <a:gd name="connsiteX5" fmla="*/ 444002 w 1399014"/>
                <a:gd name="connsiteY5" fmla="*/ 150270 h 1310193"/>
                <a:gd name="connsiteX6" fmla="*/ 551158 w 1399014"/>
                <a:gd name="connsiteY6" fmla="*/ 43114 h 1310193"/>
                <a:gd name="connsiteX7" fmla="*/ 605927 w 1399014"/>
                <a:gd name="connsiteY7" fmla="*/ 251 h 1310193"/>
                <a:gd name="connsiteX8" fmla="*/ 696415 w 1399014"/>
                <a:gd name="connsiteY8" fmla="*/ 59782 h 1310193"/>
                <a:gd name="connsiteX9" fmla="*/ 820240 w 1399014"/>
                <a:gd name="connsiteY9" fmla="*/ 147889 h 1310193"/>
                <a:gd name="connsiteX10" fmla="*/ 922633 w 1399014"/>
                <a:gd name="connsiteY10" fmla="*/ 245520 h 1310193"/>
                <a:gd name="connsiteX11" fmla="*/ 1046458 w 1399014"/>
                <a:gd name="connsiteY11" fmla="*/ 350295 h 1310193"/>
                <a:gd name="connsiteX12" fmla="*/ 1146471 w 1399014"/>
                <a:gd name="connsiteY12" fmla="*/ 469357 h 1310193"/>
                <a:gd name="connsiteX13" fmla="*/ 1227433 w 1399014"/>
                <a:gd name="connsiteY13" fmla="*/ 540795 h 1310193"/>
                <a:gd name="connsiteX14" fmla="*/ 1358402 w 1399014"/>
                <a:gd name="connsiteY14" fmla="*/ 700339 h 1310193"/>
                <a:gd name="connsiteX15" fmla="*/ 1158377 w 1399014"/>
                <a:gd name="connsiteY15" fmla="*/ 557464 h 1310193"/>
                <a:gd name="connsiteX16" fmla="*/ 1063127 w 1399014"/>
                <a:gd name="connsiteY16" fmla="*/ 676526 h 1310193"/>
                <a:gd name="connsiteX17" fmla="*/ 1177427 w 1399014"/>
                <a:gd name="connsiteY17" fmla="*/ 681289 h 1310193"/>
                <a:gd name="connsiteX18" fmla="*/ 1301252 w 1399014"/>
                <a:gd name="connsiteY18" fmla="*/ 738439 h 1310193"/>
                <a:gd name="connsiteX19" fmla="*/ 1365546 w 1399014"/>
                <a:gd name="connsiteY19" fmla="*/ 781301 h 1310193"/>
                <a:gd name="connsiteX20" fmla="*/ 1398883 w 1399014"/>
                <a:gd name="connsiteY20" fmla="*/ 840832 h 1310193"/>
                <a:gd name="connsiteX21" fmla="*/ 1372690 w 1399014"/>
                <a:gd name="connsiteY21" fmla="*/ 817020 h 1310193"/>
                <a:gd name="connsiteX22" fmla="*/ 1275058 w 1399014"/>
                <a:gd name="connsiteY22" fmla="*/ 924176 h 1310193"/>
                <a:gd name="connsiteX23" fmla="*/ 1217908 w 1399014"/>
                <a:gd name="connsiteY23" fmla="*/ 1057526 h 1310193"/>
                <a:gd name="connsiteX24" fmla="*/ 1155996 w 1399014"/>
                <a:gd name="connsiteY24" fmla="*/ 1128964 h 1310193"/>
                <a:gd name="connsiteX25" fmla="*/ 1086940 w 1399014"/>
                <a:gd name="connsiteY25" fmla="*/ 1183732 h 1310193"/>
                <a:gd name="connsiteX26" fmla="*/ 1041696 w 1399014"/>
                <a:gd name="connsiteY26" fmla="*/ 1257551 h 1310193"/>
                <a:gd name="connsiteX27" fmla="*/ 1020265 w 1399014"/>
                <a:gd name="connsiteY27" fmla="*/ 1309939 h 1310193"/>
                <a:gd name="connsiteX28" fmla="*/ 925015 w 1399014"/>
                <a:gd name="connsiteY28" fmla="*/ 1236120 h 1310193"/>
                <a:gd name="connsiteX29" fmla="*/ 889296 w 1399014"/>
                <a:gd name="connsiteY29" fmla="*/ 1152776 h 1310193"/>
                <a:gd name="connsiteX30" fmla="*/ 855958 w 1399014"/>
                <a:gd name="connsiteY30" fmla="*/ 1086101 h 1310193"/>
                <a:gd name="connsiteX31" fmla="*/ 798808 w 1399014"/>
                <a:gd name="connsiteY31" fmla="*/ 1057526 h 1310193"/>
                <a:gd name="connsiteX32" fmla="*/ 751183 w 1399014"/>
                <a:gd name="connsiteY32" fmla="*/ 1093245 h 1310193"/>
                <a:gd name="connsiteX33" fmla="*/ 708321 w 1399014"/>
                <a:gd name="connsiteY33" fmla="*/ 1233739 h 1310193"/>
                <a:gd name="connsiteX34" fmla="*/ 672602 w 1399014"/>
                <a:gd name="connsiteY34" fmla="*/ 1240882 h 1310193"/>
                <a:gd name="connsiteX35" fmla="*/ 589258 w 1399014"/>
                <a:gd name="connsiteY35" fmla="*/ 1212307 h 1310193"/>
                <a:gd name="connsiteX36" fmla="*/ 424952 w 1399014"/>
                <a:gd name="connsiteY36" fmla="*/ 1143251 h 1310193"/>
                <a:gd name="connsiteX37" fmla="*/ 279696 w 1399014"/>
                <a:gd name="connsiteY37" fmla="*/ 1078958 h 1310193"/>
                <a:gd name="connsiteX38" fmla="*/ 141584 w 1399014"/>
                <a:gd name="connsiteY38" fmla="*/ 997995 h 1310193"/>
                <a:gd name="connsiteX39" fmla="*/ 3471 w 1399014"/>
                <a:gd name="connsiteY39" fmla="*/ 902745 h 1310193"/>
                <a:gd name="connsiteX0" fmla="*/ 3471 w 1399014"/>
                <a:gd name="connsiteY0" fmla="*/ 902745 h 1310193"/>
                <a:gd name="connsiteX1" fmla="*/ 48715 w 1399014"/>
                <a:gd name="connsiteY1" fmla="*/ 769395 h 1310193"/>
                <a:gd name="connsiteX2" fmla="*/ 127296 w 1399014"/>
                <a:gd name="connsiteY2" fmla="*/ 595564 h 1310193"/>
                <a:gd name="connsiteX3" fmla="*/ 241596 w 1399014"/>
                <a:gd name="connsiteY3" fmla="*/ 407445 h 1310193"/>
                <a:gd name="connsiteX4" fmla="*/ 343990 w 1399014"/>
                <a:gd name="connsiteY4" fmla="*/ 269332 h 1310193"/>
                <a:gd name="connsiteX5" fmla="*/ 444002 w 1399014"/>
                <a:gd name="connsiteY5" fmla="*/ 150270 h 1310193"/>
                <a:gd name="connsiteX6" fmla="*/ 551158 w 1399014"/>
                <a:gd name="connsiteY6" fmla="*/ 43114 h 1310193"/>
                <a:gd name="connsiteX7" fmla="*/ 605927 w 1399014"/>
                <a:gd name="connsiteY7" fmla="*/ 251 h 1310193"/>
                <a:gd name="connsiteX8" fmla="*/ 696415 w 1399014"/>
                <a:gd name="connsiteY8" fmla="*/ 59782 h 1310193"/>
                <a:gd name="connsiteX9" fmla="*/ 820240 w 1399014"/>
                <a:gd name="connsiteY9" fmla="*/ 147889 h 1310193"/>
                <a:gd name="connsiteX10" fmla="*/ 922633 w 1399014"/>
                <a:gd name="connsiteY10" fmla="*/ 245520 h 1310193"/>
                <a:gd name="connsiteX11" fmla="*/ 1046458 w 1399014"/>
                <a:gd name="connsiteY11" fmla="*/ 350295 h 1310193"/>
                <a:gd name="connsiteX12" fmla="*/ 1146471 w 1399014"/>
                <a:gd name="connsiteY12" fmla="*/ 469357 h 1310193"/>
                <a:gd name="connsiteX13" fmla="*/ 1227433 w 1399014"/>
                <a:gd name="connsiteY13" fmla="*/ 540795 h 1310193"/>
                <a:gd name="connsiteX14" fmla="*/ 1358402 w 1399014"/>
                <a:gd name="connsiteY14" fmla="*/ 700339 h 1310193"/>
                <a:gd name="connsiteX15" fmla="*/ 1158377 w 1399014"/>
                <a:gd name="connsiteY15" fmla="*/ 557464 h 1310193"/>
                <a:gd name="connsiteX16" fmla="*/ 1063127 w 1399014"/>
                <a:gd name="connsiteY16" fmla="*/ 676526 h 1310193"/>
                <a:gd name="connsiteX17" fmla="*/ 1177427 w 1399014"/>
                <a:gd name="connsiteY17" fmla="*/ 681289 h 1310193"/>
                <a:gd name="connsiteX18" fmla="*/ 1301252 w 1399014"/>
                <a:gd name="connsiteY18" fmla="*/ 738439 h 1310193"/>
                <a:gd name="connsiteX19" fmla="*/ 1365546 w 1399014"/>
                <a:gd name="connsiteY19" fmla="*/ 781301 h 1310193"/>
                <a:gd name="connsiteX20" fmla="*/ 1398883 w 1399014"/>
                <a:gd name="connsiteY20" fmla="*/ 840832 h 1310193"/>
                <a:gd name="connsiteX21" fmla="*/ 1372690 w 1399014"/>
                <a:gd name="connsiteY21" fmla="*/ 817020 h 1310193"/>
                <a:gd name="connsiteX22" fmla="*/ 1275058 w 1399014"/>
                <a:gd name="connsiteY22" fmla="*/ 924176 h 1310193"/>
                <a:gd name="connsiteX23" fmla="*/ 1217908 w 1399014"/>
                <a:gd name="connsiteY23" fmla="*/ 1057526 h 1310193"/>
                <a:gd name="connsiteX24" fmla="*/ 1155996 w 1399014"/>
                <a:gd name="connsiteY24" fmla="*/ 1128964 h 1310193"/>
                <a:gd name="connsiteX25" fmla="*/ 1086940 w 1399014"/>
                <a:gd name="connsiteY25" fmla="*/ 1183732 h 1310193"/>
                <a:gd name="connsiteX26" fmla="*/ 1041696 w 1399014"/>
                <a:gd name="connsiteY26" fmla="*/ 1257551 h 1310193"/>
                <a:gd name="connsiteX27" fmla="*/ 1020265 w 1399014"/>
                <a:gd name="connsiteY27" fmla="*/ 1309939 h 1310193"/>
                <a:gd name="connsiteX28" fmla="*/ 925015 w 1399014"/>
                <a:gd name="connsiteY28" fmla="*/ 1236120 h 1310193"/>
                <a:gd name="connsiteX29" fmla="*/ 889296 w 1399014"/>
                <a:gd name="connsiteY29" fmla="*/ 1152776 h 1310193"/>
                <a:gd name="connsiteX30" fmla="*/ 855958 w 1399014"/>
                <a:gd name="connsiteY30" fmla="*/ 1086101 h 1310193"/>
                <a:gd name="connsiteX31" fmla="*/ 798808 w 1399014"/>
                <a:gd name="connsiteY31" fmla="*/ 1057526 h 1310193"/>
                <a:gd name="connsiteX32" fmla="*/ 751183 w 1399014"/>
                <a:gd name="connsiteY32" fmla="*/ 1093245 h 1310193"/>
                <a:gd name="connsiteX33" fmla="*/ 708321 w 1399014"/>
                <a:gd name="connsiteY33" fmla="*/ 1233739 h 1310193"/>
                <a:gd name="connsiteX34" fmla="*/ 672602 w 1399014"/>
                <a:gd name="connsiteY34" fmla="*/ 1240882 h 1310193"/>
                <a:gd name="connsiteX35" fmla="*/ 589258 w 1399014"/>
                <a:gd name="connsiteY35" fmla="*/ 1212307 h 1310193"/>
                <a:gd name="connsiteX36" fmla="*/ 408283 w 1399014"/>
                <a:gd name="connsiteY36" fmla="*/ 1143251 h 1310193"/>
                <a:gd name="connsiteX37" fmla="*/ 279696 w 1399014"/>
                <a:gd name="connsiteY37" fmla="*/ 1078958 h 1310193"/>
                <a:gd name="connsiteX38" fmla="*/ 141584 w 1399014"/>
                <a:gd name="connsiteY38" fmla="*/ 997995 h 1310193"/>
                <a:gd name="connsiteX39" fmla="*/ 3471 w 1399014"/>
                <a:gd name="connsiteY39" fmla="*/ 902745 h 1310193"/>
                <a:gd name="connsiteX0" fmla="*/ 3471 w 1399014"/>
                <a:gd name="connsiteY0" fmla="*/ 902745 h 1310193"/>
                <a:gd name="connsiteX1" fmla="*/ 48715 w 1399014"/>
                <a:gd name="connsiteY1" fmla="*/ 769395 h 1310193"/>
                <a:gd name="connsiteX2" fmla="*/ 127296 w 1399014"/>
                <a:gd name="connsiteY2" fmla="*/ 595564 h 1310193"/>
                <a:gd name="connsiteX3" fmla="*/ 241596 w 1399014"/>
                <a:gd name="connsiteY3" fmla="*/ 407445 h 1310193"/>
                <a:gd name="connsiteX4" fmla="*/ 343990 w 1399014"/>
                <a:gd name="connsiteY4" fmla="*/ 269332 h 1310193"/>
                <a:gd name="connsiteX5" fmla="*/ 444002 w 1399014"/>
                <a:gd name="connsiteY5" fmla="*/ 150270 h 1310193"/>
                <a:gd name="connsiteX6" fmla="*/ 551158 w 1399014"/>
                <a:gd name="connsiteY6" fmla="*/ 43114 h 1310193"/>
                <a:gd name="connsiteX7" fmla="*/ 605927 w 1399014"/>
                <a:gd name="connsiteY7" fmla="*/ 251 h 1310193"/>
                <a:gd name="connsiteX8" fmla="*/ 696415 w 1399014"/>
                <a:gd name="connsiteY8" fmla="*/ 59782 h 1310193"/>
                <a:gd name="connsiteX9" fmla="*/ 820240 w 1399014"/>
                <a:gd name="connsiteY9" fmla="*/ 147889 h 1310193"/>
                <a:gd name="connsiteX10" fmla="*/ 922633 w 1399014"/>
                <a:gd name="connsiteY10" fmla="*/ 245520 h 1310193"/>
                <a:gd name="connsiteX11" fmla="*/ 1046458 w 1399014"/>
                <a:gd name="connsiteY11" fmla="*/ 350295 h 1310193"/>
                <a:gd name="connsiteX12" fmla="*/ 1146471 w 1399014"/>
                <a:gd name="connsiteY12" fmla="*/ 469357 h 1310193"/>
                <a:gd name="connsiteX13" fmla="*/ 1227433 w 1399014"/>
                <a:gd name="connsiteY13" fmla="*/ 540795 h 1310193"/>
                <a:gd name="connsiteX14" fmla="*/ 1358402 w 1399014"/>
                <a:gd name="connsiteY14" fmla="*/ 700339 h 1310193"/>
                <a:gd name="connsiteX15" fmla="*/ 1158377 w 1399014"/>
                <a:gd name="connsiteY15" fmla="*/ 557464 h 1310193"/>
                <a:gd name="connsiteX16" fmla="*/ 1063127 w 1399014"/>
                <a:gd name="connsiteY16" fmla="*/ 676526 h 1310193"/>
                <a:gd name="connsiteX17" fmla="*/ 1177427 w 1399014"/>
                <a:gd name="connsiteY17" fmla="*/ 681289 h 1310193"/>
                <a:gd name="connsiteX18" fmla="*/ 1301252 w 1399014"/>
                <a:gd name="connsiteY18" fmla="*/ 738439 h 1310193"/>
                <a:gd name="connsiteX19" fmla="*/ 1365546 w 1399014"/>
                <a:gd name="connsiteY19" fmla="*/ 781301 h 1310193"/>
                <a:gd name="connsiteX20" fmla="*/ 1398883 w 1399014"/>
                <a:gd name="connsiteY20" fmla="*/ 840832 h 1310193"/>
                <a:gd name="connsiteX21" fmla="*/ 1372690 w 1399014"/>
                <a:gd name="connsiteY21" fmla="*/ 817020 h 1310193"/>
                <a:gd name="connsiteX22" fmla="*/ 1275058 w 1399014"/>
                <a:gd name="connsiteY22" fmla="*/ 924176 h 1310193"/>
                <a:gd name="connsiteX23" fmla="*/ 1217908 w 1399014"/>
                <a:gd name="connsiteY23" fmla="*/ 1057526 h 1310193"/>
                <a:gd name="connsiteX24" fmla="*/ 1155996 w 1399014"/>
                <a:gd name="connsiteY24" fmla="*/ 1128964 h 1310193"/>
                <a:gd name="connsiteX25" fmla="*/ 1086940 w 1399014"/>
                <a:gd name="connsiteY25" fmla="*/ 1183732 h 1310193"/>
                <a:gd name="connsiteX26" fmla="*/ 1041696 w 1399014"/>
                <a:gd name="connsiteY26" fmla="*/ 1257551 h 1310193"/>
                <a:gd name="connsiteX27" fmla="*/ 1020265 w 1399014"/>
                <a:gd name="connsiteY27" fmla="*/ 1309939 h 1310193"/>
                <a:gd name="connsiteX28" fmla="*/ 925015 w 1399014"/>
                <a:gd name="connsiteY28" fmla="*/ 1236120 h 1310193"/>
                <a:gd name="connsiteX29" fmla="*/ 889296 w 1399014"/>
                <a:gd name="connsiteY29" fmla="*/ 1152776 h 1310193"/>
                <a:gd name="connsiteX30" fmla="*/ 855958 w 1399014"/>
                <a:gd name="connsiteY30" fmla="*/ 1086101 h 1310193"/>
                <a:gd name="connsiteX31" fmla="*/ 798808 w 1399014"/>
                <a:gd name="connsiteY31" fmla="*/ 1057526 h 1310193"/>
                <a:gd name="connsiteX32" fmla="*/ 751183 w 1399014"/>
                <a:gd name="connsiteY32" fmla="*/ 1093245 h 1310193"/>
                <a:gd name="connsiteX33" fmla="*/ 708321 w 1399014"/>
                <a:gd name="connsiteY33" fmla="*/ 1233739 h 1310193"/>
                <a:gd name="connsiteX34" fmla="*/ 672602 w 1399014"/>
                <a:gd name="connsiteY34" fmla="*/ 1240882 h 1310193"/>
                <a:gd name="connsiteX35" fmla="*/ 579733 w 1399014"/>
                <a:gd name="connsiteY35" fmla="*/ 1219451 h 1310193"/>
                <a:gd name="connsiteX36" fmla="*/ 408283 w 1399014"/>
                <a:gd name="connsiteY36" fmla="*/ 1143251 h 1310193"/>
                <a:gd name="connsiteX37" fmla="*/ 279696 w 1399014"/>
                <a:gd name="connsiteY37" fmla="*/ 1078958 h 1310193"/>
                <a:gd name="connsiteX38" fmla="*/ 141584 w 1399014"/>
                <a:gd name="connsiteY38" fmla="*/ 997995 h 1310193"/>
                <a:gd name="connsiteX39" fmla="*/ 3471 w 1399014"/>
                <a:gd name="connsiteY39" fmla="*/ 902745 h 1310193"/>
                <a:gd name="connsiteX0" fmla="*/ 3471 w 1399014"/>
                <a:gd name="connsiteY0" fmla="*/ 902745 h 1310193"/>
                <a:gd name="connsiteX1" fmla="*/ 48715 w 1399014"/>
                <a:gd name="connsiteY1" fmla="*/ 769395 h 1310193"/>
                <a:gd name="connsiteX2" fmla="*/ 127296 w 1399014"/>
                <a:gd name="connsiteY2" fmla="*/ 595564 h 1310193"/>
                <a:gd name="connsiteX3" fmla="*/ 241596 w 1399014"/>
                <a:gd name="connsiteY3" fmla="*/ 407445 h 1310193"/>
                <a:gd name="connsiteX4" fmla="*/ 343990 w 1399014"/>
                <a:gd name="connsiteY4" fmla="*/ 269332 h 1310193"/>
                <a:gd name="connsiteX5" fmla="*/ 444002 w 1399014"/>
                <a:gd name="connsiteY5" fmla="*/ 150270 h 1310193"/>
                <a:gd name="connsiteX6" fmla="*/ 551158 w 1399014"/>
                <a:gd name="connsiteY6" fmla="*/ 43114 h 1310193"/>
                <a:gd name="connsiteX7" fmla="*/ 605927 w 1399014"/>
                <a:gd name="connsiteY7" fmla="*/ 251 h 1310193"/>
                <a:gd name="connsiteX8" fmla="*/ 696415 w 1399014"/>
                <a:gd name="connsiteY8" fmla="*/ 59782 h 1310193"/>
                <a:gd name="connsiteX9" fmla="*/ 820240 w 1399014"/>
                <a:gd name="connsiteY9" fmla="*/ 147889 h 1310193"/>
                <a:gd name="connsiteX10" fmla="*/ 922633 w 1399014"/>
                <a:gd name="connsiteY10" fmla="*/ 245520 h 1310193"/>
                <a:gd name="connsiteX11" fmla="*/ 1046458 w 1399014"/>
                <a:gd name="connsiteY11" fmla="*/ 350295 h 1310193"/>
                <a:gd name="connsiteX12" fmla="*/ 1146471 w 1399014"/>
                <a:gd name="connsiteY12" fmla="*/ 469357 h 1310193"/>
                <a:gd name="connsiteX13" fmla="*/ 1227433 w 1399014"/>
                <a:gd name="connsiteY13" fmla="*/ 540795 h 1310193"/>
                <a:gd name="connsiteX14" fmla="*/ 1358402 w 1399014"/>
                <a:gd name="connsiteY14" fmla="*/ 700339 h 1310193"/>
                <a:gd name="connsiteX15" fmla="*/ 1158377 w 1399014"/>
                <a:gd name="connsiteY15" fmla="*/ 557464 h 1310193"/>
                <a:gd name="connsiteX16" fmla="*/ 1063127 w 1399014"/>
                <a:gd name="connsiteY16" fmla="*/ 676526 h 1310193"/>
                <a:gd name="connsiteX17" fmla="*/ 1177427 w 1399014"/>
                <a:gd name="connsiteY17" fmla="*/ 681289 h 1310193"/>
                <a:gd name="connsiteX18" fmla="*/ 1301252 w 1399014"/>
                <a:gd name="connsiteY18" fmla="*/ 738439 h 1310193"/>
                <a:gd name="connsiteX19" fmla="*/ 1365546 w 1399014"/>
                <a:gd name="connsiteY19" fmla="*/ 781301 h 1310193"/>
                <a:gd name="connsiteX20" fmla="*/ 1398883 w 1399014"/>
                <a:gd name="connsiteY20" fmla="*/ 840832 h 1310193"/>
                <a:gd name="connsiteX21" fmla="*/ 1372690 w 1399014"/>
                <a:gd name="connsiteY21" fmla="*/ 817020 h 1310193"/>
                <a:gd name="connsiteX22" fmla="*/ 1275058 w 1399014"/>
                <a:gd name="connsiteY22" fmla="*/ 924176 h 1310193"/>
                <a:gd name="connsiteX23" fmla="*/ 1217908 w 1399014"/>
                <a:gd name="connsiteY23" fmla="*/ 1057526 h 1310193"/>
                <a:gd name="connsiteX24" fmla="*/ 1155996 w 1399014"/>
                <a:gd name="connsiteY24" fmla="*/ 1128964 h 1310193"/>
                <a:gd name="connsiteX25" fmla="*/ 1086940 w 1399014"/>
                <a:gd name="connsiteY25" fmla="*/ 1183732 h 1310193"/>
                <a:gd name="connsiteX26" fmla="*/ 1041696 w 1399014"/>
                <a:gd name="connsiteY26" fmla="*/ 1257551 h 1310193"/>
                <a:gd name="connsiteX27" fmla="*/ 1020265 w 1399014"/>
                <a:gd name="connsiteY27" fmla="*/ 1309939 h 1310193"/>
                <a:gd name="connsiteX28" fmla="*/ 925015 w 1399014"/>
                <a:gd name="connsiteY28" fmla="*/ 1236120 h 1310193"/>
                <a:gd name="connsiteX29" fmla="*/ 889296 w 1399014"/>
                <a:gd name="connsiteY29" fmla="*/ 1152776 h 1310193"/>
                <a:gd name="connsiteX30" fmla="*/ 855958 w 1399014"/>
                <a:gd name="connsiteY30" fmla="*/ 1086101 h 1310193"/>
                <a:gd name="connsiteX31" fmla="*/ 798808 w 1399014"/>
                <a:gd name="connsiteY31" fmla="*/ 1057526 h 1310193"/>
                <a:gd name="connsiteX32" fmla="*/ 751183 w 1399014"/>
                <a:gd name="connsiteY32" fmla="*/ 1093245 h 1310193"/>
                <a:gd name="connsiteX33" fmla="*/ 708321 w 1399014"/>
                <a:gd name="connsiteY33" fmla="*/ 1233739 h 1310193"/>
                <a:gd name="connsiteX34" fmla="*/ 672602 w 1399014"/>
                <a:gd name="connsiteY34" fmla="*/ 1252788 h 1310193"/>
                <a:gd name="connsiteX35" fmla="*/ 579733 w 1399014"/>
                <a:gd name="connsiteY35" fmla="*/ 1219451 h 1310193"/>
                <a:gd name="connsiteX36" fmla="*/ 408283 w 1399014"/>
                <a:gd name="connsiteY36" fmla="*/ 1143251 h 1310193"/>
                <a:gd name="connsiteX37" fmla="*/ 279696 w 1399014"/>
                <a:gd name="connsiteY37" fmla="*/ 1078958 h 1310193"/>
                <a:gd name="connsiteX38" fmla="*/ 141584 w 1399014"/>
                <a:gd name="connsiteY38" fmla="*/ 997995 h 1310193"/>
                <a:gd name="connsiteX39" fmla="*/ 3471 w 1399014"/>
                <a:gd name="connsiteY39" fmla="*/ 902745 h 1310193"/>
                <a:gd name="connsiteX0" fmla="*/ 3471 w 1399014"/>
                <a:gd name="connsiteY0" fmla="*/ 902745 h 1310193"/>
                <a:gd name="connsiteX1" fmla="*/ 48715 w 1399014"/>
                <a:gd name="connsiteY1" fmla="*/ 769395 h 1310193"/>
                <a:gd name="connsiteX2" fmla="*/ 127296 w 1399014"/>
                <a:gd name="connsiteY2" fmla="*/ 595564 h 1310193"/>
                <a:gd name="connsiteX3" fmla="*/ 241596 w 1399014"/>
                <a:gd name="connsiteY3" fmla="*/ 407445 h 1310193"/>
                <a:gd name="connsiteX4" fmla="*/ 343990 w 1399014"/>
                <a:gd name="connsiteY4" fmla="*/ 269332 h 1310193"/>
                <a:gd name="connsiteX5" fmla="*/ 444002 w 1399014"/>
                <a:gd name="connsiteY5" fmla="*/ 150270 h 1310193"/>
                <a:gd name="connsiteX6" fmla="*/ 551158 w 1399014"/>
                <a:gd name="connsiteY6" fmla="*/ 43114 h 1310193"/>
                <a:gd name="connsiteX7" fmla="*/ 605927 w 1399014"/>
                <a:gd name="connsiteY7" fmla="*/ 251 h 1310193"/>
                <a:gd name="connsiteX8" fmla="*/ 696415 w 1399014"/>
                <a:gd name="connsiteY8" fmla="*/ 59782 h 1310193"/>
                <a:gd name="connsiteX9" fmla="*/ 820240 w 1399014"/>
                <a:gd name="connsiteY9" fmla="*/ 147889 h 1310193"/>
                <a:gd name="connsiteX10" fmla="*/ 922633 w 1399014"/>
                <a:gd name="connsiteY10" fmla="*/ 245520 h 1310193"/>
                <a:gd name="connsiteX11" fmla="*/ 1046458 w 1399014"/>
                <a:gd name="connsiteY11" fmla="*/ 350295 h 1310193"/>
                <a:gd name="connsiteX12" fmla="*/ 1146471 w 1399014"/>
                <a:gd name="connsiteY12" fmla="*/ 469357 h 1310193"/>
                <a:gd name="connsiteX13" fmla="*/ 1227433 w 1399014"/>
                <a:gd name="connsiteY13" fmla="*/ 540795 h 1310193"/>
                <a:gd name="connsiteX14" fmla="*/ 1358402 w 1399014"/>
                <a:gd name="connsiteY14" fmla="*/ 700339 h 1310193"/>
                <a:gd name="connsiteX15" fmla="*/ 1158377 w 1399014"/>
                <a:gd name="connsiteY15" fmla="*/ 557464 h 1310193"/>
                <a:gd name="connsiteX16" fmla="*/ 1063127 w 1399014"/>
                <a:gd name="connsiteY16" fmla="*/ 676526 h 1310193"/>
                <a:gd name="connsiteX17" fmla="*/ 1177427 w 1399014"/>
                <a:gd name="connsiteY17" fmla="*/ 681289 h 1310193"/>
                <a:gd name="connsiteX18" fmla="*/ 1301252 w 1399014"/>
                <a:gd name="connsiteY18" fmla="*/ 738439 h 1310193"/>
                <a:gd name="connsiteX19" fmla="*/ 1365546 w 1399014"/>
                <a:gd name="connsiteY19" fmla="*/ 781301 h 1310193"/>
                <a:gd name="connsiteX20" fmla="*/ 1398883 w 1399014"/>
                <a:gd name="connsiteY20" fmla="*/ 840832 h 1310193"/>
                <a:gd name="connsiteX21" fmla="*/ 1372690 w 1399014"/>
                <a:gd name="connsiteY21" fmla="*/ 817020 h 1310193"/>
                <a:gd name="connsiteX22" fmla="*/ 1275058 w 1399014"/>
                <a:gd name="connsiteY22" fmla="*/ 924176 h 1310193"/>
                <a:gd name="connsiteX23" fmla="*/ 1217908 w 1399014"/>
                <a:gd name="connsiteY23" fmla="*/ 1057526 h 1310193"/>
                <a:gd name="connsiteX24" fmla="*/ 1155996 w 1399014"/>
                <a:gd name="connsiteY24" fmla="*/ 1128964 h 1310193"/>
                <a:gd name="connsiteX25" fmla="*/ 1086940 w 1399014"/>
                <a:gd name="connsiteY25" fmla="*/ 1183732 h 1310193"/>
                <a:gd name="connsiteX26" fmla="*/ 1041696 w 1399014"/>
                <a:gd name="connsiteY26" fmla="*/ 1257551 h 1310193"/>
                <a:gd name="connsiteX27" fmla="*/ 1020265 w 1399014"/>
                <a:gd name="connsiteY27" fmla="*/ 1309939 h 1310193"/>
                <a:gd name="connsiteX28" fmla="*/ 925015 w 1399014"/>
                <a:gd name="connsiteY28" fmla="*/ 1236120 h 1310193"/>
                <a:gd name="connsiteX29" fmla="*/ 889296 w 1399014"/>
                <a:gd name="connsiteY29" fmla="*/ 1152776 h 1310193"/>
                <a:gd name="connsiteX30" fmla="*/ 836908 w 1399014"/>
                <a:gd name="connsiteY30" fmla="*/ 1076576 h 1310193"/>
                <a:gd name="connsiteX31" fmla="*/ 798808 w 1399014"/>
                <a:gd name="connsiteY31" fmla="*/ 1057526 h 1310193"/>
                <a:gd name="connsiteX32" fmla="*/ 751183 w 1399014"/>
                <a:gd name="connsiteY32" fmla="*/ 1093245 h 1310193"/>
                <a:gd name="connsiteX33" fmla="*/ 708321 w 1399014"/>
                <a:gd name="connsiteY33" fmla="*/ 1233739 h 1310193"/>
                <a:gd name="connsiteX34" fmla="*/ 672602 w 1399014"/>
                <a:gd name="connsiteY34" fmla="*/ 1252788 h 1310193"/>
                <a:gd name="connsiteX35" fmla="*/ 579733 w 1399014"/>
                <a:gd name="connsiteY35" fmla="*/ 1219451 h 1310193"/>
                <a:gd name="connsiteX36" fmla="*/ 408283 w 1399014"/>
                <a:gd name="connsiteY36" fmla="*/ 1143251 h 1310193"/>
                <a:gd name="connsiteX37" fmla="*/ 279696 w 1399014"/>
                <a:gd name="connsiteY37" fmla="*/ 1078958 h 1310193"/>
                <a:gd name="connsiteX38" fmla="*/ 141584 w 1399014"/>
                <a:gd name="connsiteY38" fmla="*/ 997995 h 1310193"/>
                <a:gd name="connsiteX39" fmla="*/ 3471 w 1399014"/>
                <a:gd name="connsiteY39" fmla="*/ 902745 h 1310193"/>
                <a:gd name="connsiteX0" fmla="*/ 3471 w 1399014"/>
                <a:gd name="connsiteY0" fmla="*/ 902745 h 1310193"/>
                <a:gd name="connsiteX1" fmla="*/ 48715 w 1399014"/>
                <a:gd name="connsiteY1" fmla="*/ 769395 h 1310193"/>
                <a:gd name="connsiteX2" fmla="*/ 127296 w 1399014"/>
                <a:gd name="connsiteY2" fmla="*/ 595564 h 1310193"/>
                <a:gd name="connsiteX3" fmla="*/ 241596 w 1399014"/>
                <a:gd name="connsiteY3" fmla="*/ 407445 h 1310193"/>
                <a:gd name="connsiteX4" fmla="*/ 343990 w 1399014"/>
                <a:gd name="connsiteY4" fmla="*/ 269332 h 1310193"/>
                <a:gd name="connsiteX5" fmla="*/ 444002 w 1399014"/>
                <a:gd name="connsiteY5" fmla="*/ 150270 h 1310193"/>
                <a:gd name="connsiteX6" fmla="*/ 551158 w 1399014"/>
                <a:gd name="connsiteY6" fmla="*/ 43114 h 1310193"/>
                <a:gd name="connsiteX7" fmla="*/ 605927 w 1399014"/>
                <a:gd name="connsiteY7" fmla="*/ 251 h 1310193"/>
                <a:gd name="connsiteX8" fmla="*/ 696415 w 1399014"/>
                <a:gd name="connsiteY8" fmla="*/ 59782 h 1310193"/>
                <a:gd name="connsiteX9" fmla="*/ 820240 w 1399014"/>
                <a:gd name="connsiteY9" fmla="*/ 147889 h 1310193"/>
                <a:gd name="connsiteX10" fmla="*/ 922633 w 1399014"/>
                <a:gd name="connsiteY10" fmla="*/ 245520 h 1310193"/>
                <a:gd name="connsiteX11" fmla="*/ 1046458 w 1399014"/>
                <a:gd name="connsiteY11" fmla="*/ 350295 h 1310193"/>
                <a:gd name="connsiteX12" fmla="*/ 1146471 w 1399014"/>
                <a:gd name="connsiteY12" fmla="*/ 469357 h 1310193"/>
                <a:gd name="connsiteX13" fmla="*/ 1227433 w 1399014"/>
                <a:gd name="connsiteY13" fmla="*/ 540795 h 1310193"/>
                <a:gd name="connsiteX14" fmla="*/ 1358402 w 1399014"/>
                <a:gd name="connsiteY14" fmla="*/ 700339 h 1310193"/>
                <a:gd name="connsiteX15" fmla="*/ 1158377 w 1399014"/>
                <a:gd name="connsiteY15" fmla="*/ 557464 h 1310193"/>
                <a:gd name="connsiteX16" fmla="*/ 1063127 w 1399014"/>
                <a:gd name="connsiteY16" fmla="*/ 676526 h 1310193"/>
                <a:gd name="connsiteX17" fmla="*/ 1177427 w 1399014"/>
                <a:gd name="connsiteY17" fmla="*/ 681289 h 1310193"/>
                <a:gd name="connsiteX18" fmla="*/ 1301252 w 1399014"/>
                <a:gd name="connsiteY18" fmla="*/ 738439 h 1310193"/>
                <a:gd name="connsiteX19" fmla="*/ 1365546 w 1399014"/>
                <a:gd name="connsiteY19" fmla="*/ 781301 h 1310193"/>
                <a:gd name="connsiteX20" fmla="*/ 1398883 w 1399014"/>
                <a:gd name="connsiteY20" fmla="*/ 840832 h 1310193"/>
                <a:gd name="connsiteX21" fmla="*/ 1372690 w 1399014"/>
                <a:gd name="connsiteY21" fmla="*/ 817020 h 1310193"/>
                <a:gd name="connsiteX22" fmla="*/ 1275058 w 1399014"/>
                <a:gd name="connsiteY22" fmla="*/ 924176 h 1310193"/>
                <a:gd name="connsiteX23" fmla="*/ 1217908 w 1399014"/>
                <a:gd name="connsiteY23" fmla="*/ 1057526 h 1310193"/>
                <a:gd name="connsiteX24" fmla="*/ 1155996 w 1399014"/>
                <a:gd name="connsiteY24" fmla="*/ 1128964 h 1310193"/>
                <a:gd name="connsiteX25" fmla="*/ 1086940 w 1399014"/>
                <a:gd name="connsiteY25" fmla="*/ 1183732 h 1310193"/>
                <a:gd name="connsiteX26" fmla="*/ 1041696 w 1399014"/>
                <a:gd name="connsiteY26" fmla="*/ 1257551 h 1310193"/>
                <a:gd name="connsiteX27" fmla="*/ 1020265 w 1399014"/>
                <a:gd name="connsiteY27" fmla="*/ 1309939 h 1310193"/>
                <a:gd name="connsiteX28" fmla="*/ 925015 w 1399014"/>
                <a:gd name="connsiteY28" fmla="*/ 1236120 h 1310193"/>
                <a:gd name="connsiteX29" fmla="*/ 865483 w 1399014"/>
                <a:gd name="connsiteY29" fmla="*/ 1140870 h 1310193"/>
                <a:gd name="connsiteX30" fmla="*/ 836908 w 1399014"/>
                <a:gd name="connsiteY30" fmla="*/ 1076576 h 1310193"/>
                <a:gd name="connsiteX31" fmla="*/ 798808 w 1399014"/>
                <a:gd name="connsiteY31" fmla="*/ 1057526 h 1310193"/>
                <a:gd name="connsiteX32" fmla="*/ 751183 w 1399014"/>
                <a:gd name="connsiteY32" fmla="*/ 1093245 h 1310193"/>
                <a:gd name="connsiteX33" fmla="*/ 708321 w 1399014"/>
                <a:gd name="connsiteY33" fmla="*/ 1233739 h 1310193"/>
                <a:gd name="connsiteX34" fmla="*/ 672602 w 1399014"/>
                <a:gd name="connsiteY34" fmla="*/ 1252788 h 1310193"/>
                <a:gd name="connsiteX35" fmla="*/ 579733 w 1399014"/>
                <a:gd name="connsiteY35" fmla="*/ 1219451 h 1310193"/>
                <a:gd name="connsiteX36" fmla="*/ 408283 w 1399014"/>
                <a:gd name="connsiteY36" fmla="*/ 1143251 h 1310193"/>
                <a:gd name="connsiteX37" fmla="*/ 279696 w 1399014"/>
                <a:gd name="connsiteY37" fmla="*/ 1078958 h 1310193"/>
                <a:gd name="connsiteX38" fmla="*/ 141584 w 1399014"/>
                <a:gd name="connsiteY38" fmla="*/ 997995 h 1310193"/>
                <a:gd name="connsiteX39" fmla="*/ 3471 w 1399014"/>
                <a:gd name="connsiteY39" fmla="*/ 902745 h 1310193"/>
                <a:gd name="connsiteX0" fmla="*/ 3471 w 1399014"/>
                <a:gd name="connsiteY0" fmla="*/ 902745 h 1310193"/>
                <a:gd name="connsiteX1" fmla="*/ 48715 w 1399014"/>
                <a:gd name="connsiteY1" fmla="*/ 769395 h 1310193"/>
                <a:gd name="connsiteX2" fmla="*/ 127296 w 1399014"/>
                <a:gd name="connsiteY2" fmla="*/ 595564 h 1310193"/>
                <a:gd name="connsiteX3" fmla="*/ 241596 w 1399014"/>
                <a:gd name="connsiteY3" fmla="*/ 407445 h 1310193"/>
                <a:gd name="connsiteX4" fmla="*/ 343990 w 1399014"/>
                <a:gd name="connsiteY4" fmla="*/ 269332 h 1310193"/>
                <a:gd name="connsiteX5" fmla="*/ 444002 w 1399014"/>
                <a:gd name="connsiteY5" fmla="*/ 150270 h 1310193"/>
                <a:gd name="connsiteX6" fmla="*/ 551158 w 1399014"/>
                <a:gd name="connsiteY6" fmla="*/ 43114 h 1310193"/>
                <a:gd name="connsiteX7" fmla="*/ 605927 w 1399014"/>
                <a:gd name="connsiteY7" fmla="*/ 251 h 1310193"/>
                <a:gd name="connsiteX8" fmla="*/ 696415 w 1399014"/>
                <a:gd name="connsiteY8" fmla="*/ 59782 h 1310193"/>
                <a:gd name="connsiteX9" fmla="*/ 820240 w 1399014"/>
                <a:gd name="connsiteY9" fmla="*/ 147889 h 1310193"/>
                <a:gd name="connsiteX10" fmla="*/ 922633 w 1399014"/>
                <a:gd name="connsiteY10" fmla="*/ 245520 h 1310193"/>
                <a:gd name="connsiteX11" fmla="*/ 1046458 w 1399014"/>
                <a:gd name="connsiteY11" fmla="*/ 350295 h 1310193"/>
                <a:gd name="connsiteX12" fmla="*/ 1146471 w 1399014"/>
                <a:gd name="connsiteY12" fmla="*/ 469357 h 1310193"/>
                <a:gd name="connsiteX13" fmla="*/ 1227433 w 1399014"/>
                <a:gd name="connsiteY13" fmla="*/ 540795 h 1310193"/>
                <a:gd name="connsiteX14" fmla="*/ 1358402 w 1399014"/>
                <a:gd name="connsiteY14" fmla="*/ 700339 h 1310193"/>
                <a:gd name="connsiteX15" fmla="*/ 1158377 w 1399014"/>
                <a:gd name="connsiteY15" fmla="*/ 557464 h 1310193"/>
                <a:gd name="connsiteX16" fmla="*/ 1063127 w 1399014"/>
                <a:gd name="connsiteY16" fmla="*/ 676526 h 1310193"/>
                <a:gd name="connsiteX17" fmla="*/ 1177427 w 1399014"/>
                <a:gd name="connsiteY17" fmla="*/ 681289 h 1310193"/>
                <a:gd name="connsiteX18" fmla="*/ 1301252 w 1399014"/>
                <a:gd name="connsiteY18" fmla="*/ 738439 h 1310193"/>
                <a:gd name="connsiteX19" fmla="*/ 1365546 w 1399014"/>
                <a:gd name="connsiteY19" fmla="*/ 781301 h 1310193"/>
                <a:gd name="connsiteX20" fmla="*/ 1398883 w 1399014"/>
                <a:gd name="connsiteY20" fmla="*/ 840832 h 1310193"/>
                <a:gd name="connsiteX21" fmla="*/ 1372690 w 1399014"/>
                <a:gd name="connsiteY21" fmla="*/ 817020 h 1310193"/>
                <a:gd name="connsiteX22" fmla="*/ 1275058 w 1399014"/>
                <a:gd name="connsiteY22" fmla="*/ 924176 h 1310193"/>
                <a:gd name="connsiteX23" fmla="*/ 1217908 w 1399014"/>
                <a:gd name="connsiteY23" fmla="*/ 1057526 h 1310193"/>
                <a:gd name="connsiteX24" fmla="*/ 1155996 w 1399014"/>
                <a:gd name="connsiteY24" fmla="*/ 1128964 h 1310193"/>
                <a:gd name="connsiteX25" fmla="*/ 1086940 w 1399014"/>
                <a:gd name="connsiteY25" fmla="*/ 1183732 h 1310193"/>
                <a:gd name="connsiteX26" fmla="*/ 1041696 w 1399014"/>
                <a:gd name="connsiteY26" fmla="*/ 1257551 h 1310193"/>
                <a:gd name="connsiteX27" fmla="*/ 1020265 w 1399014"/>
                <a:gd name="connsiteY27" fmla="*/ 1309939 h 1310193"/>
                <a:gd name="connsiteX28" fmla="*/ 925015 w 1399014"/>
                <a:gd name="connsiteY28" fmla="*/ 1236120 h 1310193"/>
                <a:gd name="connsiteX29" fmla="*/ 865483 w 1399014"/>
                <a:gd name="connsiteY29" fmla="*/ 1140870 h 1310193"/>
                <a:gd name="connsiteX30" fmla="*/ 836908 w 1399014"/>
                <a:gd name="connsiteY30" fmla="*/ 1076576 h 1310193"/>
                <a:gd name="connsiteX31" fmla="*/ 798808 w 1399014"/>
                <a:gd name="connsiteY31" fmla="*/ 1057526 h 1310193"/>
                <a:gd name="connsiteX32" fmla="*/ 751183 w 1399014"/>
                <a:gd name="connsiteY32" fmla="*/ 1093245 h 1310193"/>
                <a:gd name="connsiteX33" fmla="*/ 708321 w 1399014"/>
                <a:gd name="connsiteY33" fmla="*/ 1233739 h 1310193"/>
                <a:gd name="connsiteX34" fmla="*/ 672602 w 1399014"/>
                <a:gd name="connsiteY34" fmla="*/ 1252788 h 1310193"/>
                <a:gd name="connsiteX35" fmla="*/ 579733 w 1399014"/>
                <a:gd name="connsiteY35" fmla="*/ 1219451 h 1310193"/>
                <a:gd name="connsiteX36" fmla="*/ 408283 w 1399014"/>
                <a:gd name="connsiteY36" fmla="*/ 1143251 h 1310193"/>
                <a:gd name="connsiteX37" fmla="*/ 279696 w 1399014"/>
                <a:gd name="connsiteY37" fmla="*/ 1078958 h 1310193"/>
                <a:gd name="connsiteX38" fmla="*/ 141584 w 1399014"/>
                <a:gd name="connsiteY38" fmla="*/ 997995 h 1310193"/>
                <a:gd name="connsiteX39" fmla="*/ 3471 w 1399014"/>
                <a:gd name="connsiteY39" fmla="*/ 902745 h 1310193"/>
                <a:gd name="connsiteX0" fmla="*/ 12 w 1395555"/>
                <a:gd name="connsiteY0" fmla="*/ 902745 h 1310193"/>
                <a:gd name="connsiteX1" fmla="*/ 45256 w 1395555"/>
                <a:gd name="connsiteY1" fmla="*/ 769395 h 1310193"/>
                <a:gd name="connsiteX2" fmla="*/ 123837 w 1395555"/>
                <a:gd name="connsiteY2" fmla="*/ 595564 h 1310193"/>
                <a:gd name="connsiteX3" fmla="*/ 238137 w 1395555"/>
                <a:gd name="connsiteY3" fmla="*/ 407445 h 1310193"/>
                <a:gd name="connsiteX4" fmla="*/ 340531 w 1395555"/>
                <a:gd name="connsiteY4" fmla="*/ 269332 h 1310193"/>
                <a:gd name="connsiteX5" fmla="*/ 440543 w 1395555"/>
                <a:gd name="connsiteY5" fmla="*/ 150270 h 1310193"/>
                <a:gd name="connsiteX6" fmla="*/ 547699 w 1395555"/>
                <a:gd name="connsiteY6" fmla="*/ 43114 h 1310193"/>
                <a:gd name="connsiteX7" fmla="*/ 602468 w 1395555"/>
                <a:gd name="connsiteY7" fmla="*/ 251 h 1310193"/>
                <a:gd name="connsiteX8" fmla="*/ 692956 w 1395555"/>
                <a:gd name="connsiteY8" fmla="*/ 59782 h 1310193"/>
                <a:gd name="connsiteX9" fmla="*/ 816781 w 1395555"/>
                <a:gd name="connsiteY9" fmla="*/ 147889 h 1310193"/>
                <a:gd name="connsiteX10" fmla="*/ 919174 w 1395555"/>
                <a:gd name="connsiteY10" fmla="*/ 245520 h 1310193"/>
                <a:gd name="connsiteX11" fmla="*/ 1042999 w 1395555"/>
                <a:gd name="connsiteY11" fmla="*/ 350295 h 1310193"/>
                <a:gd name="connsiteX12" fmla="*/ 1143012 w 1395555"/>
                <a:gd name="connsiteY12" fmla="*/ 469357 h 1310193"/>
                <a:gd name="connsiteX13" fmla="*/ 1223974 w 1395555"/>
                <a:gd name="connsiteY13" fmla="*/ 540795 h 1310193"/>
                <a:gd name="connsiteX14" fmla="*/ 1354943 w 1395555"/>
                <a:gd name="connsiteY14" fmla="*/ 700339 h 1310193"/>
                <a:gd name="connsiteX15" fmla="*/ 1154918 w 1395555"/>
                <a:gd name="connsiteY15" fmla="*/ 557464 h 1310193"/>
                <a:gd name="connsiteX16" fmla="*/ 1059668 w 1395555"/>
                <a:gd name="connsiteY16" fmla="*/ 676526 h 1310193"/>
                <a:gd name="connsiteX17" fmla="*/ 1173968 w 1395555"/>
                <a:gd name="connsiteY17" fmla="*/ 681289 h 1310193"/>
                <a:gd name="connsiteX18" fmla="*/ 1297793 w 1395555"/>
                <a:gd name="connsiteY18" fmla="*/ 738439 h 1310193"/>
                <a:gd name="connsiteX19" fmla="*/ 1362087 w 1395555"/>
                <a:gd name="connsiteY19" fmla="*/ 781301 h 1310193"/>
                <a:gd name="connsiteX20" fmla="*/ 1395424 w 1395555"/>
                <a:gd name="connsiteY20" fmla="*/ 840832 h 1310193"/>
                <a:gd name="connsiteX21" fmla="*/ 1369231 w 1395555"/>
                <a:gd name="connsiteY21" fmla="*/ 817020 h 1310193"/>
                <a:gd name="connsiteX22" fmla="*/ 1271599 w 1395555"/>
                <a:gd name="connsiteY22" fmla="*/ 924176 h 1310193"/>
                <a:gd name="connsiteX23" fmla="*/ 1214449 w 1395555"/>
                <a:gd name="connsiteY23" fmla="*/ 1057526 h 1310193"/>
                <a:gd name="connsiteX24" fmla="*/ 1152537 w 1395555"/>
                <a:gd name="connsiteY24" fmla="*/ 1128964 h 1310193"/>
                <a:gd name="connsiteX25" fmla="*/ 1083481 w 1395555"/>
                <a:gd name="connsiteY25" fmla="*/ 1183732 h 1310193"/>
                <a:gd name="connsiteX26" fmla="*/ 1038237 w 1395555"/>
                <a:gd name="connsiteY26" fmla="*/ 1257551 h 1310193"/>
                <a:gd name="connsiteX27" fmla="*/ 1016806 w 1395555"/>
                <a:gd name="connsiteY27" fmla="*/ 1309939 h 1310193"/>
                <a:gd name="connsiteX28" fmla="*/ 921556 w 1395555"/>
                <a:gd name="connsiteY28" fmla="*/ 1236120 h 1310193"/>
                <a:gd name="connsiteX29" fmla="*/ 862024 w 1395555"/>
                <a:gd name="connsiteY29" fmla="*/ 1140870 h 1310193"/>
                <a:gd name="connsiteX30" fmla="*/ 833449 w 1395555"/>
                <a:gd name="connsiteY30" fmla="*/ 1076576 h 1310193"/>
                <a:gd name="connsiteX31" fmla="*/ 795349 w 1395555"/>
                <a:gd name="connsiteY31" fmla="*/ 1057526 h 1310193"/>
                <a:gd name="connsiteX32" fmla="*/ 747724 w 1395555"/>
                <a:gd name="connsiteY32" fmla="*/ 1093245 h 1310193"/>
                <a:gd name="connsiteX33" fmla="*/ 704862 w 1395555"/>
                <a:gd name="connsiteY33" fmla="*/ 1233739 h 1310193"/>
                <a:gd name="connsiteX34" fmla="*/ 669143 w 1395555"/>
                <a:gd name="connsiteY34" fmla="*/ 1252788 h 1310193"/>
                <a:gd name="connsiteX35" fmla="*/ 576274 w 1395555"/>
                <a:gd name="connsiteY35" fmla="*/ 1219451 h 1310193"/>
                <a:gd name="connsiteX36" fmla="*/ 404824 w 1395555"/>
                <a:gd name="connsiteY36" fmla="*/ 1143251 h 1310193"/>
                <a:gd name="connsiteX37" fmla="*/ 276237 w 1395555"/>
                <a:gd name="connsiteY37" fmla="*/ 1078958 h 1310193"/>
                <a:gd name="connsiteX38" fmla="*/ 138125 w 1395555"/>
                <a:gd name="connsiteY38" fmla="*/ 997995 h 1310193"/>
                <a:gd name="connsiteX39" fmla="*/ 12 w 1395555"/>
                <a:gd name="connsiteY39" fmla="*/ 902745 h 1310193"/>
                <a:gd name="connsiteX0" fmla="*/ 2700 w 1398243"/>
                <a:gd name="connsiteY0" fmla="*/ 902745 h 1310193"/>
                <a:gd name="connsiteX1" fmla="*/ 47944 w 1398243"/>
                <a:gd name="connsiteY1" fmla="*/ 769395 h 1310193"/>
                <a:gd name="connsiteX2" fmla="*/ 126525 w 1398243"/>
                <a:gd name="connsiteY2" fmla="*/ 595564 h 1310193"/>
                <a:gd name="connsiteX3" fmla="*/ 240825 w 1398243"/>
                <a:gd name="connsiteY3" fmla="*/ 407445 h 1310193"/>
                <a:gd name="connsiteX4" fmla="*/ 343219 w 1398243"/>
                <a:gd name="connsiteY4" fmla="*/ 269332 h 1310193"/>
                <a:gd name="connsiteX5" fmla="*/ 443231 w 1398243"/>
                <a:gd name="connsiteY5" fmla="*/ 150270 h 1310193"/>
                <a:gd name="connsiteX6" fmla="*/ 550387 w 1398243"/>
                <a:gd name="connsiteY6" fmla="*/ 43114 h 1310193"/>
                <a:gd name="connsiteX7" fmla="*/ 605156 w 1398243"/>
                <a:gd name="connsiteY7" fmla="*/ 251 h 1310193"/>
                <a:gd name="connsiteX8" fmla="*/ 695644 w 1398243"/>
                <a:gd name="connsiteY8" fmla="*/ 59782 h 1310193"/>
                <a:gd name="connsiteX9" fmla="*/ 819469 w 1398243"/>
                <a:gd name="connsiteY9" fmla="*/ 147889 h 1310193"/>
                <a:gd name="connsiteX10" fmla="*/ 921862 w 1398243"/>
                <a:gd name="connsiteY10" fmla="*/ 245520 h 1310193"/>
                <a:gd name="connsiteX11" fmla="*/ 1045687 w 1398243"/>
                <a:gd name="connsiteY11" fmla="*/ 350295 h 1310193"/>
                <a:gd name="connsiteX12" fmla="*/ 1145700 w 1398243"/>
                <a:gd name="connsiteY12" fmla="*/ 469357 h 1310193"/>
                <a:gd name="connsiteX13" fmla="*/ 1226662 w 1398243"/>
                <a:gd name="connsiteY13" fmla="*/ 540795 h 1310193"/>
                <a:gd name="connsiteX14" fmla="*/ 1357631 w 1398243"/>
                <a:gd name="connsiteY14" fmla="*/ 700339 h 1310193"/>
                <a:gd name="connsiteX15" fmla="*/ 1157606 w 1398243"/>
                <a:gd name="connsiteY15" fmla="*/ 557464 h 1310193"/>
                <a:gd name="connsiteX16" fmla="*/ 1062356 w 1398243"/>
                <a:gd name="connsiteY16" fmla="*/ 676526 h 1310193"/>
                <a:gd name="connsiteX17" fmla="*/ 1176656 w 1398243"/>
                <a:gd name="connsiteY17" fmla="*/ 681289 h 1310193"/>
                <a:gd name="connsiteX18" fmla="*/ 1300481 w 1398243"/>
                <a:gd name="connsiteY18" fmla="*/ 738439 h 1310193"/>
                <a:gd name="connsiteX19" fmla="*/ 1364775 w 1398243"/>
                <a:gd name="connsiteY19" fmla="*/ 781301 h 1310193"/>
                <a:gd name="connsiteX20" fmla="*/ 1398112 w 1398243"/>
                <a:gd name="connsiteY20" fmla="*/ 840832 h 1310193"/>
                <a:gd name="connsiteX21" fmla="*/ 1371919 w 1398243"/>
                <a:gd name="connsiteY21" fmla="*/ 817020 h 1310193"/>
                <a:gd name="connsiteX22" fmla="*/ 1274287 w 1398243"/>
                <a:gd name="connsiteY22" fmla="*/ 924176 h 1310193"/>
                <a:gd name="connsiteX23" fmla="*/ 1217137 w 1398243"/>
                <a:gd name="connsiteY23" fmla="*/ 1057526 h 1310193"/>
                <a:gd name="connsiteX24" fmla="*/ 1155225 w 1398243"/>
                <a:gd name="connsiteY24" fmla="*/ 1128964 h 1310193"/>
                <a:gd name="connsiteX25" fmla="*/ 1086169 w 1398243"/>
                <a:gd name="connsiteY25" fmla="*/ 1183732 h 1310193"/>
                <a:gd name="connsiteX26" fmla="*/ 1040925 w 1398243"/>
                <a:gd name="connsiteY26" fmla="*/ 1257551 h 1310193"/>
                <a:gd name="connsiteX27" fmla="*/ 1019494 w 1398243"/>
                <a:gd name="connsiteY27" fmla="*/ 1309939 h 1310193"/>
                <a:gd name="connsiteX28" fmla="*/ 924244 w 1398243"/>
                <a:gd name="connsiteY28" fmla="*/ 1236120 h 1310193"/>
                <a:gd name="connsiteX29" fmla="*/ 864712 w 1398243"/>
                <a:gd name="connsiteY29" fmla="*/ 1140870 h 1310193"/>
                <a:gd name="connsiteX30" fmla="*/ 836137 w 1398243"/>
                <a:gd name="connsiteY30" fmla="*/ 1076576 h 1310193"/>
                <a:gd name="connsiteX31" fmla="*/ 798037 w 1398243"/>
                <a:gd name="connsiteY31" fmla="*/ 1057526 h 1310193"/>
                <a:gd name="connsiteX32" fmla="*/ 750412 w 1398243"/>
                <a:gd name="connsiteY32" fmla="*/ 1093245 h 1310193"/>
                <a:gd name="connsiteX33" fmla="*/ 707550 w 1398243"/>
                <a:gd name="connsiteY33" fmla="*/ 1233739 h 1310193"/>
                <a:gd name="connsiteX34" fmla="*/ 671831 w 1398243"/>
                <a:gd name="connsiteY34" fmla="*/ 1252788 h 1310193"/>
                <a:gd name="connsiteX35" fmla="*/ 578962 w 1398243"/>
                <a:gd name="connsiteY35" fmla="*/ 1219451 h 1310193"/>
                <a:gd name="connsiteX36" fmla="*/ 407512 w 1398243"/>
                <a:gd name="connsiteY36" fmla="*/ 1143251 h 1310193"/>
                <a:gd name="connsiteX37" fmla="*/ 278925 w 1398243"/>
                <a:gd name="connsiteY37" fmla="*/ 1078958 h 1310193"/>
                <a:gd name="connsiteX38" fmla="*/ 140813 w 1398243"/>
                <a:gd name="connsiteY38" fmla="*/ 997995 h 1310193"/>
                <a:gd name="connsiteX39" fmla="*/ 2700 w 1398243"/>
                <a:gd name="connsiteY39" fmla="*/ 902745 h 1310193"/>
                <a:gd name="connsiteX0" fmla="*/ 1979 w 1397522"/>
                <a:gd name="connsiteY0" fmla="*/ 902745 h 1310193"/>
                <a:gd name="connsiteX1" fmla="*/ 47223 w 1397522"/>
                <a:gd name="connsiteY1" fmla="*/ 769395 h 1310193"/>
                <a:gd name="connsiteX2" fmla="*/ 125804 w 1397522"/>
                <a:gd name="connsiteY2" fmla="*/ 595564 h 1310193"/>
                <a:gd name="connsiteX3" fmla="*/ 240104 w 1397522"/>
                <a:gd name="connsiteY3" fmla="*/ 407445 h 1310193"/>
                <a:gd name="connsiteX4" fmla="*/ 342498 w 1397522"/>
                <a:gd name="connsiteY4" fmla="*/ 269332 h 1310193"/>
                <a:gd name="connsiteX5" fmla="*/ 442510 w 1397522"/>
                <a:gd name="connsiteY5" fmla="*/ 150270 h 1310193"/>
                <a:gd name="connsiteX6" fmla="*/ 549666 w 1397522"/>
                <a:gd name="connsiteY6" fmla="*/ 43114 h 1310193"/>
                <a:gd name="connsiteX7" fmla="*/ 604435 w 1397522"/>
                <a:gd name="connsiteY7" fmla="*/ 251 h 1310193"/>
                <a:gd name="connsiteX8" fmla="*/ 694923 w 1397522"/>
                <a:gd name="connsiteY8" fmla="*/ 59782 h 1310193"/>
                <a:gd name="connsiteX9" fmla="*/ 818748 w 1397522"/>
                <a:gd name="connsiteY9" fmla="*/ 147889 h 1310193"/>
                <a:gd name="connsiteX10" fmla="*/ 921141 w 1397522"/>
                <a:gd name="connsiteY10" fmla="*/ 245520 h 1310193"/>
                <a:gd name="connsiteX11" fmla="*/ 1044966 w 1397522"/>
                <a:gd name="connsiteY11" fmla="*/ 350295 h 1310193"/>
                <a:gd name="connsiteX12" fmla="*/ 1144979 w 1397522"/>
                <a:gd name="connsiteY12" fmla="*/ 469357 h 1310193"/>
                <a:gd name="connsiteX13" fmla="*/ 1225941 w 1397522"/>
                <a:gd name="connsiteY13" fmla="*/ 540795 h 1310193"/>
                <a:gd name="connsiteX14" fmla="*/ 1356910 w 1397522"/>
                <a:gd name="connsiteY14" fmla="*/ 700339 h 1310193"/>
                <a:gd name="connsiteX15" fmla="*/ 1156885 w 1397522"/>
                <a:gd name="connsiteY15" fmla="*/ 557464 h 1310193"/>
                <a:gd name="connsiteX16" fmla="*/ 1061635 w 1397522"/>
                <a:gd name="connsiteY16" fmla="*/ 676526 h 1310193"/>
                <a:gd name="connsiteX17" fmla="*/ 1175935 w 1397522"/>
                <a:gd name="connsiteY17" fmla="*/ 681289 h 1310193"/>
                <a:gd name="connsiteX18" fmla="*/ 1299760 w 1397522"/>
                <a:gd name="connsiteY18" fmla="*/ 738439 h 1310193"/>
                <a:gd name="connsiteX19" fmla="*/ 1364054 w 1397522"/>
                <a:gd name="connsiteY19" fmla="*/ 781301 h 1310193"/>
                <a:gd name="connsiteX20" fmla="*/ 1397391 w 1397522"/>
                <a:gd name="connsiteY20" fmla="*/ 840832 h 1310193"/>
                <a:gd name="connsiteX21" fmla="*/ 1371198 w 1397522"/>
                <a:gd name="connsiteY21" fmla="*/ 817020 h 1310193"/>
                <a:gd name="connsiteX22" fmla="*/ 1273566 w 1397522"/>
                <a:gd name="connsiteY22" fmla="*/ 924176 h 1310193"/>
                <a:gd name="connsiteX23" fmla="*/ 1216416 w 1397522"/>
                <a:gd name="connsiteY23" fmla="*/ 1057526 h 1310193"/>
                <a:gd name="connsiteX24" fmla="*/ 1154504 w 1397522"/>
                <a:gd name="connsiteY24" fmla="*/ 1128964 h 1310193"/>
                <a:gd name="connsiteX25" fmla="*/ 1085448 w 1397522"/>
                <a:gd name="connsiteY25" fmla="*/ 1183732 h 1310193"/>
                <a:gd name="connsiteX26" fmla="*/ 1040204 w 1397522"/>
                <a:gd name="connsiteY26" fmla="*/ 1257551 h 1310193"/>
                <a:gd name="connsiteX27" fmla="*/ 1018773 w 1397522"/>
                <a:gd name="connsiteY27" fmla="*/ 1309939 h 1310193"/>
                <a:gd name="connsiteX28" fmla="*/ 923523 w 1397522"/>
                <a:gd name="connsiteY28" fmla="*/ 1236120 h 1310193"/>
                <a:gd name="connsiteX29" fmla="*/ 863991 w 1397522"/>
                <a:gd name="connsiteY29" fmla="*/ 1140870 h 1310193"/>
                <a:gd name="connsiteX30" fmla="*/ 835416 w 1397522"/>
                <a:gd name="connsiteY30" fmla="*/ 1076576 h 1310193"/>
                <a:gd name="connsiteX31" fmla="*/ 797316 w 1397522"/>
                <a:gd name="connsiteY31" fmla="*/ 1057526 h 1310193"/>
                <a:gd name="connsiteX32" fmla="*/ 749691 w 1397522"/>
                <a:gd name="connsiteY32" fmla="*/ 1093245 h 1310193"/>
                <a:gd name="connsiteX33" fmla="*/ 706829 w 1397522"/>
                <a:gd name="connsiteY33" fmla="*/ 1233739 h 1310193"/>
                <a:gd name="connsiteX34" fmla="*/ 671110 w 1397522"/>
                <a:gd name="connsiteY34" fmla="*/ 1252788 h 1310193"/>
                <a:gd name="connsiteX35" fmla="*/ 578241 w 1397522"/>
                <a:gd name="connsiteY35" fmla="*/ 1219451 h 1310193"/>
                <a:gd name="connsiteX36" fmla="*/ 406791 w 1397522"/>
                <a:gd name="connsiteY36" fmla="*/ 1143251 h 1310193"/>
                <a:gd name="connsiteX37" fmla="*/ 278204 w 1397522"/>
                <a:gd name="connsiteY37" fmla="*/ 1078958 h 1310193"/>
                <a:gd name="connsiteX38" fmla="*/ 140092 w 1397522"/>
                <a:gd name="connsiteY38" fmla="*/ 997995 h 1310193"/>
                <a:gd name="connsiteX39" fmla="*/ 1979 w 1397522"/>
                <a:gd name="connsiteY39" fmla="*/ 902745 h 1310193"/>
                <a:gd name="connsiteX0" fmla="*/ 1963 w 1397506"/>
                <a:gd name="connsiteY0" fmla="*/ 902745 h 1310193"/>
                <a:gd name="connsiteX1" fmla="*/ 47207 w 1397506"/>
                <a:gd name="connsiteY1" fmla="*/ 769395 h 1310193"/>
                <a:gd name="connsiteX2" fmla="*/ 123406 w 1397506"/>
                <a:gd name="connsiteY2" fmla="*/ 600326 h 1310193"/>
                <a:gd name="connsiteX3" fmla="*/ 240088 w 1397506"/>
                <a:gd name="connsiteY3" fmla="*/ 407445 h 1310193"/>
                <a:gd name="connsiteX4" fmla="*/ 342482 w 1397506"/>
                <a:gd name="connsiteY4" fmla="*/ 269332 h 1310193"/>
                <a:gd name="connsiteX5" fmla="*/ 442494 w 1397506"/>
                <a:gd name="connsiteY5" fmla="*/ 150270 h 1310193"/>
                <a:gd name="connsiteX6" fmla="*/ 549650 w 1397506"/>
                <a:gd name="connsiteY6" fmla="*/ 43114 h 1310193"/>
                <a:gd name="connsiteX7" fmla="*/ 604419 w 1397506"/>
                <a:gd name="connsiteY7" fmla="*/ 251 h 1310193"/>
                <a:gd name="connsiteX8" fmla="*/ 694907 w 1397506"/>
                <a:gd name="connsiteY8" fmla="*/ 59782 h 1310193"/>
                <a:gd name="connsiteX9" fmla="*/ 818732 w 1397506"/>
                <a:gd name="connsiteY9" fmla="*/ 147889 h 1310193"/>
                <a:gd name="connsiteX10" fmla="*/ 921125 w 1397506"/>
                <a:gd name="connsiteY10" fmla="*/ 245520 h 1310193"/>
                <a:gd name="connsiteX11" fmla="*/ 1044950 w 1397506"/>
                <a:gd name="connsiteY11" fmla="*/ 350295 h 1310193"/>
                <a:gd name="connsiteX12" fmla="*/ 1144963 w 1397506"/>
                <a:gd name="connsiteY12" fmla="*/ 469357 h 1310193"/>
                <a:gd name="connsiteX13" fmla="*/ 1225925 w 1397506"/>
                <a:gd name="connsiteY13" fmla="*/ 540795 h 1310193"/>
                <a:gd name="connsiteX14" fmla="*/ 1356894 w 1397506"/>
                <a:gd name="connsiteY14" fmla="*/ 700339 h 1310193"/>
                <a:gd name="connsiteX15" fmla="*/ 1156869 w 1397506"/>
                <a:gd name="connsiteY15" fmla="*/ 557464 h 1310193"/>
                <a:gd name="connsiteX16" fmla="*/ 1061619 w 1397506"/>
                <a:gd name="connsiteY16" fmla="*/ 676526 h 1310193"/>
                <a:gd name="connsiteX17" fmla="*/ 1175919 w 1397506"/>
                <a:gd name="connsiteY17" fmla="*/ 681289 h 1310193"/>
                <a:gd name="connsiteX18" fmla="*/ 1299744 w 1397506"/>
                <a:gd name="connsiteY18" fmla="*/ 738439 h 1310193"/>
                <a:gd name="connsiteX19" fmla="*/ 1364038 w 1397506"/>
                <a:gd name="connsiteY19" fmla="*/ 781301 h 1310193"/>
                <a:gd name="connsiteX20" fmla="*/ 1397375 w 1397506"/>
                <a:gd name="connsiteY20" fmla="*/ 840832 h 1310193"/>
                <a:gd name="connsiteX21" fmla="*/ 1371182 w 1397506"/>
                <a:gd name="connsiteY21" fmla="*/ 817020 h 1310193"/>
                <a:gd name="connsiteX22" fmla="*/ 1273550 w 1397506"/>
                <a:gd name="connsiteY22" fmla="*/ 924176 h 1310193"/>
                <a:gd name="connsiteX23" fmla="*/ 1216400 w 1397506"/>
                <a:gd name="connsiteY23" fmla="*/ 1057526 h 1310193"/>
                <a:gd name="connsiteX24" fmla="*/ 1154488 w 1397506"/>
                <a:gd name="connsiteY24" fmla="*/ 1128964 h 1310193"/>
                <a:gd name="connsiteX25" fmla="*/ 1085432 w 1397506"/>
                <a:gd name="connsiteY25" fmla="*/ 1183732 h 1310193"/>
                <a:gd name="connsiteX26" fmla="*/ 1040188 w 1397506"/>
                <a:gd name="connsiteY26" fmla="*/ 1257551 h 1310193"/>
                <a:gd name="connsiteX27" fmla="*/ 1018757 w 1397506"/>
                <a:gd name="connsiteY27" fmla="*/ 1309939 h 1310193"/>
                <a:gd name="connsiteX28" fmla="*/ 923507 w 1397506"/>
                <a:gd name="connsiteY28" fmla="*/ 1236120 h 1310193"/>
                <a:gd name="connsiteX29" fmla="*/ 863975 w 1397506"/>
                <a:gd name="connsiteY29" fmla="*/ 1140870 h 1310193"/>
                <a:gd name="connsiteX30" fmla="*/ 835400 w 1397506"/>
                <a:gd name="connsiteY30" fmla="*/ 1076576 h 1310193"/>
                <a:gd name="connsiteX31" fmla="*/ 797300 w 1397506"/>
                <a:gd name="connsiteY31" fmla="*/ 1057526 h 1310193"/>
                <a:gd name="connsiteX32" fmla="*/ 749675 w 1397506"/>
                <a:gd name="connsiteY32" fmla="*/ 1093245 h 1310193"/>
                <a:gd name="connsiteX33" fmla="*/ 706813 w 1397506"/>
                <a:gd name="connsiteY33" fmla="*/ 1233739 h 1310193"/>
                <a:gd name="connsiteX34" fmla="*/ 671094 w 1397506"/>
                <a:gd name="connsiteY34" fmla="*/ 1252788 h 1310193"/>
                <a:gd name="connsiteX35" fmla="*/ 578225 w 1397506"/>
                <a:gd name="connsiteY35" fmla="*/ 1219451 h 1310193"/>
                <a:gd name="connsiteX36" fmla="*/ 406775 w 1397506"/>
                <a:gd name="connsiteY36" fmla="*/ 1143251 h 1310193"/>
                <a:gd name="connsiteX37" fmla="*/ 278188 w 1397506"/>
                <a:gd name="connsiteY37" fmla="*/ 1078958 h 1310193"/>
                <a:gd name="connsiteX38" fmla="*/ 140076 w 1397506"/>
                <a:gd name="connsiteY38" fmla="*/ 997995 h 1310193"/>
                <a:gd name="connsiteX39" fmla="*/ 1963 w 1397506"/>
                <a:gd name="connsiteY39" fmla="*/ 902745 h 1310193"/>
                <a:gd name="connsiteX0" fmla="*/ 1946 w 1397489"/>
                <a:gd name="connsiteY0" fmla="*/ 902745 h 1310193"/>
                <a:gd name="connsiteX1" fmla="*/ 47190 w 1397489"/>
                <a:gd name="connsiteY1" fmla="*/ 769395 h 1310193"/>
                <a:gd name="connsiteX2" fmla="*/ 121008 w 1397489"/>
                <a:gd name="connsiteY2" fmla="*/ 607469 h 1310193"/>
                <a:gd name="connsiteX3" fmla="*/ 240071 w 1397489"/>
                <a:gd name="connsiteY3" fmla="*/ 407445 h 1310193"/>
                <a:gd name="connsiteX4" fmla="*/ 342465 w 1397489"/>
                <a:gd name="connsiteY4" fmla="*/ 269332 h 1310193"/>
                <a:gd name="connsiteX5" fmla="*/ 442477 w 1397489"/>
                <a:gd name="connsiteY5" fmla="*/ 150270 h 1310193"/>
                <a:gd name="connsiteX6" fmla="*/ 549633 w 1397489"/>
                <a:gd name="connsiteY6" fmla="*/ 43114 h 1310193"/>
                <a:gd name="connsiteX7" fmla="*/ 604402 w 1397489"/>
                <a:gd name="connsiteY7" fmla="*/ 251 h 1310193"/>
                <a:gd name="connsiteX8" fmla="*/ 694890 w 1397489"/>
                <a:gd name="connsiteY8" fmla="*/ 59782 h 1310193"/>
                <a:gd name="connsiteX9" fmla="*/ 818715 w 1397489"/>
                <a:gd name="connsiteY9" fmla="*/ 147889 h 1310193"/>
                <a:gd name="connsiteX10" fmla="*/ 921108 w 1397489"/>
                <a:gd name="connsiteY10" fmla="*/ 245520 h 1310193"/>
                <a:gd name="connsiteX11" fmla="*/ 1044933 w 1397489"/>
                <a:gd name="connsiteY11" fmla="*/ 350295 h 1310193"/>
                <a:gd name="connsiteX12" fmla="*/ 1144946 w 1397489"/>
                <a:gd name="connsiteY12" fmla="*/ 469357 h 1310193"/>
                <a:gd name="connsiteX13" fmla="*/ 1225908 w 1397489"/>
                <a:gd name="connsiteY13" fmla="*/ 540795 h 1310193"/>
                <a:gd name="connsiteX14" fmla="*/ 1356877 w 1397489"/>
                <a:gd name="connsiteY14" fmla="*/ 700339 h 1310193"/>
                <a:gd name="connsiteX15" fmla="*/ 1156852 w 1397489"/>
                <a:gd name="connsiteY15" fmla="*/ 557464 h 1310193"/>
                <a:gd name="connsiteX16" fmla="*/ 1061602 w 1397489"/>
                <a:gd name="connsiteY16" fmla="*/ 676526 h 1310193"/>
                <a:gd name="connsiteX17" fmla="*/ 1175902 w 1397489"/>
                <a:gd name="connsiteY17" fmla="*/ 681289 h 1310193"/>
                <a:gd name="connsiteX18" fmla="*/ 1299727 w 1397489"/>
                <a:gd name="connsiteY18" fmla="*/ 738439 h 1310193"/>
                <a:gd name="connsiteX19" fmla="*/ 1364021 w 1397489"/>
                <a:gd name="connsiteY19" fmla="*/ 781301 h 1310193"/>
                <a:gd name="connsiteX20" fmla="*/ 1397358 w 1397489"/>
                <a:gd name="connsiteY20" fmla="*/ 840832 h 1310193"/>
                <a:gd name="connsiteX21" fmla="*/ 1371165 w 1397489"/>
                <a:gd name="connsiteY21" fmla="*/ 817020 h 1310193"/>
                <a:gd name="connsiteX22" fmla="*/ 1273533 w 1397489"/>
                <a:gd name="connsiteY22" fmla="*/ 924176 h 1310193"/>
                <a:gd name="connsiteX23" fmla="*/ 1216383 w 1397489"/>
                <a:gd name="connsiteY23" fmla="*/ 1057526 h 1310193"/>
                <a:gd name="connsiteX24" fmla="*/ 1154471 w 1397489"/>
                <a:gd name="connsiteY24" fmla="*/ 1128964 h 1310193"/>
                <a:gd name="connsiteX25" fmla="*/ 1085415 w 1397489"/>
                <a:gd name="connsiteY25" fmla="*/ 1183732 h 1310193"/>
                <a:gd name="connsiteX26" fmla="*/ 1040171 w 1397489"/>
                <a:gd name="connsiteY26" fmla="*/ 1257551 h 1310193"/>
                <a:gd name="connsiteX27" fmla="*/ 1018740 w 1397489"/>
                <a:gd name="connsiteY27" fmla="*/ 1309939 h 1310193"/>
                <a:gd name="connsiteX28" fmla="*/ 923490 w 1397489"/>
                <a:gd name="connsiteY28" fmla="*/ 1236120 h 1310193"/>
                <a:gd name="connsiteX29" fmla="*/ 863958 w 1397489"/>
                <a:gd name="connsiteY29" fmla="*/ 1140870 h 1310193"/>
                <a:gd name="connsiteX30" fmla="*/ 835383 w 1397489"/>
                <a:gd name="connsiteY30" fmla="*/ 1076576 h 1310193"/>
                <a:gd name="connsiteX31" fmla="*/ 797283 w 1397489"/>
                <a:gd name="connsiteY31" fmla="*/ 1057526 h 1310193"/>
                <a:gd name="connsiteX32" fmla="*/ 749658 w 1397489"/>
                <a:gd name="connsiteY32" fmla="*/ 1093245 h 1310193"/>
                <a:gd name="connsiteX33" fmla="*/ 706796 w 1397489"/>
                <a:gd name="connsiteY33" fmla="*/ 1233739 h 1310193"/>
                <a:gd name="connsiteX34" fmla="*/ 671077 w 1397489"/>
                <a:gd name="connsiteY34" fmla="*/ 1252788 h 1310193"/>
                <a:gd name="connsiteX35" fmla="*/ 578208 w 1397489"/>
                <a:gd name="connsiteY35" fmla="*/ 1219451 h 1310193"/>
                <a:gd name="connsiteX36" fmla="*/ 406758 w 1397489"/>
                <a:gd name="connsiteY36" fmla="*/ 1143251 h 1310193"/>
                <a:gd name="connsiteX37" fmla="*/ 278171 w 1397489"/>
                <a:gd name="connsiteY37" fmla="*/ 1078958 h 1310193"/>
                <a:gd name="connsiteX38" fmla="*/ 140059 w 1397489"/>
                <a:gd name="connsiteY38" fmla="*/ 997995 h 1310193"/>
                <a:gd name="connsiteX39" fmla="*/ 1946 w 1397489"/>
                <a:gd name="connsiteY39" fmla="*/ 902745 h 1310193"/>
                <a:gd name="connsiteX0" fmla="*/ 1946 w 1397489"/>
                <a:gd name="connsiteY0" fmla="*/ 902745 h 1310193"/>
                <a:gd name="connsiteX1" fmla="*/ 47190 w 1397489"/>
                <a:gd name="connsiteY1" fmla="*/ 769395 h 1310193"/>
                <a:gd name="connsiteX2" fmla="*/ 121008 w 1397489"/>
                <a:gd name="connsiteY2" fmla="*/ 607469 h 1310193"/>
                <a:gd name="connsiteX3" fmla="*/ 240071 w 1397489"/>
                <a:gd name="connsiteY3" fmla="*/ 407445 h 1310193"/>
                <a:gd name="connsiteX4" fmla="*/ 342465 w 1397489"/>
                <a:gd name="connsiteY4" fmla="*/ 269332 h 1310193"/>
                <a:gd name="connsiteX5" fmla="*/ 442477 w 1397489"/>
                <a:gd name="connsiteY5" fmla="*/ 150270 h 1310193"/>
                <a:gd name="connsiteX6" fmla="*/ 549633 w 1397489"/>
                <a:gd name="connsiteY6" fmla="*/ 43114 h 1310193"/>
                <a:gd name="connsiteX7" fmla="*/ 604402 w 1397489"/>
                <a:gd name="connsiteY7" fmla="*/ 251 h 1310193"/>
                <a:gd name="connsiteX8" fmla="*/ 694890 w 1397489"/>
                <a:gd name="connsiteY8" fmla="*/ 59782 h 1310193"/>
                <a:gd name="connsiteX9" fmla="*/ 818715 w 1397489"/>
                <a:gd name="connsiteY9" fmla="*/ 147889 h 1310193"/>
                <a:gd name="connsiteX10" fmla="*/ 921108 w 1397489"/>
                <a:gd name="connsiteY10" fmla="*/ 245520 h 1310193"/>
                <a:gd name="connsiteX11" fmla="*/ 1044933 w 1397489"/>
                <a:gd name="connsiteY11" fmla="*/ 350295 h 1310193"/>
                <a:gd name="connsiteX12" fmla="*/ 1144946 w 1397489"/>
                <a:gd name="connsiteY12" fmla="*/ 469357 h 1310193"/>
                <a:gd name="connsiteX13" fmla="*/ 1225908 w 1397489"/>
                <a:gd name="connsiteY13" fmla="*/ 540795 h 1310193"/>
                <a:gd name="connsiteX14" fmla="*/ 1356877 w 1397489"/>
                <a:gd name="connsiteY14" fmla="*/ 700339 h 1310193"/>
                <a:gd name="connsiteX15" fmla="*/ 1156852 w 1397489"/>
                <a:gd name="connsiteY15" fmla="*/ 557464 h 1310193"/>
                <a:gd name="connsiteX16" fmla="*/ 1061602 w 1397489"/>
                <a:gd name="connsiteY16" fmla="*/ 676526 h 1310193"/>
                <a:gd name="connsiteX17" fmla="*/ 1175902 w 1397489"/>
                <a:gd name="connsiteY17" fmla="*/ 681289 h 1310193"/>
                <a:gd name="connsiteX18" fmla="*/ 1299727 w 1397489"/>
                <a:gd name="connsiteY18" fmla="*/ 738439 h 1310193"/>
                <a:gd name="connsiteX19" fmla="*/ 1364021 w 1397489"/>
                <a:gd name="connsiteY19" fmla="*/ 781301 h 1310193"/>
                <a:gd name="connsiteX20" fmla="*/ 1397358 w 1397489"/>
                <a:gd name="connsiteY20" fmla="*/ 840832 h 1310193"/>
                <a:gd name="connsiteX21" fmla="*/ 1371165 w 1397489"/>
                <a:gd name="connsiteY21" fmla="*/ 817020 h 1310193"/>
                <a:gd name="connsiteX22" fmla="*/ 1273533 w 1397489"/>
                <a:gd name="connsiteY22" fmla="*/ 924176 h 1310193"/>
                <a:gd name="connsiteX23" fmla="*/ 1216383 w 1397489"/>
                <a:gd name="connsiteY23" fmla="*/ 1057526 h 1310193"/>
                <a:gd name="connsiteX24" fmla="*/ 1154471 w 1397489"/>
                <a:gd name="connsiteY24" fmla="*/ 1128964 h 1310193"/>
                <a:gd name="connsiteX25" fmla="*/ 1085415 w 1397489"/>
                <a:gd name="connsiteY25" fmla="*/ 1183732 h 1310193"/>
                <a:gd name="connsiteX26" fmla="*/ 1040171 w 1397489"/>
                <a:gd name="connsiteY26" fmla="*/ 1257551 h 1310193"/>
                <a:gd name="connsiteX27" fmla="*/ 1018740 w 1397489"/>
                <a:gd name="connsiteY27" fmla="*/ 1309939 h 1310193"/>
                <a:gd name="connsiteX28" fmla="*/ 923490 w 1397489"/>
                <a:gd name="connsiteY28" fmla="*/ 1236120 h 1310193"/>
                <a:gd name="connsiteX29" fmla="*/ 863958 w 1397489"/>
                <a:gd name="connsiteY29" fmla="*/ 1140870 h 1310193"/>
                <a:gd name="connsiteX30" fmla="*/ 835383 w 1397489"/>
                <a:gd name="connsiteY30" fmla="*/ 1076576 h 1310193"/>
                <a:gd name="connsiteX31" fmla="*/ 797283 w 1397489"/>
                <a:gd name="connsiteY31" fmla="*/ 1057526 h 1310193"/>
                <a:gd name="connsiteX32" fmla="*/ 749658 w 1397489"/>
                <a:gd name="connsiteY32" fmla="*/ 1093245 h 1310193"/>
                <a:gd name="connsiteX33" fmla="*/ 706796 w 1397489"/>
                <a:gd name="connsiteY33" fmla="*/ 1233739 h 1310193"/>
                <a:gd name="connsiteX34" fmla="*/ 671077 w 1397489"/>
                <a:gd name="connsiteY34" fmla="*/ 1252788 h 1310193"/>
                <a:gd name="connsiteX35" fmla="*/ 578208 w 1397489"/>
                <a:gd name="connsiteY35" fmla="*/ 1219451 h 1310193"/>
                <a:gd name="connsiteX36" fmla="*/ 406758 w 1397489"/>
                <a:gd name="connsiteY36" fmla="*/ 1143251 h 1310193"/>
                <a:gd name="connsiteX37" fmla="*/ 278171 w 1397489"/>
                <a:gd name="connsiteY37" fmla="*/ 1078958 h 1310193"/>
                <a:gd name="connsiteX38" fmla="*/ 140059 w 1397489"/>
                <a:gd name="connsiteY38" fmla="*/ 997995 h 1310193"/>
                <a:gd name="connsiteX39" fmla="*/ 1946 w 1397489"/>
                <a:gd name="connsiteY39" fmla="*/ 902745 h 1310193"/>
                <a:gd name="connsiteX0" fmla="*/ 1946 w 1397489"/>
                <a:gd name="connsiteY0" fmla="*/ 902745 h 1310193"/>
                <a:gd name="connsiteX1" fmla="*/ 47190 w 1397489"/>
                <a:gd name="connsiteY1" fmla="*/ 769395 h 1310193"/>
                <a:gd name="connsiteX2" fmla="*/ 121008 w 1397489"/>
                <a:gd name="connsiteY2" fmla="*/ 607469 h 1310193"/>
                <a:gd name="connsiteX3" fmla="*/ 240071 w 1397489"/>
                <a:gd name="connsiteY3" fmla="*/ 407445 h 1310193"/>
                <a:gd name="connsiteX4" fmla="*/ 342465 w 1397489"/>
                <a:gd name="connsiteY4" fmla="*/ 264569 h 1310193"/>
                <a:gd name="connsiteX5" fmla="*/ 442477 w 1397489"/>
                <a:gd name="connsiteY5" fmla="*/ 150270 h 1310193"/>
                <a:gd name="connsiteX6" fmla="*/ 549633 w 1397489"/>
                <a:gd name="connsiteY6" fmla="*/ 43114 h 1310193"/>
                <a:gd name="connsiteX7" fmla="*/ 604402 w 1397489"/>
                <a:gd name="connsiteY7" fmla="*/ 251 h 1310193"/>
                <a:gd name="connsiteX8" fmla="*/ 694890 w 1397489"/>
                <a:gd name="connsiteY8" fmla="*/ 59782 h 1310193"/>
                <a:gd name="connsiteX9" fmla="*/ 818715 w 1397489"/>
                <a:gd name="connsiteY9" fmla="*/ 147889 h 1310193"/>
                <a:gd name="connsiteX10" fmla="*/ 921108 w 1397489"/>
                <a:gd name="connsiteY10" fmla="*/ 245520 h 1310193"/>
                <a:gd name="connsiteX11" fmla="*/ 1044933 w 1397489"/>
                <a:gd name="connsiteY11" fmla="*/ 350295 h 1310193"/>
                <a:gd name="connsiteX12" fmla="*/ 1144946 w 1397489"/>
                <a:gd name="connsiteY12" fmla="*/ 469357 h 1310193"/>
                <a:gd name="connsiteX13" fmla="*/ 1225908 w 1397489"/>
                <a:gd name="connsiteY13" fmla="*/ 540795 h 1310193"/>
                <a:gd name="connsiteX14" fmla="*/ 1356877 w 1397489"/>
                <a:gd name="connsiteY14" fmla="*/ 700339 h 1310193"/>
                <a:gd name="connsiteX15" fmla="*/ 1156852 w 1397489"/>
                <a:gd name="connsiteY15" fmla="*/ 557464 h 1310193"/>
                <a:gd name="connsiteX16" fmla="*/ 1061602 w 1397489"/>
                <a:gd name="connsiteY16" fmla="*/ 676526 h 1310193"/>
                <a:gd name="connsiteX17" fmla="*/ 1175902 w 1397489"/>
                <a:gd name="connsiteY17" fmla="*/ 681289 h 1310193"/>
                <a:gd name="connsiteX18" fmla="*/ 1299727 w 1397489"/>
                <a:gd name="connsiteY18" fmla="*/ 738439 h 1310193"/>
                <a:gd name="connsiteX19" fmla="*/ 1364021 w 1397489"/>
                <a:gd name="connsiteY19" fmla="*/ 781301 h 1310193"/>
                <a:gd name="connsiteX20" fmla="*/ 1397358 w 1397489"/>
                <a:gd name="connsiteY20" fmla="*/ 840832 h 1310193"/>
                <a:gd name="connsiteX21" fmla="*/ 1371165 w 1397489"/>
                <a:gd name="connsiteY21" fmla="*/ 817020 h 1310193"/>
                <a:gd name="connsiteX22" fmla="*/ 1273533 w 1397489"/>
                <a:gd name="connsiteY22" fmla="*/ 924176 h 1310193"/>
                <a:gd name="connsiteX23" fmla="*/ 1216383 w 1397489"/>
                <a:gd name="connsiteY23" fmla="*/ 1057526 h 1310193"/>
                <a:gd name="connsiteX24" fmla="*/ 1154471 w 1397489"/>
                <a:gd name="connsiteY24" fmla="*/ 1128964 h 1310193"/>
                <a:gd name="connsiteX25" fmla="*/ 1085415 w 1397489"/>
                <a:gd name="connsiteY25" fmla="*/ 1183732 h 1310193"/>
                <a:gd name="connsiteX26" fmla="*/ 1040171 w 1397489"/>
                <a:gd name="connsiteY26" fmla="*/ 1257551 h 1310193"/>
                <a:gd name="connsiteX27" fmla="*/ 1018740 w 1397489"/>
                <a:gd name="connsiteY27" fmla="*/ 1309939 h 1310193"/>
                <a:gd name="connsiteX28" fmla="*/ 923490 w 1397489"/>
                <a:gd name="connsiteY28" fmla="*/ 1236120 h 1310193"/>
                <a:gd name="connsiteX29" fmla="*/ 863958 w 1397489"/>
                <a:gd name="connsiteY29" fmla="*/ 1140870 h 1310193"/>
                <a:gd name="connsiteX30" fmla="*/ 835383 w 1397489"/>
                <a:gd name="connsiteY30" fmla="*/ 1076576 h 1310193"/>
                <a:gd name="connsiteX31" fmla="*/ 797283 w 1397489"/>
                <a:gd name="connsiteY31" fmla="*/ 1057526 h 1310193"/>
                <a:gd name="connsiteX32" fmla="*/ 749658 w 1397489"/>
                <a:gd name="connsiteY32" fmla="*/ 1093245 h 1310193"/>
                <a:gd name="connsiteX33" fmla="*/ 706796 w 1397489"/>
                <a:gd name="connsiteY33" fmla="*/ 1233739 h 1310193"/>
                <a:gd name="connsiteX34" fmla="*/ 671077 w 1397489"/>
                <a:gd name="connsiteY34" fmla="*/ 1252788 h 1310193"/>
                <a:gd name="connsiteX35" fmla="*/ 578208 w 1397489"/>
                <a:gd name="connsiteY35" fmla="*/ 1219451 h 1310193"/>
                <a:gd name="connsiteX36" fmla="*/ 406758 w 1397489"/>
                <a:gd name="connsiteY36" fmla="*/ 1143251 h 1310193"/>
                <a:gd name="connsiteX37" fmla="*/ 278171 w 1397489"/>
                <a:gd name="connsiteY37" fmla="*/ 1078958 h 1310193"/>
                <a:gd name="connsiteX38" fmla="*/ 140059 w 1397489"/>
                <a:gd name="connsiteY38" fmla="*/ 997995 h 1310193"/>
                <a:gd name="connsiteX39" fmla="*/ 1946 w 1397489"/>
                <a:gd name="connsiteY39" fmla="*/ 902745 h 1310193"/>
                <a:gd name="connsiteX0" fmla="*/ 1946 w 1397489"/>
                <a:gd name="connsiteY0" fmla="*/ 902734 h 1310182"/>
                <a:gd name="connsiteX1" fmla="*/ 47190 w 1397489"/>
                <a:gd name="connsiteY1" fmla="*/ 769384 h 1310182"/>
                <a:gd name="connsiteX2" fmla="*/ 121008 w 1397489"/>
                <a:gd name="connsiteY2" fmla="*/ 607458 h 1310182"/>
                <a:gd name="connsiteX3" fmla="*/ 240071 w 1397489"/>
                <a:gd name="connsiteY3" fmla="*/ 407434 h 1310182"/>
                <a:gd name="connsiteX4" fmla="*/ 342465 w 1397489"/>
                <a:gd name="connsiteY4" fmla="*/ 264558 h 1310182"/>
                <a:gd name="connsiteX5" fmla="*/ 447240 w 1397489"/>
                <a:gd name="connsiteY5" fmla="*/ 143115 h 1310182"/>
                <a:gd name="connsiteX6" fmla="*/ 549633 w 1397489"/>
                <a:gd name="connsiteY6" fmla="*/ 43103 h 1310182"/>
                <a:gd name="connsiteX7" fmla="*/ 604402 w 1397489"/>
                <a:gd name="connsiteY7" fmla="*/ 240 h 1310182"/>
                <a:gd name="connsiteX8" fmla="*/ 694890 w 1397489"/>
                <a:gd name="connsiteY8" fmla="*/ 59771 h 1310182"/>
                <a:gd name="connsiteX9" fmla="*/ 818715 w 1397489"/>
                <a:gd name="connsiteY9" fmla="*/ 147878 h 1310182"/>
                <a:gd name="connsiteX10" fmla="*/ 921108 w 1397489"/>
                <a:gd name="connsiteY10" fmla="*/ 245509 h 1310182"/>
                <a:gd name="connsiteX11" fmla="*/ 1044933 w 1397489"/>
                <a:gd name="connsiteY11" fmla="*/ 350284 h 1310182"/>
                <a:gd name="connsiteX12" fmla="*/ 1144946 w 1397489"/>
                <a:gd name="connsiteY12" fmla="*/ 469346 h 1310182"/>
                <a:gd name="connsiteX13" fmla="*/ 1225908 w 1397489"/>
                <a:gd name="connsiteY13" fmla="*/ 540784 h 1310182"/>
                <a:gd name="connsiteX14" fmla="*/ 1356877 w 1397489"/>
                <a:gd name="connsiteY14" fmla="*/ 700328 h 1310182"/>
                <a:gd name="connsiteX15" fmla="*/ 1156852 w 1397489"/>
                <a:gd name="connsiteY15" fmla="*/ 557453 h 1310182"/>
                <a:gd name="connsiteX16" fmla="*/ 1061602 w 1397489"/>
                <a:gd name="connsiteY16" fmla="*/ 676515 h 1310182"/>
                <a:gd name="connsiteX17" fmla="*/ 1175902 w 1397489"/>
                <a:gd name="connsiteY17" fmla="*/ 681278 h 1310182"/>
                <a:gd name="connsiteX18" fmla="*/ 1299727 w 1397489"/>
                <a:gd name="connsiteY18" fmla="*/ 738428 h 1310182"/>
                <a:gd name="connsiteX19" fmla="*/ 1364021 w 1397489"/>
                <a:gd name="connsiteY19" fmla="*/ 781290 h 1310182"/>
                <a:gd name="connsiteX20" fmla="*/ 1397358 w 1397489"/>
                <a:gd name="connsiteY20" fmla="*/ 840821 h 1310182"/>
                <a:gd name="connsiteX21" fmla="*/ 1371165 w 1397489"/>
                <a:gd name="connsiteY21" fmla="*/ 817009 h 1310182"/>
                <a:gd name="connsiteX22" fmla="*/ 1273533 w 1397489"/>
                <a:gd name="connsiteY22" fmla="*/ 924165 h 1310182"/>
                <a:gd name="connsiteX23" fmla="*/ 1216383 w 1397489"/>
                <a:gd name="connsiteY23" fmla="*/ 1057515 h 1310182"/>
                <a:gd name="connsiteX24" fmla="*/ 1154471 w 1397489"/>
                <a:gd name="connsiteY24" fmla="*/ 1128953 h 1310182"/>
                <a:gd name="connsiteX25" fmla="*/ 1085415 w 1397489"/>
                <a:gd name="connsiteY25" fmla="*/ 1183721 h 1310182"/>
                <a:gd name="connsiteX26" fmla="*/ 1040171 w 1397489"/>
                <a:gd name="connsiteY26" fmla="*/ 1257540 h 1310182"/>
                <a:gd name="connsiteX27" fmla="*/ 1018740 w 1397489"/>
                <a:gd name="connsiteY27" fmla="*/ 1309928 h 1310182"/>
                <a:gd name="connsiteX28" fmla="*/ 923490 w 1397489"/>
                <a:gd name="connsiteY28" fmla="*/ 1236109 h 1310182"/>
                <a:gd name="connsiteX29" fmla="*/ 863958 w 1397489"/>
                <a:gd name="connsiteY29" fmla="*/ 1140859 h 1310182"/>
                <a:gd name="connsiteX30" fmla="*/ 835383 w 1397489"/>
                <a:gd name="connsiteY30" fmla="*/ 1076565 h 1310182"/>
                <a:gd name="connsiteX31" fmla="*/ 797283 w 1397489"/>
                <a:gd name="connsiteY31" fmla="*/ 1057515 h 1310182"/>
                <a:gd name="connsiteX32" fmla="*/ 749658 w 1397489"/>
                <a:gd name="connsiteY32" fmla="*/ 1093234 h 1310182"/>
                <a:gd name="connsiteX33" fmla="*/ 706796 w 1397489"/>
                <a:gd name="connsiteY33" fmla="*/ 1233728 h 1310182"/>
                <a:gd name="connsiteX34" fmla="*/ 671077 w 1397489"/>
                <a:gd name="connsiteY34" fmla="*/ 1252777 h 1310182"/>
                <a:gd name="connsiteX35" fmla="*/ 578208 w 1397489"/>
                <a:gd name="connsiteY35" fmla="*/ 1219440 h 1310182"/>
                <a:gd name="connsiteX36" fmla="*/ 406758 w 1397489"/>
                <a:gd name="connsiteY36" fmla="*/ 1143240 h 1310182"/>
                <a:gd name="connsiteX37" fmla="*/ 278171 w 1397489"/>
                <a:gd name="connsiteY37" fmla="*/ 1078947 h 1310182"/>
                <a:gd name="connsiteX38" fmla="*/ 140059 w 1397489"/>
                <a:gd name="connsiteY38" fmla="*/ 997984 h 1310182"/>
                <a:gd name="connsiteX39" fmla="*/ 1946 w 1397489"/>
                <a:gd name="connsiteY39" fmla="*/ 902734 h 1310182"/>
                <a:gd name="connsiteX0" fmla="*/ 1946 w 1397489"/>
                <a:gd name="connsiteY0" fmla="*/ 902734 h 1310182"/>
                <a:gd name="connsiteX1" fmla="*/ 47190 w 1397489"/>
                <a:gd name="connsiteY1" fmla="*/ 769384 h 1310182"/>
                <a:gd name="connsiteX2" fmla="*/ 121008 w 1397489"/>
                <a:gd name="connsiteY2" fmla="*/ 607458 h 1310182"/>
                <a:gd name="connsiteX3" fmla="*/ 240071 w 1397489"/>
                <a:gd name="connsiteY3" fmla="*/ 407434 h 1310182"/>
                <a:gd name="connsiteX4" fmla="*/ 342465 w 1397489"/>
                <a:gd name="connsiteY4" fmla="*/ 264558 h 1310182"/>
                <a:gd name="connsiteX5" fmla="*/ 447240 w 1397489"/>
                <a:gd name="connsiteY5" fmla="*/ 143115 h 1310182"/>
                <a:gd name="connsiteX6" fmla="*/ 547252 w 1397489"/>
                <a:gd name="connsiteY6" fmla="*/ 43103 h 1310182"/>
                <a:gd name="connsiteX7" fmla="*/ 604402 w 1397489"/>
                <a:gd name="connsiteY7" fmla="*/ 240 h 1310182"/>
                <a:gd name="connsiteX8" fmla="*/ 694890 w 1397489"/>
                <a:gd name="connsiteY8" fmla="*/ 59771 h 1310182"/>
                <a:gd name="connsiteX9" fmla="*/ 818715 w 1397489"/>
                <a:gd name="connsiteY9" fmla="*/ 147878 h 1310182"/>
                <a:gd name="connsiteX10" fmla="*/ 921108 w 1397489"/>
                <a:gd name="connsiteY10" fmla="*/ 245509 h 1310182"/>
                <a:gd name="connsiteX11" fmla="*/ 1044933 w 1397489"/>
                <a:gd name="connsiteY11" fmla="*/ 350284 h 1310182"/>
                <a:gd name="connsiteX12" fmla="*/ 1144946 w 1397489"/>
                <a:gd name="connsiteY12" fmla="*/ 469346 h 1310182"/>
                <a:gd name="connsiteX13" fmla="*/ 1225908 w 1397489"/>
                <a:gd name="connsiteY13" fmla="*/ 540784 h 1310182"/>
                <a:gd name="connsiteX14" fmla="*/ 1356877 w 1397489"/>
                <a:gd name="connsiteY14" fmla="*/ 700328 h 1310182"/>
                <a:gd name="connsiteX15" fmla="*/ 1156852 w 1397489"/>
                <a:gd name="connsiteY15" fmla="*/ 557453 h 1310182"/>
                <a:gd name="connsiteX16" fmla="*/ 1061602 w 1397489"/>
                <a:gd name="connsiteY16" fmla="*/ 676515 h 1310182"/>
                <a:gd name="connsiteX17" fmla="*/ 1175902 w 1397489"/>
                <a:gd name="connsiteY17" fmla="*/ 681278 h 1310182"/>
                <a:gd name="connsiteX18" fmla="*/ 1299727 w 1397489"/>
                <a:gd name="connsiteY18" fmla="*/ 738428 h 1310182"/>
                <a:gd name="connsiteX19" fmla="*/ 1364021 w 1397489"/>
                <a:gd name="connsiteY19" fmla="*/ 781290 h 1310182"/>
                <a:gd name="connsiteX20" fmla="*/ 1397358 w 1397489"/>
                <a:gd name="connsiteY20" fmla="*/ 840821 h 1310182"/>
                <a:gd name="connsiteX21" fmla="*/ 1371165 w 1397489"/>
                <a:gd name="connsiteY21" fmla="*/ 817009 h 1310182"/>
                <a:gd name="connsiteX22" fmla="*/ 1273533 w 1397489"/>
                <a:gd name="connsiteY22" fmla="*/ 924165 h 1310182"/>
                <a:gd name="connsiteX23" fmla="*/ 1216383 w 1397489"/>
                <a:gd name="connsiteY23" fmla="*/ 1057515 h 1310182"/>
                <a:gd name="connsiteX24" fmla="*/ 1154471 w 1397489"/>
                <a:gd name="connsiteY24" fmla="*/ 1128953 h 1310182"/>
                <a:gd name="connsiteX25" fmla="*/ 1085415 w 1397489"/>
                <a:gd name="connsiteY25" fmla="*/ 1183721 h 1310182"/>
                <a:gd name="connsiteX26" fmla="*/ 1040171 w 1397489"/>
                <a:gd name="connsiteY26" fmla="*/ 1257540 h 1310182"/>
                <a:gd name="connsiteX27" fmla="*/ 1018740 w 1397489"/>
                <a:gd name="connsiteY27" fmla="*/ 1309928 h 1310182"/>
                <a:gd name="connsiteX28" fmla="*/ 923490 w 1397489"/>
                <a:gd name="connsiteY28" fmla="*/ 1236109 h 1310182"/>
                <a:gd name="connsiteX29" fmla="*/ 863958 w 1397489"/>
                <a:gd name="connsiteY29" fmla="*/ 1140859 h 1310182"/>
                <a:gd name="connsiteX30" fmla="*/ 835383 w 1397489"/>
                <a:gd name="connsiteY30" fmla="*/ 1076565 h 1310182"/>
                <a:gd name="connsiteX31" fmla="*/ 797283 w 1397489"/>
                <a:gd name="connsiteY31" fmla="*/ 1057515 h 1310182"/>
                <a:gd name="connsiteX32" fmla="*/ 749658 w 1397489"/>
                <a:gd name="connsiteY32" fmla="*/ 1093234 h 1310182"/>
                <a:gd name="connsiteX33" fmla="*/ 706796 w 1397489"/>
                <a:gd name="connsiteY33" fmla="*/ 1233728 h 1310182"/>
                <a:gd name="connsiteX34" fmla="*/ 671077 w 1397489"/>
                <a:gd name="connsiteY34" fmla="*/ 1252777 h 1310182"/>
                <a:gd name="connsiteX35" fmla="*/ 578208 w 1397489"/>
                <a:gd name="connsiteY35" fmla="*/ 1219440 h 1310182"/>
                <a:gd name="connsiteX36" fmla="*/ 406758 w 1397489"/>
                <a:gd name="connsiteY36" fmla="*/ 1143240 h 1310182"/>
                <a:gd name="connsiteX37" fmla="*/ 278171 w 1397489"/>
                <a:gd name="connsiteY37" fmla="*/ 1078947 h 1310182"/>
                <a:gd name="connsiteX38" fmla="*/ 140059 w 1397489"/>
                <a:gd name="connsiteY38" fmla="*/ 997984 h 1310182"/>
                <a:gd name="connsiteX39" fmla="*/ 1946 w 1397489"/>
                <a:gd name="connsiteY39" fmla="*/ 902734 h 1310182"/>
                <a:gd name="connsiteX0" fmla="*/ 1946 w 1397489"/>
                <a:gd name="connsiteY0" fmla="*/ 902734 h 1310182"/>
                <a:gd name="connsiteX1" fmla="*/ 47190 w 1397489"/>
                <a:gd name="connsiteY1" fmla="*/ 769384 h 1310182"/>
                <a:gd name="connsiteX2" fmla="*/ 121008 w 1397489"/>
                <a:gd name="connsiteY2" fmla="*/ 607458 h 1310182"/>
                <a:gd name="connsiteX3" fmla="*/ 240071 w 1397489"/>
                <a:gd name="connsiteY3" fmla="*/ 407434 h 1310182"/>
                <a:gd name="connsiteX4" fmla="*/ 342465 w 1397489"/>
                <a:gd name="connsiteY4" fmla="*/ 264558 h 1310182"/>
                <a:gd name="connsiteX5" fmla="*/ 447240 w 1397489"/>
                <a:gd name="connsiteY5" fmla="*/ 143115 h 1310182"/>
                <a:gd name="connsiteX6" fmla="*/ 547252 w 1397489"/>
                <a:gd name="connsiteY6" fmla="*/ 43103 h 1310182"/>
                <a:gd name="connsiteX7" fmla="*/ 604402 w 1397489"/>
                <a:gd name="connsiteY7" fmla="*/ 240 h 1310182"/>
                <a:gd name="connsiteX8" fmla="*/ 706797 w 1397489"/>
                <a:gd name="connsiteY8" fmla="*/ 59771 h 1310182"/>
                <a:gd name="connsiteX9" fmla="*/ 818715 w 1397489"/>
                <a:gd name="connsiteY9" fmla="*/ 147878 h 1310182"/>
                <a:gd name="connsiteX10" fmla="*/ 921108 w 1397489"/>
                <a:gd name="connsiteY10" fmla="*/ 245509 h 1310182"/>
                <a:gd name="connsiteX11" fmla="*/ 1044933 w 1397489"/>
                <a:gd name="connsiteY11" fmla="*/ 350284 h 1310182"/>
                <a:gd name="connsiteX12" fmla="*/ 1144946 w 1397489"/>
                <a:gd name="connsiteY12" fmla="*/ 469346 h 1310182"/>
                <a:gd name="connsiteX13" fmla="*/ 1225908 w 1397489"/>
                <a:gd name="connsiteY13" fmla="*/ 540784 h 1310182"/>
                <a:gd name="connsiteX14" fmla="*/ 1356877 w 1397489"/>
                <a:gd name="connsiteY14" fmla="*/ 700328 h 1310182"/>
                <a:gd name="connsiteX15" fmla="*/ 1156852 w 1397489"/>
                <a:gd name="connsiteY15" fmla="*/ 557453 h 1310182"/>
                <a:gd name="connsiteX16" fmla="*/ 1061602 w 1397489"/>
                <a:gd name="connsiteY16" fmla="*/ 676515 h 1310182"/>
                <a:gd name="connsiteX17" fmla="*/ 1175902 w 1397489"/>
                <a:gd name="connsiteY17" fmla="*/ 681278 h 1310182"/>
                <a:gd name="connsiteX18" fmla="*/ 1299727 w 1397489"/>
                <a:gd name="connsiteY18" fmla="*/ 738428 h 1310182"/>
                <a:gd name="connsiteX19" fmla="*/ 1364021 w 1397489"/>
                <a:gd name="connsiteY19" fmla="*/ 781290 h 1310182"/>
                <a:gd name="connsiteX20" fmla="*/ 1397358 w 1397489"/>
                <a:gd name="connsiteY20" fmla="*/ 840821 h 1310182"/>
                <a:gd name="connsiteX21" fmla="*/ 1371165 w 1397489"/>
                <a:gd name="connsiteY21" fmla="*/ 817009 h 1310182"/>
                <a:gd name="connsiteX22" fmla="*/ 1273533 w 1397489"/>
                <a:gd name="connsiteY22" fmla="*/ 924165 h 1310182"/>
                <a:gd name="connsiteX23" fmla="*/ 1216383 w 1397489"/>
                <a:gd name="connsiteY23" fmla="*/ 1057515 h 1310182"/>
                <a:gd name="connsiteX24" fmla="*/ 1154471 w 1397489"/>
                <a:gd name="connsiteY24" fmla="*/ 1128953 h 1310182"/>
                <a:gd name="connsiteX25" fmla="*/ 1085415 w 1397489"/>
                <a:gd name="connsiteY25" fmla="*/ 1183721 h 1310182"/>
                <a:gd name="connsiteX26" fmla="*/ 1040171 w 1397489"/>
                <a:gd name="connsiteY26" fmla="*/ 1257540 h 1310182"/>
                <a:gd name="connsiteX27" fmla="*/ 1018740 w 1397489"/>
                <a:gd name="connsiteY27" fmla="*/ 1309928 h 1310182"/>
                <a:gd name="connsiteX28" fmla="*/ 923490 w 1397489"/>
                <a:gd name="connsiteY28" fmla="*/ 1236109 h 1310182"/>
                <a:gd name="connsiteX29" fmla="*/ 863958 w 1397489"/>
                <a:gd name="connsiteY29" fmla="*/ 1140859 h 1310182"/>
                <a:gd name="connsiteX30" fmla="*/ 835383 w 1397489"/>
                <a:gd name="connsiteY30" fmla="*/ 1076565 h 1310182"/>
                <a:gd name="connsiteX31" fmla="*/ 797283 w 1397489"/>
                <a:gd name="connsiteY31" fmla="*/ 1057515 h 1310182"/>
                <a:gd name="connsiteX32" fmla="*/ 749658 w 1397489"/>
                <a:gd name="connsiteY32" fmla="*/ 1093234 h 1310182"/>
                <a:gd name="connsiteX33" fmla="*/ 706796 w 1397489"/>
                <a:gd name="connsiteY33" fmla="*/ 1233728 h 1310182"/>
                <a:gd name="connsiteX34" fmla="*/ 671077 w 1397489"/>
                <a:gd name="connsiteY34" fmla="*/ 1252777 h 1310182"/>
                <a:gd name="connsiteX35" fmla="*/ 578208 w 1397489"/>
                <a:gd name="connsiteY35" fmla="*/ 1219440 h 1310182"/>
                <a:gd name="connsiteX36" fmla="*/ 406758 w 1397489"/>
                <a:gd name="connsiteY36" fmla="*/ 1143240 h 1310182"/>
                <a:gd name="connsiteX37" fmla="*/ 278171 w 1397489"/>
                <a:gd name="connsiteY37" fmla="*/ 1078947 h 1310182"/>
                <a:gd name="connsiteX38" fmla="*/ 140059 w 1397489"/>
                <a:gd name="connsiteY38" fmla="*/ 997984 h 1310182"/>
                <a:gd name="connsiteX39" fmla="*/ 1946 w 1397489"/>
                <a:gd name="connsiteY39" fmla="*/ 902734 h 1310182"/>
                <a:gd name="connsiteX0" fmla="*/ 1946 w 1397489"/>
                <a:gd name="connsiteY0" fmla="*/ 902734 h 1310182"/>
                <a:gd name="connsiteX1" fmla="*/ 47190 w 1397489"/>
                <a:gd name="connsiteY1" fmla="*/ 769384 h 1310182"/>
                <a:gd name="connsiteX2" fmla="*/ 121008 w 1397489"/>
                <a:gd name="connsiteY2" fmla="*/ 607458 h 1310182"/>
                <a:gd name="connsiteX3" fmla="*/ 240071 w 1397489"/>
                <a:gd name="connsiteY3" fmla="*/ 407434 h 1310182"/>
                <a:gd name="connsiteX4" fmla="*/ 342465 w 1397489"/>
                <a:gd name="connsiteY4" fmla="*/ 264558 h 1310182"/>
                <a:gd name="connsiteX5" fmla="*/ 447240 w 1397489"/>
                <a:gd name="connsiteY5" fmla="*/ 143115 h 1310182"/>
                <a:gd name="connsiteX6" fmla="*/ 547252 w 1397489"/>
                <a:gd name="connsiteY6" fmla="*/ 43103 h 1310182"/>
                <a:gd name="connsiteX7" fmla="*/ 604402 w 1397489"/>
                <a:gd name="connsiteY7" fmla="*/ 240 h 1310182"/>
                <a:gd name="connsiteX8" fmla="*/ 706797 w 1397489"/>
                <a:gd name="connsiteY8" fmla="*/ 59771 h 1310182"/>
                <a:gd name="connsiteX9" fmla="*/ 830621 w 1397489"/>
                <a:gd name="connsiteY9" fmla="*/ 152641 h 1310182"/>
                <a:gd name="connsiteX10" fmla="*/ 921108 w 1397489"/>
                <a:gd name="connsiteY10" fmla="*/ 245509 h 1310182"/>
                <a:gd name="connsiteX11" fmla="*/ 1044933 w 1397489"/>
                <a:gd name="connsiteY11" fmla="*/ 350284 h 1310182"/>
                <a:gd name="connsiteX12" fmla="*/ 1144946 w 1397489"/>
                <a:gd name="connsiteY12" fmla="*/ 469346 h 1310182"/>
                <a:gd name="connsiteX13" fmla="*/ 1225908 w 1397489"/>
                <a:gd name="connsiteY13" fmla="*/ 540784 h 1310182"/>
                <a:gd name="connsiteX14" fmla="*/ 1356877 w 1397489"/>
                <a:gd name="connsiteY14" fmla="*/ 700328 h 1310182"/>
                <a:gd name="connsiteX15" fmla="*/ 1156852 w 1397489"/>
                <a:gd name="connsiteY15" fmla="*/ 557453 h 1310182"/>
                <a:gd name="connsiteX16" fmla="*/ 1061602 w 1397489"/>
                <a:gd name="connsiteY16" fmla="*/ 676515 h 1310182"/>
                <a:gd name="connsiteX17" fmla="*/ 1175902 w 1397489"/>
                <a:gd name="connsiteY17" fmla="*/ 681278 h 1310182"/>
                <a:gd name="connsiteX18" fmla="*/ 1299727 w 1397489"/>
                <a:gd name="connsiteY18" fmla="*/ 738428 h 1310182"/>
                <a:gd name="connsiteX19" fmla="*/ 1364021 w 1397489"/>
                <a:gd name="connsiteY19" fmla="*/ 781290 h 1310182"/>
                <a:gd name="connsiteX20" fmla="*/ 1397358 w 1397489"/>
                <a:gd name="connsiteY20" fmla="*/ 840821 h 1310182"/>
                <a:gd name="connsiteX21" fmla="*/ 1371165 w 1397489"/>
                <a:gd name="connsiteY21" fmla="*/ 817009 h 1310182"/>
                <a:gd name="connsiteX22" fmla="*/ 1273533 w 1397489"/>
                <a:gd name="connsiteY22" fmla="*/ 924165 h 1310182"/>
                <a:gd name="connsiteX23" fmla="*/ 1216383 w 1397489"/>
                <a:gd name="connsiteY23" fmla="*/ 1057515 h 1310182"/>
                <a:gd name="connsiteX24" fmla="*/ 1154471 w 1397489"/>
                <a:gd name="connsiteY24" fmla="*/ 1128953 h 1310182"/>
                <a:gd name="connsiteX25" fmla="*/ 1085415 w 1397489"/>
                <a:gd name="connsiteY25" fmla="*/ 1183721 h 1310182"/>
                <a:gd name="connsiteX26" fmla="*/ 1040171 w 1397489"/>
                <a:gd name="connsiteY26" fmla="*/ 1257540 h 1310182"/>
                <a:gd name="connsiteX27" fmla="*/ 1018740 w 1397489"/>
                <a:gd name="connsiteY27" fmla="*/ 1309928 h 1310182"/>
                <a:gd name="connsiteX28" fmla="*/ 923490 w 1397489"/>
                <a:gd name="connsiteY28" fmla="*/ 1236109 h 1310182"/>
                <a:gd name="connsiteX29" fmla="*/ 863958 w 1397489"/>
                <a:gd name="connsiteY29" fmla="*/ 1140859 h 1310182"/>
                <a:gd name="connsiteX30" fmla="*/ 835383 w 1397489"/>
                <a:gd name="connsiteY30" fmla="*/ 1076565 h 1310182"/>
                <a:gd name="connsiteX31" fmla="*/ 797283 w 1397489"/>
                <a:gd name="connsiteY31" fmla="*/ 1057515 h 1310182"/>
                <a:gd name="connsiteX32" fmla="*/ 749658 w 1397489"/>
                <a:gd name="connsiteY32" fmla="*/ 1093234 h 1310182"/>
                <a:gd name="connsiteX33" fmla="*/ 706796 w 1397489"/>
                <a:gd name="connsiteY33" fmla="*/ 1233728 h 1310182"/>
                <a:gd name="connsiteX34" fmla="*/ 671077 w 1397489"/>
                <a:gd name="connsiteY34" fmla="*/ 1252777 h 1310182"/>
                <a:gd name="connsiteX35" fmla="*/ 578208 w 1397489"/>
                <a:gd name="connsiteY35" fmla="*/ 1219440 h 1310182"/>
                <a:gd name="connsiteX36" fmla="*/ 406758 w 1397489"/>
                <a:gd name="connsiteY36" fmla="*/ 1143240 h 1310182"/>
                <a:gd name="connsiteX37" fmla="*/ 278171 w 1397489"/>
                <a:gd name="connsiteY37" fmla="*/ 1078947 h 1310182"/>
                <a:gd name="connsiteX38" fmla="*/ 140059 w 1397489"/>
                <a:gd name="connsiteY38" fmla="*/ 997984 h 1310182"/>
                <a:gd name="connsiteX39" fmla="*/ 1946 w 1397489"/>
                <a:gd name="connsiteY39" fmla="*/ 902734 h 1310182"/>
                <a:gd name="connsiteX0" fmla="*/ 1946 w 1397489"/>
                <a:gd name="connsiteY0" fmla="*/ 902734 h 1310182"/>
                <a:gd name="connsiteX1" fmla="*/ 47190 w 1397489"/>
                <a:gd name="connsiteY1" fmla="*/ 769384 h 1310182"/>
                <a:gd name="connsiteX2" fmla="*/ 121008 w 1397489"/>
                <a:gd name="connsiteY2" fmla="*/ 607458 h 1310182"/>
                <a:gd name="connsiteX3" fmla="*/ 240071 w 1397489"/>
                <a:gd name="connsiteY3" fmla="*/ 407434 h 1310182"/>
                <a:gd name="connsiteX4" fmla="*/ 342465 w 1397489"/>
                <a:gd name="connsiteY4" fmla="*/ 264558 h 1310182"/>
                <a:gd name="connsiteX5" fmla="*/ 447240 w 1397489"/>
                <a:gd name="connsiteY5" fmla="*/ 143115 h 1310182"/>
                <a:gd name="connsiteX6" fmla="*/ 547252 w 1397489"/>
                <a:gd name="connsiteY6" fmla="*/ 43103 h 1310182"/>
                <a:gd name="connsiteX7" fmla="*/ 604402 w 1397489"/>
                <a:gd name="connsiteY7" fmla="*/ 240 h 1310182"/>
                <a:gd name="connsiteX8" fmla="*/ 706797 w 1397489"/>
                <a:gd name="connsiteY8" fmla="*/ 59771 h 1310182"/>
                <a:gd name="connsiteX9" fmla="*/ 830621 w 1397489"/>
                <a:gd name="connsiteY9" fmla="*/ 152641 h 1310182"/>
                <a:gd name="connsiteX10" fmla="*/ 928251 w 1397489"/>
                <a:gd name="connsiteY10" fmla="*/ 233603 h 1310182"/>
                <a:gd name="connsiteX11" fmla="*/ 1044933 w 1397489"/>
                <a:gd name="connsiteY11" fmla="*/ 350284 h 1310182"/>
                <a:gd name="connsiteX12" fmla="*/ 1144946 w 1397489"/>
                <a:gd name="connsiteY12" fmla="*/ 469346 h 1310182"/>
                <a:gd name="connsiteX13" fmla="*/ 1225908 w 1397489"/>
                <a:gd name="connsiteY13" fmla="*/ 540784 h 1310182"/>
                <a:gd name="connsiteX14" fmla="*/ 1356877 w 1397489"/>
                <a:gd name="connsiteY14" fmla="*/ 700328 h 1310182"/>
                <a:gd name="connsiteX15" fmla="*/ 1156852 w 1397489"/>
                <a:gd name="connsiteY15" fmla="*/ 557453 h 1310182"/>
                <a:gd name="connsiteX16" fmla="*/ 1061602 w 1397489"/>
                <a:gd name="connsiteY16" fmla="*/ 676515 h 1310182"/>
                <a:gd name="connsiteX17" fmla="*/ 1175902 w 1397489"/>
                <a:gd name="connsiteY17" fmla="*/ 681278 h 1310182"/>
                <a:gd name="connsiteX18" fmla="*/ 1299727 w 1397489"/>
                <a:gd name="connsiteY18" fmla="*/ 738428 h 1310182"/>
                <a:gd name="connsiteX19" fmla="*/ 1364021 w 1397489"/>
                <a:gd name="connsiteY19" fmla="*/ 781290 h 1310182"/>
                <a:gd name="connsiteX20" fmla="*/ 1397358 w 1397489"/>
                <a:gd name="connsiteY20" fmla="*/ 840821 h 1310182"/>
                <a:gd name="connsiteX21" fmla="*/ 1371165 w 1397489"/>
                <a:gd name="connsiteY21" fmla="*/ 817009 h 1310182"/>
                <a:gd name="connsiteX22" fmla="*/ 1273533 w 1397489"/>
                <a:gd name="connsiteY22" fmla="*/ 924165 h 1310182"/>
                <a:gd name="connsiteX23" fmla="*/ 1216383 w 1397489"/>
                <a:gd name="connsiteY23" fmla="*/ 1057515 h 1310182"/>
                <a:gd name="connsiteX24" fmla="*/ 1154471 w 1397489"/>
                <a:gd name="connsiteY24" fmla="*/ 1128953 h 1310182"/>
                <a:gd name="connsiteX25" fmla="*/ 1085415 w 1397489"/>
                <a:gd name="connsiteY25" fmla="*/ 1183721 h 1310182"/>
                <a:gd name="connsiteX26" fmla="*/ 1040171 w 1397489"/>
                <a:gd name="connsiteY26" fmla="*/ 1257540 h 1310182"/>
                <a:gd name="connsiteX27" fmla="*/ 1018740 w 1397489"/>
                <a:gd name="connsiteY27" fmla="*/ 1309928 h 1310182"/>
                <a:gd name="connsiteX28" fmla="*/ 923490 w 1397489"/>
                <a:gd name="connsiteY28" fmla="*/ 1236109 h 1310182"/>
                <a:gd name="connsiteX29" fmla="*/ 863958 w 1397489"/>
                <a:gd name="connsiteY29" fmla="*/ 1140859 h 1310182"/>
                <a:gd name="connsiteX30" fmla="*/ 835383 w 1397489"/>
                <a:gd name="connsiteY30" fmla="*/ 1076565 h 1310182"/>
                <a:gd name="connsiteX31" fmla="*/ 797283 w 1397489"/>
                <a:gd name="connsiteY31" fmla="*/ 1057515 h 1310182"/>
                <a:gd name="connsiteX32" fmla="*/ 749658 w 1397489"/>
                <a:gd name="connsiteY32" fmla="*/ 1093234 h 1310182"/>
                <a:gd name="connsiteX33" fmla="*/ 706796 w 1397489"/>
                <a:gd name="connsiteY33" fmla="*/ 1233728 h 1310182"/>
                <a:gd name="connsiteX34" fmla="*/ 671077 w 1397489"/>
                <a:gd name="connsiteY34" fmla="*/ 1252777 h 1310182"/>
                <a:gd name="connsiteX35" fmla="*/ 578208 w 1397489"/>
                <a:gd name="connsiteY35" fmla="*/ 1219440 h 1310182"/>
                <a:gd name="connsiteX36" fmla="*/ 406758 w 1397489"/>
                <a:gd name="connsiteY36" fmla="*/ 1143240 h 1310182"/>
                <a:gd name="connsiteX37" fmla="*/ 278171 w 1397489"/>
                <a:gd name="connsiteY37" fmla="*/ 1078947 h 1310182"/>
                <a:gd name="connsiteX38" fmla="*/ 140059 w 1397489"/>
                <a:gd name="connsiteY38" fmla="*/ 997984 h 1310182"/>
                <a:gd name="connsiteX39" fmla="*/ 1946 w 1397489"/>
                <a:gd name="connsiteY39" fmla="*/ 902734 h 1310182"/>
                <a:gd name="connsiteX0" fmla="*/ 1946 w 1397489"/>
                <a:gd name="connsiteY0" fmla="*/ 902734 h 1310182"/>
                <a:gd name="connsiteX1" fmla="*/ 47190 w 1397489"/>
                <a:gd name="connsiteY1" fmla="*/ 769384 h 1310182"/>
                <a:gd name="connsiteX2" fmla="*/ 121008 w 1397489"/>
                <a:gd name="connsiteY2" fmla="*/ 607458 h 1310182"/>
                <a:gd name="connsiteX3" fmla="*/ 240071 w 1397489"/>
                <a:gd name="connsiteY3" fmla="*/ 407434 h 1310182"/>
                <a:gd name="connsiteX4" fmla="*/ 342465 w 1397489"/>
                <a:gd name="connsiteY4" fmla="*/ 264558 h 1310182"/>
                <a:gd name="connsiteX5" fmla="*/ 447240 w 1397489"/>
                <a:gd name="connsiteY5" fmla="*/ 143115 h 1310182"/>
                <a:gd name="connsiteX6" fmla="*/ 547252 w 1397489"/>
                <a:gd name="connsiteY6" fmla="*/ 43103 h 1310182"/>
                <a:gd name="connsiteX7" fmla="*/ 604402 w 1397489"/>
                <a:gd name="connsiteY7" fmla="*/ 240 h 1310182"/>
                <a:gd name="connsiteX8" fmla="*/ 706797 w 1397489"/>
                <a:gd name="connsiteY8" fmla="*/ 59771 h 1310182"/>
                <a:gd name="connsiteX9" fmla="*/ 830621 w 1397489"/>
                <a:gd name="connsiteY9" fmla="*/ 152641 h 1310182"/>
                <a:gd name="connsiteX10" fmla="*/ 928251 w 1397489"/>
                <a:gd name="connsiteY10" fmla="*/ 233603 h 1310182"/>
                <a:gd name="connsiteX11" fmla="*/ 1052077 w 1397489"/>
                <a:gd name="connsiteY11" fmla="*/ 345522 h 1310182"/>
                <a:gd name="connsiteX12" fmla="*/ 1144946 w 1397489"/>
                <a:gd name="connsiteY12" fmla="*/ 469346 h 1310182"/>
                <a:gd name="connsiteX13" fmla="*/ 1225908 w 1397489"/>
                <a:gd name="connsiteY13" fmla="*/ 540784 h 1310182"/>
                <a:gd name="connsiteX14" fmla="*/ 1356877 w 1397489"/>
                <a:gd name="connsiteY14" fmla="*/ 700328 h 1310182"/>
                <a:gd name="connsiteX15" fmla="*/ 1156852 w 1397489"/>
                <a:gd name="connsiteY15" fmla="*/ 557453 h 1310182"/>
                <a:gd name="connsiteX16" fmla="*/ 1061602 w 1397489"/>
                <a:gd name="connsiteY16" fmla="*/ 676515 h 1310182"/>
                <a:gd name="connsiteX17" fmla="*/ 1175902 w 1397489"/>
                <a:gd name="connsiteY17" fmla="*/ 681278 h 1310182"/>
                <a:gd name="connsiteX18" fmla="*/ 1299727 w 1397489"/>
                <a:gd name="connsiteY18" fmla="*/ 738428 h 1310182"/>
                <a:gd name="connsiteX19" fmla="*/ 1364021 w 1397489"/>
                <a:gd name="connsiteY19" fmla="*/ 781290 h 1310182"/>
                <a:gd name="connsiteX20" fmla="*/ 1397358 w 1397489"/>
                <a:gd name="connsiteY20" fmla="*/ 840821 h 1310182"/>
                <a:gd name="connsiteX21" fmla="*/ 1371165 w 1397489"/>
                <a:gd name="connsiteY21" fmla="*/ 817009 h 1310182"/>
                <a:gd name="connsiteX22" fmla="*/ 1273533 w 1397489"/>
                <a:gd name="connsiteY22" fmla="*/ 924165 h 1310182"/>
                <a:gd name="connsiteX23" fmla="*/ 1216383 w 1397489"/>
                <a:gd name="connsiteY23" fmla="*/ 1057515 h 1310182"/>
                <a:gd name="connsiteX24" fmla="*/ 1154471 w 1397489"/>
                <a:gd name="connsiteY24" fmla="*/ 1128953 h 1310182"/>
                <a:gd name="connsiteX25" fmla="*/ 1085415 w 1397489"/>
                <a:gd name="connsiteY25" fmla="*/ 1183721 h 1310182"/>
                <a:gd name="connsiteX26" fmla="*/ 1040171 w 1397489"/>
                <a:gd name="connsiteY26" fmla="*/ 1257540 h 1310182"/>
                <a:gd name="connsiteX27" fmla="*/ 1018740 w 1397489"/>
                <a:gd name="connsiteY27" fmla="*/ 1309928 h 1310182"/>
                <a:gd name="connsiteX28" fmla="*/ 923490 w 1397489"/>
                <a:gd name="connsiteY28" fmla="*/ 1236109 h 1310182"/>
                <a:gd name="connsiteX29" fmla="*/ 863958 w 1397489"/>
                <a:gd name="connsiteY29" fmla="*/ 1140859 h 1310182"/>
                <a:gd name="connsiteX30" fmla="*/ 835383 w 1397489"/>
                <a:gd name="connsiteY30" fmla="*/ 1076565 h 1310182"/>
                <a:gd name="connsiteX31" fmla="*/ 797283 w 1397489"/>
                <a:gd name="connsiteY31" fmla="*/ 1057515 h 1310182"/>
                <a:gd name="connsiteX32" fmla="*/ 749658 w 1397489"/>
                <a:gd name="connsiteY32" fmla="*/ 1093234 h 1310182"/>
                <a:gd name="connsiteX33" fmla="*/ 706796 w 1397489"/>
                <a:gd name="connsiteY33" fmla="*/ 1233728 h 1310182"/>
                <a:gd name="connsiteX34" fmla="*/ 671077 w 1397489"/>
                <a:gd name="connsiteY34" fmla="*/ 1252777 h 1310182"/>
                <a:gd name="connsiteX35" fmla="*/ 578208 w 1397489"/>
                <a:gd name="connsiteY35" fmla="*/ 1219440 h 1310182"/>
                <a:gd name="connsiteX36" fmla="*/ 406758 w 1397489"/>
                <a:gd name="connsiteY36" fmla="*/ 1143240 h 1310182"/>
                <a:gd name="connsiteX37" fmla="*/ 278171 w 1397489"/>
                <a:gd name="connsiteY37" fmla="*/ 1078947 h 1310182"/>
                <a:gd name="connsiteX38" fmla="*/ 140059 w 1397489"/>
                <a:gd name="connsiteY38" fmla="*/ 997984 h 1310182"/>
                <a:gd name="connsiteX39" fmla="*/ 1946 w 1397489"/>
                <a:gd name="connsiteY39" fmla="*/ 902734 h 1310182"/>
                <a:gd name="connsiteX0" fmla="*/ 1946 w 1397489"/>
                <a:gd name="connsiteY0" fmla="*/ 902734 h 1310182"/>
                <a:gd name="connsiteX1" fmla="*/ 47190 w 1397489"/>
                <a:gd name="connsiteY1" fmla="*/ 769384 h 1310182"/>
                <a:gd name="connsiteX2" fmla="*/ 121008 w 1397489"/>
                <a:gd name="connsiteY2" fmla="*/ 607458 h 1310182"/>
                <a:gd name="connsiteX3" fmla="*/ 240071 w 1397489"/>
                <a:gd name="connsiteY3" fmla="*/ 407434 h 1310182"/>
                <a:gd name="connsiteX4" fmla="*/ 342465 w 1397489"/>
                <a:gd name="connsiteY4" fmla="*/ 264558 h 1310182"/>
                <a:gd name="connsiteX5" fmla="*/ 447240 w 1397489"/>
                <a:gd name="connsiteY5" fmla="*/ 143115 h 1310182"/>
                <a:gd name="connsiteX6" fmla="*/ 547252 w 1397489"/>
                <a:gd name="connsiteY6" fmla="*/ 43103 h 1310182"/>
                <a:gd name="connsiteX7" fmla="*/ 604402 w 1397489"/>
                <a:gd name="connsiteY7" fmla="*/ 240 h 1310182"/>
                <a:gd name="connsiteX8" fmla="*/ 706797 w 1397489"/>
                <a:gd name="connsiteY8" fmla="*/ 59771 h 1310182"/>
                <a:gd name="connsiteX9" fmla="*/ 830621 w 1397489"/>
                <a:gd name="connsiteY9" fmla="*/ 152641 h 1310182"/>
                <a:gd name="connsiteX10" fmla="*/ 928251 w 1397489"/>
                <a:gd name="connsiteY10" fmla="*/ 233603 h 1310182"/>
                <a:gd name="connsiteX11" fmla="*/ 1052077 w 1397489"/>
                <a:gd name="connsiteY11" fmla="*/ 345522 h 1310182"/>
                <a:gd name="connsiteX12" fmla="*/ 1166377 w 1397489"/>
                <a:gd name="connsiteY12" fmla="*/ 457440 h 1310182"/>
                <a:gd name="connsiteX13" fmla="*/ 1225908 w 1397489"/>
                <a:gd name="connsiteY13" fmla="*/ 540784 h 1310182"/>
                <a:gd name="connsiteX14" fmla="*/ 1356877 w 1397489"/>
                <a:gd name="connsiteY14" fmla="*/ 700328 h 1310182"/>
                <a:gd name="connsiteX15" fmla="*/ 1156852 w 1397489"/>
                <a:gd name="connsiteY15" fmla="*/ 557453 h 1310182"/>
                <a:gd name="connsiteX16" fmla="*/ 1061602 w 1397489"/>
                <a:gd name="connsiteY16" fmla="*/ 676515 h 1310182"/>
                <a:gd name="connsiteX17" fmla="*/ 1175902 w 1397489"/>
                <a:gd name="connsiteY17" fmla="*/ 681278 h 1310182"/>
                <a:gd name="connsiteX18" fmla="*/ 1299727 w 1397489"/>
                <a:gd name="connsiteY18" fmla="*/ 738428 h 1310182"/>
                <a:gd name="connsiteX19" fmla="*/ 1364021 w 1397489"/>
                <a:gd name="connsiteY19" fmla="*/ 781290 h 1310182"/>
                <a:gd name="connsiteX20" fmla="*/ 1397358 w 1397489"/>
                <a:gd name="connsiteY20" fmla="*/ 840821 h 1310182"/>
                <a:gd name="connsiteX21" fmla="*/ 1371165 w 1397489"/>
                <a:gd name="connsiteY21" fmla="*/ 817009 h 1310182"/>
                <a:gd name="connsiteX22" fmla="*/ 1273533 w 1397489"/>
                <a:gd name="connsiteY22" fmla="*/ 924165 h 1310182"/>
                <a:gd name="connsiteX23" fmla="*/ 1216383 w 1397489"/>
                <a:gd name="connsiteY23" fmla="*/ 1057515 h 1310182"/>
                <a:gd name="connsiteX24" fmla="*/ 1154471 w 1397489"/>
                <a:gd name="connsiteY24" fmla="*/ 1128953 h 1310182"/>
                <a:gd name="connsiteX25" fmla="*/ 1085415 w 1397489"/>
                <a:gd name="connsiteY25" fmla="*/ 1183721 h 1310182"/>
                <a:gd name="connsiteX26" fmla="*/ 1040171 w 1397489"/>
                <a:gd name="connsiteY26" fmla="*/ 1257540 h 1310182"/>
                <a:gd name="connsiteX27" fmla="*/ 1018740 w 1397489"/>
                <a:gd name="connsiteY27" fmla="*/ 1309928 h 1310182"/>
                <a:gd name="connsiteX28" fmla="*/ 923490 w 1397489"/>
                <a:gd name="connsiteY28" fmla="*/ 1236109 h 1310182"/>
                <a:gd name="connsiteX29" fmla="*/ 863958 w 1397489"/>
                <a:gd name="connsiteY29" fmla="*/ 1140859 h 1310182"/>
                <a:gd name="connsiteX30" fmla="*/ 835383 w 1397489"/>
                <a:gd name="connsiteY30" fmla="*/ 1076565 h 1310182"/>
                <a:gd name="connsiteX31" fmla="*/ 797283 w 1397489"/>
                <a:gd name="connsiteY31" fmla="*/ 1057515 h 1310182"/>
                <a:gd name="connsiteX32" fmla="*/ 749658 w 1397489"/>
                <a:gd name="connsiteY32" fmla="*/ 1093234 h 1310182"/>
                <a:gd name="connsiteX33" fmla="*/ 706796 w 1397489"/>
                <a:gd name="connsiteY33" fmla="*/ 1233728 h 1310182"/>
                <a:gd name="connsiteX34" fmla="*/ 671077 w 1397489"/>
                <a:gd name="connsiteY34" fmla="*/ 1252777 h 1310182"/>
                <a:gd name="connsiteX35" fmla="*/ 578208 w 1397489"/>
                <a:gd name="connsiteY35" fmla="*/ 1219440 h 1310182"/>
                <a:gd name="connsiteX36" fmla="*/ 406758 w 1397489"/>
                <a:gd name="connsiteY36" fmla="*/ 1143240 h 1310182"/>
                <a:gd name="connsiteX37" fmla="*/ 278171 w 1397489"/>
                <a:gd name="connsiteY37" fmla="*/ 1078947 h 1310182"/>
                <a:gd name="connsiteX38" fmla="*/ 140059 w 1397489"/>
                <a:gd name="connsiteY38" fmla="*/ 997984 h 1310182"/>
                <a:gd name="connsiteX39" fmla="*/ 1946 w 1397489"/>
                <a:gd name="connsiteY39" fmla="*/ 902734 h 1310182"/>
                <a:gd name="connsiteX0" fmla="*/ 1946 w 1397489"/>
                <a:gd name="connsiteY0" fmla="*/ 902734 h 1310182"/>
                <a:gd name="connsiteX1" fmla="*/ 47190 w 1397489"/>
                <a:gd name="connsiteY1" fmla="*/ 769384 h 1310182"/>
                <a:gd name="connsiteX2" fmla="*/ 121008 w 1397489"/>
                <a:gd name="connsiteY2" fmla="*/ 607458 h 1310182"/>
                <a:gd name="connsiteX3" fmla="*/ 240071 w 1397489"/>
                <a:gd name="connsiteY3" fmla="*/ 407434 h 1310182"/>
                <a:gd name="connsiteX4" fmla="*/ 342465 w 1397489"/>
                <a:gd name="connsiteY4" fmla="*/ 264558 h 1310182"/>
                <a:gd name="connsiteX5" fmla="*/ 447240 w 1397489"/>
                <a:gd name="connsiteY5" fmla="*/ 143115 h 1310182"/>
                <a:gd name="connsiteX6" fmla="*/ 547252 w 1397489"/>
                <a:gd name="connsiteY6" fmla="*/ 43103 h 1310182"/>
                <a:gd name="connsiteX7" fmla="*/ 604402 w 1397489"/>
                <a:gd name="connsiteY7" fmla="*/ 240 h 1310182"/>
                <a:gd name="connsiteX8" fmla="*/ 706797 w 1397489"/>
                <a:gd name="connsiteY8" fmla="*/ 59771 h 1310182"/>
                <a:gd name="connsiteX9" fmla="*/ 830621 w 1397489"/>
                <a:gd name="connsiteY9" fmla="*/ 152641 h 1310182"/>
                <a:gd name="connsiteX10" fmla="*/ 928251 w 1397489"/>
                <a:gd name="connsiteY10" fmla="*/ 233603 h 1310182"/>
                <a:gd name="connsiteX11" fmla="*/ 1052077 w 1397489"/>
                <a:gd name="connsiteY11" fmla="*/ 345522 h 1310182"/>
                <a:gd name="connsiteX12" fmla="*/ 1166377 w 1397489"/>
                <a:gd name="connsiteY12" fmla="*/ 457440 h 1310182"/>
                <a:gd name="connsiteX13" fmla="*/ 1240195 w 1397489"/>
                <a:gd name="connsiteY13" fmla="*/ 536021 h 1310182"/>
                <a:gd name="connsiteX14" fmla="*/ 1356877 w 1397489"/>
                <a:gd name="connsiteY14" fmla="*/ 700328 h 1310182"/>
                <a:gd name="connsiteX15" fmla="*/ 1156852 w 1397489"/>
                <a:gd name="connsiteY15" fmla="*/ 557453 h 1310182"/>
                <a:gd name="connsiteX16" fmla="*/ 1061602 w 1397489"/>
                <a:gd name="connsiteY16" fmla="*/ 676515 h 1310182"/>
                <a:gd name="connsiteX17" fmla="*/ 1175902 w 1397489"/>
                <a:gd name="connsiteY17" fmla="*/ 681278 h 1310182"/>
                <a:gd name="connsiteX18" fmla="*/ 1299727 w 1397489"/>
                <a:gd name="connsiteY18" fmla="*/ 738428 h 1310182"/>
                <a:gd name="connsiteX19" fmla="*/ 1364021 w 1397489"/>
                <a:gd name="connsiteY19" fmla="*/ 781290 h 1310182"/>
                <a:gd name="connsiteX20" fmla="*/ 1397358 w 1397489"/>
                <a:gd name="connsiteY20" fmla="*/ 840821 h 1310182"/>
                <a:gd name="connsiteX21" fmla="*/ 1371165 w 1397489"/>
                <a:gd name="connsiteY21" fmla="*/ 817009 h 1310182"/>
                <a:gd name="connsiteX22" fmla="*/ 1273533 w 1397489"/>
                <a:gd name="connsiteY22" fmla="*/ 924165 h 1310182"/>
                <a:gd name="connsiteX23" fmla="*/ 1216383 w 1397489"/>
                <a:gd name="connsiteY23" fmla="*/ 1057515 h 1310182"/>
                <a:gd name="connsiteX24" fmla="*/ 1154471 w 1397489"/>
                <a:gd name="connsiteY24" fmla="*/ 1128953 h 1310182"/>
                <a:gd name="connsiteX25" fmla="*/ 1085415 w 1397489"/>
                <a:gd name="connsiteY25" fmla="*/ 1183721 h 1310182"/>
                <a:gd name="connsiteX26" fmla="*/ 1040171 w 1397489"/>
                <a:gd name="connsiteY26" fmla="*/ 1257540 h 1310182"/>
                <a:gd name="connsiteX27" fmla="*/ 1018740 w 1397489"/>
                <a:gd name="connsiteY27" fmla="*/ 1309928 h 1310182"/>
                <a:gd name="connsiteX28" fmla="*/ 923490 w 1397489"/>
                <a:gd name="connsiteY28" fmla="*/ 1236109 h 1310182"/>
                <a:gd name="connsiteX29" fmla="*/ 863958 w 1397489"/>
                <a:gd name="connsiteY29" fmla="*/ 1140859 h 1310182"/>
                <a:gd name="connsiteX30" fmla="*/ 835383 w 1397489"/>
                <a:gd name="connsiteY30" fmla="*/ 1076565 h 1310182"/>
                <a:gd name="connsiteX31" fmla="*/ 797283 w 1397489"/>
                <a:gd name="connsiteY31" fmla="*/ 1057515 h 1310182"/>
                <a:gd name="connsiteX32" fmla="*/ 749658 w 1397489"/>
                <a:gd name="connsiteY32" fmla="*/ 1093234 h 1310182"/>
                <a:gd name="connsiteX33" fmla="*/ 706796 w 1397489"/>
                <a:gd name="connsiteY33" fmla="*/ 1233728 h 1310182"/>
                <a:gd name="connsiteX34" fmla="*/ 671077 w 1397489"/>
                <a:gd name="connsiteY34" fmla="*/ 1252777 h 1310182"/>
                <a:gd name="connsiteX35" fmla="*/ 578208 w 1397489"/>
                <a:gd name="connsiteY35" fmla="*/ 1219440 h 1310182"/>
                <a:gd name="connsiteX36" fmla="*/ 406758 w 1397489"/>
                <a:gd name="connsiteY36" fmla="*/ 1143240 h 1310182"/>
                <a:gd name="connsiteX37" fmla="*/ 278171 w 1397489"/>
                <a:gd name="connsiteY37" fmla="*/ 1078947 h 1310182"/>
                <a:gd name="connsiteX38" fmla="*/ 140059 w 1397489"/>
                <a:gd name="connsiteY38" fmla="*/ 997984 h 1310182"/>
                <a:gd name="connsiteX39" fmla="*/ 1946 w 1397489"/>
                <a:gd name="connsiteY39" fmla="*/ 902734 h 1310182"/>
                <a:gd name="connsiteX0" fmla="*/ 1946 w 1397489"/>
                <a:gd name="connsiteY0" fmla="*/ 902734 h 1310182"/>
                <a:gd name="connsiteX1" fmla="*/ 47190 w 1397489"/>
                <a:gd name="connsiteY1" fmla="*/ 769384 h 1310182"/>
                <a:gd name="connsiteX2" fmla="*/ 121008 w 1397489"/>
                <a:gd name="connsiteY2" fmla="*/ 607458 h 1310182"/>
                <a:gd name="connsiteX3" fmla="*/ 240071 w 1397489"/>
                <a:gd name="connsiteY3" fmla="*/ 407434 h 1310182"/>
                <a:gd name="connsiteX4" fmla="*/ 342465 w 1397489"/>
                <a:gd name="connsiteY4" fmla="*/ 264558 h 1310182"/>
                <a:gd name="connsiteX5" fmla="*/ 447240 w 1397489"/>
                <a:gd name="connsiteY5" fmla="*/ 143115 h 1310182"/>
                <a:gd name="connsiteX6" fmla="*/ 547252 w 1397489"/>
                <a:gd name="connsiteY6" fmla="*/ 43103 h 1310182"/>
                <a:gd name="connsiteX7" fmla="*/ 604402 w 1397489"/>
                <a:gd name="connsiteY7" fmla="*/ 240 h 1310182"/>
                <a:gd name="connsiteX8" fmla="*/ 706797 w 1397489"/>
                <a:gd name="connsiteY8" fmla="*/ 59771 h 1310182"/>
                <a:gd name="connsiteX9" fmla="*/ 830621 w 1397489"/>
                <a:gd name="connsiteY9" fmla="*/ 152641 h 1310182"/>
                <a:gd name="connsiteX10" fmla="*/ 928251 w 1397489"/>
                <a:gd name="connsiteY10" fmla="*/ 233603 h 1310182"/>
                <a:gd name="connsiteX11" fmla="*/ 1052077 w 1397489"/>
                <a:gd name="connsiteY11" fmla="*/ 345522 h 1310182"/>
                <a:gd name="connsiteX12" fmla="*/ 1166377 w 1397489"/>
                <a:gd name="connsiteY12" fmla="*/ 457440 h 1310182"/>
                <a:gd name="connsiteX13" fmla="*/ 1240195 w 1397489"/>
                <a:gd name="connsiteY13" fmla="*/ 536021 h 1310182"/>
                <a:gd name="connsiteX14" fmla="*/ 1356877 w 1397489"/>
                <a:gd name="connsiteY14" fmla="*/ 700328 h 1310182"/>
                <a:gd name="connsiteX15" fmla="*/ 1156852 w 1397489"/>
                <a:gd name="connsiteY15" fmla="*/ 557453 h 1310182"/>
                <a:gd name="connsiteX16" fmla="*/ 1061602 w 1397489"/>
                <a:gd name="connsiteY16" fmla="*/ 676515 h 1310182"/>
                <a:gd name="connsiteX17" fmla="*/ 1175902 w 1397489"/>
                <a:gd name="connsiteY17" fmla="*/ 681278 h 1310182"/>
                <a:gd name="connsiteX18" fmla="*/ 1299727 w 1397489"/>
                <a:gd name="connsiteY18" fmla="*/ 738428 h 1310182"/>
                <a:gd name="connsiteX19" fmla="*/ 1364021 w 1397489"/>
                <a:gd name="connsiteY19" fmla="*/ 781290 h 1310182"/>
                <a:gd name="connsiteX20" fmla="*/ 1397358 w 1397489"/>
                <a:gd name="connsiteY20" fmla="*/ 840821 h 1310182"/>
                <a:gd name="connsiteX21" fmla="*/ 1371165 w 1397489"/>
                <a:gd name="connsiteY21" fmla="*/ 817009 h 1310182"/>
                <a:gd name="connsiteX22" fmla="*/ 1273533 w 1397489"/>
                <a:gd name="connsiteY22" fmla="*/ 924165 h 1310182"/>
                <a:gd name="connsiteX23" fmla="*/ 1216383 w 1397489"/>
                <a:gd name="connsiteY23" fmla="*/ 1057515 h 1310182"/>
                <a:gd name="connsiteX24" fmla="*/ 1154471 w 1397489"/>
                <a:gd name="connsiteY24" fmla="*/ 1128953 h 1310182"/>
                <a:gd name="connsiteX25" fmla="*/ 1085415 w 1397489"/>
                <a:gd name="connsiteY25" fmla="*/ 1183721 h 1310182"/>
                <a:gd name="connsiteX26" fmla="*/ 1040171 w 1397489"/>
                <a:gd name="connsiteY26" fmla="*/ 1257540 h 1310182"/>
                <a:gd name="connsiteX27" fmla="*/ 1018740 w 1397489"/>
                <a:gd name="connsiteY27" fmla="*/ 1309928 h 1310182"/>
                <a:gd name="connsiteX28" fmla="*/ 923490 w 1397489"/>
                <a:gd name="connsiteY28" fmla="*/ 1236109 h 1310182"/>
                <a:gd name="connsiteX29" fmla="*/ 863958 w 1397489"/>
                <a:gd name="connsiteY29" fmla="*/ 1140859 h 1310182"/>
                <a:gd name="connsiteX30" fmla="*/ 835383 w 1397489"/>
                <a:gd name="connsiteY30" fmla="*/ 1076565 h 1310182"/>
                <a:gd name="connsiteX31" fmla="*/ 797283 w 1397489"/>
                <a:gd name="connsiteY31" fmla="*/ 1057515 h 1310182"/>
                <a:gd name="connsiteX32" fmla="*/ 749658 w 1397489"/>
                <a:gd name="connsiteY32" fmla="*/ 1093234 h 1310182"/>
                <a:gd name="connsiteX33" fmla="*/ 706796 w 1397489"/>
                <a:gd name="connsiteY33" fmla="*/ 1233728 h 1310182"/>
                <a:gd name="connsiteX34" fmla="*/ 671077 w 1397489"/>
                <a:gd name="connsiteY34" fmla="*/ 1252777 h 1310182"/>
                <a:gd name="connsiteX35" fmla="*/ 578208 w 1397489"/>
                <a:gd name="connsiteY35" fmla="*/ 1219440 h 1310182"/>
                <a:gd name="connsiteX36" fmla="*/ 406758 w 1397489"/>
                <a:gd name="connsiteY36" fmla="*/ 1143240 h 1310182"/>
                <a:gd name="connsiteX37" fmla="*/ 278171 w 1397489"/>
                <a:gd name="connsiteY37" fmla="*/ 1078947 h 1310182"/>
                <a:gd name="connsiteX38" fmla="*/ 111484 w 1397489"/>
                <a:gd name="connsiteY38" fmla="*/ 981315 h 1310182"/>
                <a:gd name="connsiteX39" fmla="*/ 1946 w 1397489"/>
                <a:gd name="connsiteY39" fmla="*/ 902734 h 1310182"/>
                <a:gd name="connsiteX0" fmla="*/ 2037 w 1395199"/>
                <a:gd name="connsiteY0" fmla="*/ 907496 h 1310182"/>
                <a:gd name="connsiteX1" fmla="*/ 44900 w 1395199"/>
                <a:gd name="connsiteY1" fmla="*/ 769384 h 1310182"/>
                <a:gd name="connsiteX2" fmla="*/ 118718 w 1395199"/>
                <a:gd name="connsiteY2" fmla="*/ 607458 h 1310182"/>
                <a:gd name="connsiteX3" fmla="*/ 237781 w 1395199"/>
                <a:gd name="connsiteY3" fmla="*/ 407434 h 1310182"/>
                <a:gd name="connsiteX4" fmla="*/ 340175 w 1395199"/>
                <a:gd name="connsiteY4" fmla="*/ 264558 h 1310182"/>
                <a:gd name="connsiteX5" fmla="*/ 444950 w 1395199"/>
                <a:gd name="connsiteY5" fmla="*/ 143115 h 1310182"/>
                <a:gd name="connsiteX6" fmla="*/ 544962 w 1395199"/>
                <a:gd name="connsiteY6" fmla="*/ 43103 h 1310182"/>
                <a:gd name="connsiteX7" fmla="*/ 602112 w 1395199"/>
                <a:gd name="connsiteY7" fmla="*/ 240 h 1310182"/>
                <a:gd name="connsiteX8" fmla="*/ 704507 w 1395199"/>
                <a:gd name="connsiteY8" fmla="*/ 59771 h 1310182"/>
                <a:gd name="connsiteX9" fmla="*/ 828331 w 1395199"/>
                <a:gd name="connsiteY9" fmla="*/ 152641 h 1310182"/>
                <a:gd name="connsiteX10" fmla="*/ 925961 w 1395199"/>
                <a:gd name="connsiteY10" fmla="*/ 233603 h 1310182"/>
                <a:gd name="connsiteX11" fmla="*/ 1049787 w 1395199"/>
                <a:gd name="connsiteY11" fmla="*/ 345522 h 1310182"/>
                <a:gd name="connsiteX12" fmla="*/ 1164087 w 1395199"/>
                <a:gd name="connsiteY12" fmla="*/ 457440 h 1310182"/>
                <a:gd name="connsiteX13" fmla="*/ 1237905 w 1395199"/>
                <a:gd name="connsiteY13" fmla="*/ 536021 h 1310182"/>
                <a:gd name="connsiteX14" fmla="*/ 1354587 w 1395199"/>
                <a:gd name="connsiteY14" fmla="*/ 700328 h 1310182"/>
                <a:gd name="connsiteX15" fmla="*/ 1154562 w 1395199"/>
                <a:gd name="connsiteY15" fmla="*/ 557453 h 1310182"/>
                <a:gd name="connsiteX16" fmla="*/ 1059312 w 1395199"/>
                <a:gd name="connsiteY16" fmla="*/ 676515 h 1310182"/>
                <a:gd name="connsiteX17" fmla="*/ 1173612 w 1395199"/>
                <a:gd name="connsiteY17" fmla="*/ 681278 h 1310182"/>
                <a:gd name="connsiteX18" fmla="*/ 1297437 w 1395199"/>
                <a:gd name="connsiteY18" fmla="*/ 738428 h 1310182"/>
                <a:gd name="connsiteX19" fmla="*/ 1361731 w 1395199"/>
                <a:gd name="connsiteY19" fmla="*/ 781290 h 1310182"/>
                <a:gd name="connsiteX20" fmla="*/ 1395068 w 1395199"/>
                <a:gd name="connsiteY20" fmla="*/ 840821 h 1310182"/>
                <a:gd name="connsiteX21" fmla="*/ 1368875 w 1395199"/>
                <a:gd name="connsiteY21" fmla="*/ 817009 h 1310182"/>
                <a:gd name="connsiteX22" fmla="*/ 1271243 w 1395199"/>
                <a:gd name="connsiteY22" fmla="*/ 924165 h 1310182"/>
                <a:gd name="connsiteX23" fmla="*/ 1214093 w 1395199"/>
                <a:gd name="connsiteY23" fmla="*/ 1057515 h 1310182"/>
                <a:gd name="connsiteX24" fmla="*/ 1152181 w 1395199"/>
                <a:gd name="connsiteY24" fmla="*/ 1128953 h 1310182"/>
                <a:gd name="connsiteX25" fmla="*/ 1083125 w 1395199"/>
                <a:gd name="connsiteY25" fmla="*/ 1183721 h 1310182"/>
                <a:gd name="connsiteX26" fmla="*/ 1037881 w 1395199"/>
                <a:gd name="connsiteY26" fmla="*/ 1257540 h 1310182"/>
                <a:gd name="connsiteX27" fmla="*/ 1016450 w 1395199"/>
                <a:gd name="connsiteY27" fmla="*/ 1309928 h 1310182"/>
                <a:gd name="connsiteX28" fmla="*/ 921200 w 1395199"/>
                <a:gd name="connsiteY28" fmla="*/ 1236109 h 1310182"/>
                <a:gd name="connsiteX29" fmla="*/ 861668 w 1395199"/>
                <a:gd name="connsiteY29" fmla="*/ 1140859 h 1310182"/>
                <a:gd name="connsiteX30" fmla="*/ 833093 w 1395199"/>
                <a:gd name="connsiteY30" fmla="*/ 1076565 h 1310182"/>
                <a:gd name="connsiteX31" fmla="*/ 794993 w 1395199"/>
                <a:gd name="connsiteY31" fmla="*/ 1057515 h 1310182"/>
                <a:gd name="connsiteX32" fmla="*/ 747368 w 1395199"/>
                <a:gd name="connsiteY32" fmla="*/ 1093234 h 1310182"/>
                <a:gd name="connsiteX33" fmla="*/ 704506 w 1395199"/>
                <a:gd name="connsiteY33" fmla="*/ 1233728 h 1310182"/>
                <a:gd name="connsiteX34" fmla="*/ 668787 w 1395199"/>
                <a:gd name="connsiteY34" fmla="*/ 1252777 h 1310182"/>
                <a:gd name="connsiteX35" fmla="*/ 575918 w 1395199"/>
                <a:gd name="connsiteY35" fmla="*/ 1219440 h 1310182"/>
                <a:gd name="connsiteX36" fmla="*/ 404468 w 1395199"/>
                <a:gd name="connsiteY36" fmla="*/ 1143240 h 1310182"/>
                <a:gd name="connsiteX37" fmla="*/ 275881 w 1395199"/>
                <a:gd name="connsiteY37" fmla="*/ 1078947 h 1310182"/>
                <a:gd name="connsiteX38" fmla="*/ 109194 w 1395199"/>
                <a:gd name="connsiteY38" fmla="*/ 981315 h 1310182"/>
                <a:gd name="connsiteX39" fmla="*/ 2037 w 1395199"/>
                <a:gd name="connsiteY39" fmla="*/ 907496 h 1310182"/>
                <a:gd name="connsiteX0" fmla="*/ 322 w 1393484"/>
                <a:gd name="connsiteY0" fmla="*/ 907496 h 1310182"/>
                <a:gd name="connsiteX1" fmla="*/ 43185 w 1393484"/>
                <a:gd name="connsiteY1" fmla="*/ 769384 h 1310182"/>
                <a:gd name="connsiteX2" fmla="*/ 117003 w 1393484"/>
                <a:gd name="connsiteY2" fmla="*/ 607458 h 1310182"/>
                <a:gd name="connsiteX3" fmla="*/ 236066 w 1393484"/>
                <a:gd name="connsiteY3" fmla="*/ 407434 h 1310182"/>
                <a:gd name="connsiteX4" fmla="*/ 338460 w 1393484"/>
                <a:gd name="connsiteY4" fmla="*/ 264558 h 1310182"/>
                <a:gd name="connsiteX5" fmla="*/ 443235 w 1393484"/>
                <a:gd name="connsiteY5" fmla="*/ 143115 h 1310182"/>
                <a:gd name="connsiteX6" fmla="*/ 543247 w 1393484"/>
                <a:gd name="connsiteY6" fmla="*/ 43103 h 1310182"/>
                <a:gd name="connsiteX7" fmla="*/ 600397 w 1393484"/>
                <a:gd name="connsiteY7" fmla="*/ 240 h 1310182"/>
                <a:gd name="connsiteX8" fmla="*/ 702792 w 1393484"/>
                <a:gd name="connsiteY8" fmla="*/ 59771 h 1310182"/>
                <a:gd name="connsiteX9" fmla="*/ 826616 w 1393484"/>
                <a:gd name="connsiteY9" fmla="*/ 152641 h 1310182"/>
                <a:gd name="connsiteX10" fmla="*/ 924246 w 1393484"/>
                <a:gd name="connsiteY10" fmla="*/ 233603 h 1310182"/>
                <a:gd name="connsiteX11" fmla="*/ 1048072 w 1393484"/>
                <a:gd name="connsiteY11" fmla="*/ 345522 h 1310182"/>
                <a:gd name="connsiteX12" fmla="*/ 1162372 w 1393484"/>
                <a:gd name="connsiteY12" fmla="*/ 457440 h 1310182"/>
                <a:gd name="connsiteX13" fmla="*/ 1236190 w 1393484"/>
                <a:gd name="connsiteY13" fmla="*/ 536021 h 1310182"/>
                <a:gd name="connsiteX14" fmla="*/ 1352872 w 1393484"/>
                <a:gd name="connsiteY14" fmla="*/ 700328 h 1310182"/>
                <a:gd name="connsiteX15" fmla="*/ 1152847 w 1393484"/>
                <a:gd name="connsiteY15" fmla="*/ 557453 h 1310182"/>
                <a:gd name="connsiteX16" fmla="*/ 1057597 w 1393484"/>
                <a:gd name="connsiteY16" fmla="*/ 676515 h 1310182"/>
                <a:gd name="connsiteX17" fmla="*/ 1171897 w 1393484"/>
                <a:gd name="connsiteY17" fmla="*/ 681278 h 1310182"/>
                <a:gd name="connsiteX18" fmla="*/ 1295722 w 1393484"/>
                <a:gd name="connsiteY18" fmla="*/ 738428 h 1310182"/>
                <a:gd name="connsiteX19" fmla="*/ 1360016 w 1393484"/>
                <a:gd name="connsiteY19" fmla="*/ 781290 h 1310182"/>
                <a:gd name="connsiteX20" fmla="*/ 1393353 w 1393484"/>
                <a:gd name="connsiteY20" fmla="*/ 840821 h 1310182"/>
                <a:gd name="connsiteX21" fmla="*/ 1367160 w 1393484"/>
                <a:gd name="connsiteY21" fmla="*/ 817009 h 1310182"/>
                <a:gd name="connsiteX22" fmla="*/ 1269528 w 1393484"/>
                <a:gd name="connsiteY22" fmla="*/ 924165 h 1310182"/>
                <a:gd name="connsiteX23" fmla="*/ 1212378 w 1393484"/>
                <a:gd name="connsiteY23" fmla="*/ 1057515 h 1310182"/>
                <a:gd name="connsiteX24" fmla="*/ 1150466 w 1393484"/>
                <a:gd name="connsiteY24" fmla="*/ 1128953 h 1310182"/>
                <a:gd name="connsiteX25" fmla="*/ 1081410 w 1393484"/>
                <a:gd name="connsiteY25" fmla="*/ 1183721 h 1310182"/>
                <a:gd name="connsiteX26" fmla="*/ 1036166 w 1393484"/>
                <a:gd name="connsiteY26" fmla="*/ 1257540 h 1310182"/>
                <a:gd name="connsiteX27" fmla="*/ 1014735 w 1393484"/>
                <a:gd name="connsiteY27" fmla="*/ 1309928 h 1310182"/>
                <a:gd name="connsiteX28" fmla="*/ 919485 w 1393484"/>
                <a:gd name="connsiteY28" fmla="*/ 1236109 h 1310182"/>
                <a:gd name="connsiteX29" fmla="*/ 859953 w 1393484"/>
                <a:gd name="connsiteY29" fmla="*/ 1140859 h 1310182"/>
                <a:gd name="connsiteX30" fmla="*/ 831378 w 1393484"/>
                <a:gd name="connsiteY30" fmla="*/ 1076565 h 1310182"/>
                <a:gd name="connsiteX31" fmla="*/ 793278 w 1393484"/>
                <a:gd name="connsiteY31" fmla="*/ 1057515 h 1310182"/>
                <a:gd name="connsiteX32" fmla="*/ 745653 w 1393484"/>
                <a:gd name="connsiteY32" fmla="*/ 1093234 h 1310182"/>
                <a:gd name="connsiteX33" fmla="*/ 702791 w 1393484"/>
                <a:gd name="connsiteY33" fmla="*/ 1233728 h 1310182"/>
                <a:gd name="connsiteX34" fmla="*/ 667072 w 1393484"/>
                <a:gd name="connsiteY34" fmla="*/ 1252777 h 1310182"/>
                <a:gd name="connsiteX35" fmla="*/ 574203 w 1393484"/>
                <a:gd name="connsiteY35" fmla="*/ 1219440 h 1310182"/>
                <a:gd name="connsiteX36" fmla="*/ 402753 w 1393484"/>
                <a:gd name="connsiteY36" fmla="*/ 1143240 h 1310182"/>
                <a:gd name="connsiteX37" fmla="*/ 274166 w 1393484"/>
                <a:gd name="connsiteY37" fmla="*/ 1078947 h 1310182"/>
                <a:gd name="connsiteX38" fmla="*/ 107479 w 1393484"/>
                <a:gd name="connsiteY38" fmla="*/ 981315 h 1310182"/>
                <a:gd name="connsiteX39" fmla="*/ 322 w 1393484"/>
                <a:gd name="connsiteY39" fmla="*/ 907496 h 1310182"/>
                <a:gd name="connsiteX0" fmla="*/ 17 w 1393179"/>
                <a:gd name="connsiteY0" fmla="*/ 907496 h 1310182"/>
                <a:gd name="connsiteX1" fmla="*/ 42880 w 1393179"/>
                <a:gd name="connsiteY1" fmla="*/ 769384 h 1310182"/>
                <a:gd name="connsiteX2" fmla="*/ 116698 w 1393179"/>
                <a:gd name="connsiteY2" fmla="*/ 607458 h 1310182"/>
                <a:gd name="connsiteX3" fmla="*/ 235761 w 1393179"/>
                <a:gd name="connsiteY3" fmla="*/ 407434 h 1310182"/>
                <a:gd name="connsiteX4" fmla="*/ 338155 w 1393179"/>
                <a:gd name="connsiteY4" fmla="*/ 264558 h 1310182"/>
                <a:gd name="connsiteX5" fmla="*/ 442930 w 1393179"/>
                <a:gd name="connsiteY5" fmla="*/ 143115 h 1310182"/>
                <a:gd name="connsiteX6" fmla="*/ 542942 w 1393179"/>
                <a:gd name="connsiteY6" fmla="*/ 43103 h 1310182"/>
                <a:gd name="connsiteX7" fmla="*/ 600092 w 1393179"/>
                <a:gd name="connsiteY7" fmla="*/ 240 h 1310182"/>
                <a:gd name="connsiteX8" fmla="*/ 702487 w 1393179"/>
                <a:gd name="connsiteY8" fmla="*/ 59771 h 1310182"/>
                <a:gd name="connsiteX9" fmla="*/ 826311 w 1393179"/>
                <a:gd name="connsiteY9" fmla="*/ 152641 h 1310182"/>
                <a:gd name="connsiteX10" fmla="*/ 923941 w 1393179"/>
                <a:gd name="connsiteY10" fmla="*/ 233603 h 1310182"/>
                <a:gd name="connsiteX11" fmla="*/ 1047767 w 1393179"/>
                <a:gd name="connsiteY11" fmla="*/ 345522 h 1310182"/>
                <a:gd name="connsiteX12" fmla="*/ 1162067 w 1393179"/>
                <a:gd name="connsiteY12" fmla="*/ 457440 h 1310182"/>
                <a:gd name="connsiteX13" fmla="*/ 1235885 w 1393179"/>
                <a:gd name="connsiteY13" fmla="*/ 536021 h 1310182"/>
                <a:gd name="connsiteX14" fmla="*/ 1352567 w 1393179"/>
                <a:gd name="connsiteY14" fmla="*/ 700328 h 1310182"/>
                <a:gd name="connsiteX15" fmla="*/ 1152542 w 1393179"/>
                <a:gd name="connsiteY15" fmla="*/ 557453 h 1310182"/>
                <a:gd name="connsiteX16" fmla="*/ 1057292 w 1393179"/>
                <a:gd name="connsiteY16" fmla="*/ 676515 h 1310182"/>
                <a:gd name="connsiteX17" fmla="*/ 1171592 w 1393179"/>
                <a:gd name="connsiteY17" fmla="*/ 681278 h 1310182"/>
                <a:gd name="connsiteX18" fmla="*/ 1295417 w 1393179"/>
                <a:gd name="connsiteY18" fmla="*/ 738428 h 1310182"/>
                <a:gd name="connsiteX19" fmla="*/ 1359711 w 1393179"/>
                <a:gd name="connsiteY19" fmla="*/ 781290 h 1310182"/>
                <a:gd name="connsiteX20" fmla="*/ 1393048 w 1393179"/>
                <a:gd name="connsiteY20" fmla="*/ 840821 h 1310182"/>
                <a:gd name="connsiteX21" fmla="*/ 1366855 w 1393179"/>
                <a:gd name="connsiteY21" fmla="*/ 817009 h 1310182"/>
                <a:gd name="connsiteX22" fmla="*/ 1269223 w 1393179"/>
                <a:gd name="connsiteY22" fmla="*/ 924165 h 1310182"/>
                <a:gd name="connsiteX23" fmla="*/ 1212073 w 1393179"/>
                <a:gd name="connsiteY23" fmla="*/ 1057515 h 1310182"/>
                <a:gd name="connsiteX24" fmla="*/ 1150161 w 1393179"/>
                <a:gd name="connsiteY24" fmla="*/ 1128953 h 1310182"/>
                <a:gd name="connsiteX25" fmla="*/ 1081105 w 1393179"/>
                <a:gd name="connsiteY25" fmla="*/ 1183721 h 1310182"/>
                <a:gd name="connsiteX26" fmla="*/ 1035861 w 1393179"/>
                <a:gd name="connsiteY26" fmla="*/ 1257540 h 1310182"/>
                <a:gd name="connsiteX27" fmla="*/ 1014430 w 1393179"/>
                <a:gd name="connsiteY27" fmla="*/ 1309928 h 1310182"/>
                <a:gd name="connsiteX28" fmla="*/ 919180 w 1393179"/>
                <a:gd name="connsiteY28" fmla="*/ 1236109 h 1310182"/>
                <a:gd name="connsiteX29" fmla="*/ 859648 w 1393179"/>
                <a:gd name="connsiteY29" fmla="*/ 1140859 h 1310182"/>
                <a:gd name="connsiteX30" fmla="*/ 831073 w 1393179"/>
                <a:gd name="connsiteY30" fmla="*/ 1076565 h 1310182"/>
                <a:gd name="connsiteX31" fmla="*/ 792973 w 1393179"/>
                <a:gd name="connsiteY31" fmla="*/ 1057515 h 1310182"/>
                <a:gd name="connsiteX32" fmla="*/ 745348 w 1393179"/>
                <a:gd name="connsiteY32" fmla="*/ 1093234 h 1310182"/>
                <a:gd name="connsiteX33" fmla="*/ 702486 w 1393179"/>
                <a:gd name="connsiteY33" fmla="*/ 1233728 h 1310182"/>
                <a:gd name="connsiteX34" fmla="*/ 666767 w 1393179"/>
                <a:gd name="connsiteY34" fmla="*/ 1252777 h 1310182"/>
                <a:gd name="connsiteX35" fmla="*/ 573898 w 1393179"/>
                <a:gd name="connsiteY35" fmla="*/ 1219440 h 1310182"/>
                <a:gd name="connsiteX36" fmla="*/ 402448 w 1393179"/>
                <a:gd name="connsiteY36" fmla="*/ 1143240 h 1310182"/>
                <a:gd name="connsiteX37" fmla="*/ 273861 w 1393179"/>
                <a:gd name="connsiteY37" fmla="*/ 1078947 h 1310182"/>
                <a:gd name="connsiteX38" fmla="*/ 107174 w 1393179"/>
                <a:gd name="connsiteY38" fmla="*/ 981315 h 1310182"/>
                <a:gd name="connsiteX39" fmla="*/ 17 w 1393179"/>
                <a:gd name="connsiteY39" fmla="*/ 907496 h 1310182"/>
                <a:gd name="connsiteX0" fmla="*/ 2274 w 1395436"/>
                <a:gd name="connsiteY0" fmla="*/ 907496 h 1310182"/>
                <a:gd name="connsiteX1" fmla="*/ 45137 w 1395436"/>
                <a:gd name="connsiteY1" fmla="*/ 769384 h 1310182"/>
                <a:gd name="connsiteX2" fmla="*/ 118955 w 1395436"/>
                <a:gd name="connsiteY2" fmla="*/ 607458 h 1310182"/>
                <a:gd name="connsiteX3" fmla="*/ 238018 w 1395436"/>
                <a:gd name="connsiteY3" fmla="*/ 407434 h 1310182"/>
                <a:gd name="connsiteX4" fmla="*/ 340412 w 1395436"/>
                <a:gd name="connsiteY4" fmla="*/ 264558 h 1310182"/>
                <a:gd name="connsiteX5" fmla="*/ 445187 w 1395436"/>
                <a:gd name="connsiteY5" fmla="*/ 143115 h 1310182"/>
                <a:gd name="connsiteX6" fmla="*/ 545199 w 1395436"/>
                <a:gd name="connsiteY6" fmla="*/ 43103 h 1310182"/>
                <a:gd name="connsiteX7" fmla="*/ 602349 w 1395436"/>
                <a:gd name="connsiteY7" fmla="*/ 240 h 1310182"/>
                <a:gd name="connsiteX8" fmla="*/ 704744 w 1395436"/>
                <a:gd name="connsiteY8" fmla="*/ 59771 h 1310182"/>
                <a:gd name="connsiteX9" fmla="*/ 828568 w 1395436"/>
                <a:gd name="connsiteY9" fmla="*/ 152641 h 1310182"/>
                <a:gd name="connsiteX10" fmla="*/ 926198 w 1395436"/>
                <a:gd name="connsiteY10" fmla="*/ 233603 h 1310182"/>
                <a:gd name="connsiteX11" fmla="*/ 1050024 w 1395436"/>
                <a:gd name="connsiteY11" fmla="*/ 345522 h 1310182"/>
                <a:gd name="connsiteX12" fmla="*/ 1164324 w 1395436"/>
                <a:gd name="connsiteY12" fmla="*/ 457440 h 1310182"/>
                <a:gd name="connsiteX13" fmla="*/ 1238142 w 1395436"/>
                <a:gd name="connsiteY13" fmla="*/ 536021 h 1310182"/>
                <a:gd name="connsiteX14" fmla="*/ 1354824 w 1395436"/>
                <a:gd name="connsiteY14" fmla="*/ 700328 h 1310182"/>
                <a:gd name="connsiteX15" fmla="*/ 1154799 w 1395436"/>
                <a:gd name="connsiteY15" fmla="*/ 557453 h 1310182"/>
                <a:gd name="connsiteX16" fmla="*/ 1059549 w 1395436"/>
                <a:gd name="connsiteY16" fmla="*/ 676515 h 1310182"/>
                <a:gd name="connsiteX17" fmla="*/ 1173849 w 1395436"/>
                <a:gd name="connsiteY17" fmla="*/ 681278 h 1310182"/>
                <a:gd name="connsiteX18" fmla="*/ 1297674 w 1395436"/>
                <a:gd name="connsiteY18" fmla="*/ 738428 h 1310182"/>
                <a:gd name="connsiteX19" fmla="*/ 1361968 w 1395436"/>
                <a:gd name="connsiteY19" fmla="*/ 781290 h 1310182"/>
                <a:gd name="connsiteX20" fmla="*/ 1395305 w 1395436"/>
                <a:gd name="connsiteY20" fmla="*/ 840821 h 1310182"/>
                <a:gd name="connsiteX21" fmla="*/ 1369112 w 1395436"/>
                <a:gd name="connsiteY21" fmla="*/ 817009 h 1310182"/>
                <a:gd name="connsiteX22" fmla="*/ 1271480 w 1395436"/>
                <a:gd name="connsiteY22" fmla="*/ 924165 h 1310182"/>
                <a:gd name="connsiteX23" fmla="*/ 1214330 w 1395436"/>
                <a:gd name="connsiteY23" fmla="*/ 1057515 h 1310182"/>
                <a:gd name="connsiteX24" fmla="*/ 1152418 w 1395436"/>
                <a:gd name="connsiteY24" fmla="*/ 1128953 h 1310182"/>
                <a:gd name="connsiteX25" fmla="*/ 1083362 w 1395436"/>
                <a:gd name="connsiteY25" fmla="*/ 1183721 h 1310182"/>
                <a:gd name="connsiteX26" fmla="*/ 1038118 w 1395436"/>
                <a:gd name="connsiteY26" fmla="*/ 1257540 h 1310182"/>
                <a:gd name="connsiteX27" fmla="*/ 1016687 w 1395436"/>
                <a:gd name="connsiteY27" fmla="*/ 1309928 h 1310182"/>
                <a:gd name="connsiteX28" fmla="*/ 921437 w 1395436"/>
                <a:gd name="connsiteY28" fmla="*/ 1236109 h 1310182"/>
                <a:gd name="connsiteX29" fmla="*/ 861905 w 1395436"/>
                <a:gd name="connsiteY29" fmla="*/ 1140859 h 1310182"/>
                <a:gd name="connsiteX30" fmla="*/ 833330 w 1395436"/>
                <a:gd name="connsiteY30" fmla="*/ 1076565 h 1310182"/>
                <a:gd name="connsiteX31" fmla="*/ 795230 w 1395436"/>
                <a:gd name="connsiteY31" fmla="*/ 1057515 h 1310182"/>
                <a:gd name="connsiteX32" fmla="*/ 747605 w 1395436"/>
                <a:gd name="connsiteY32" fmla="*/ 1093234 h 1310182"/>
                <a:gd name="connsiteX33" fmla="*/ 704743 w 1395436"/>
                <a:gd name="connsiteY33" fmla="*/ 1233728 h 1310182"/>
                <a:gd name="connsiteX34" fmla="*/ 669024 w 1395436"/>
                <a:gd name="connsiteY34" fmla="*/ 1252777 h 1310182"/>
                <a:gd name="connsiteX35" fmla="*/ 576155 w 1395436"/>
                <a:gd name="connsiteY35" fmla="*/ 1219440 h 1310182"/>
                <a:gd name="connsiteX36" fmla="*/ 404705 w 1395436"/>
                <a:gd name="connsiteY36" fmla="*/ 1143240 h 1310182"/>
                <a:gd name="connsiteX37" fmla="*/ 276118 w 1395436"/>
                <a:gd name="connsiteY37" fmla="*/ 1078947 h 1310182"/>
                <a:gd name="connsiteX38" fmla="*/ 114193 w 1395436"/>
                <a:gd name="connsiteY38" fmla="*/ 988459 h 1310182"/>
                <a:gd name="connsiteX39" fmla="*/ 2274 w 1395436"/>
                <a:gd name="connsiteY39" fmla="*/ 907496 h 1310182"/>
                <a:gd name="connsiteX0" fmla="*/ 2274 w 1395436"/>
                <a:gd name="connsiteY0" fmla="*/ 907496 h 1310182"/>
                <a:gd name="connsiteX1" fmla="*/ 45137 w 1395436"/>
                <a:gd name="connsiteY1" fmla="*/ 769384 h 1310182"/>
                <a:gd name="connsiteX2" fmla="*/ 118955 w 1395436"/>
                <a:gd name="connsiteY2" fmla="*/ 607458 h 1310182"/>
                <a:gd name="connsiteX3" fmla="*/ 238018 w 1395436"/>
                <a:gd name="connsiteY3" fmla="*/ 407434 h 1310182"/>
                <a:gd name="connsiteX4" fmla="*/ 340412 w 1395436"/>
                <a:gd name="connsiteY4" fmla="*/ 264558 h 1310182"/>
                <a:gd name="connsiteX5" fmla="*/ 445187 w 1395436"/>
                <a:gd name="connsiteY5" fmla="*/ 143115 h 1310182"/>
                <a:gd name="connsiteX6" fmla="*/ 545199 w 1395436"/>
                <a:gd name="connsiteY6" fmla="*/ 43103 h 1310182"/>
                <a:gd name="connsiteX7" fmla="*/ 602349 w 1395436"/>
                <a:gd name="connsiteY7" fmla="*/ 240 h 1310182"/>
                <a:gd name="connsiteX8" fmla="*/ 704744 w 1395436"/>
                <a:gd name="connsiteY8" fmla="*/ 59771 h 1310182"/>
                <a:gd name="connsiteX9" fmla="*/ 828568 w 1395436"/>
                <a:gd name="connsiteY9" fmla="*/ 152641 h 1310182"/>
                <a:gd name="connsiteX10" fmla="*/ 926198 w 1395436"/>
                <a:gd name="connsiteY10" fmla="*/ 233603 h 1310182"/>
                <a:gd name="connsiteX11" fmla="*/ 1050024 w 1395436"/>
                <a:gd name="connsiteY11" fmla="*/ 345522 h 1310182"/>
                <a:gd name="connsiteX12" fmla="*/ 1164324 w 1395436"/>
                <a:gd name="connsiteY12" fmla="*/ 457440 h 1310182"/>
                <a:gd name="connsiteX13" fmla="*/ 1238142 w 1395436"/>
                <a:gd name="connsiteY13" fmla="*/ 536021 h 1310182"/>
                <a:gd name="connsiteX14" fmla="*/ 1354824 w 1395436"/>
                <a:gd name="connsiteY14" fmla="*/ 700328 h 1310182"/>
                <a:gd name="connsiteX15" fmla="*/ 1154799 w 1395436"/>
                <a:gd name="connsiteY15" fmla="*/ 557453 h 1310182"/>
                <a:gd name="connsiteX16" fmla="*/ 1059549 w 1395436"/>
                <a:gd name="connsiteY16" fmla="*/ 676515 h 1310182"/>
                <a:gd name="connsiteX17" fmla="*/ 1173849 w 1395436"/>
                <a:gd name="connsiteY17" fmla="*/ 681278 h 1310182"/>
                <a:gd name="connsiteX18" fmla="*/ 1297674 w 1395436"/>
                <a:gd name="connsiteY18" fmla="*/ 738428 h 1310182"/>
                <a:gd name="connsiteX19" fmla="*/ 1361968 w 1395436"/>
                <a:gd name="connsiteY19" fmla="*/ 781290 h 1310182"/>
                <a:gd name="connsiteX20" fmla="*/ 1395305 w 1395436"/>
                <a:gd name="connsiteY20" fmla="*/ 840821 h 1310182"/>
                <a:gd name="connsiteX21" fmla="*/ 1369112 w 1395436"/>
                <a:gd name="connsiteY21" fmla="*/ 817009 h 1310182"/>
                <a:gd name="connsiteX22" fmla="*/ 1271480 w 1395436"/>
                <a:gd name="connsiteY22" fmla="*/ 924165 h 1310182"/>
                <a:gd name="connsiteX23" fmla="*/ 1214330 w 1395436"/>
                <a:gd name="connsiteY23" fmla="*/ 1057515 h 1310182"/>
                <a:gd name="connsiteX24" fmla="*/ 1152418 w 1395436"/>
                <a:gd name="connsiteY24" fmla="*/ 1128953 h 1310182"/>
                <a:gd name="connsiteX25" fmla="*/ 1083362 w 1395436"/>
                <a:gd name="connsiteY25" fmla="*/ 1183721 h 1310182"/>
                <a:gd name="connsiteX26" fmla="*/ 1038118 w 1395436"/>
                <a:gd name="connsiteY26" fmla="*/ 1257540 h 1310182"/>
                <a:gd name="connsiteX27" fmla="*/ 1016687 w 1395436"/>
                <a:gd name="connsiteY27" fmla="*/ 1309928 h 1310182"/>
                <a:gd name="connsiteX28" fmla="*/ 921437 w 1395436"/>
                <a:gd name="connsiteY28" fmla="*/ 1236109 h 1310182"/>
                <a:gd name="connsiteX29" fmla="*/ 861905 w 1395436"/>
                <a:gd name="connsiteY29" fmla="*/ 1140859 h 1310182"/>
                <a:gd name="connsiteX30" fmla="*/ 833330 w 1395436"/>
                <a:gd name="connsiteY30" fmla="*/ 1076565 h 1310182"/>
                <a:gd name="connsiteX31" fmla="*/ 795230 w 1395436"/>
                <a:gd name="connsiteY31" fmla="*/ 1057515 h 1310182"/>
                <a:gd name="connsiteX32" fmla="*/ 766655 w 1395436"/>
                <a:gd name="connsiteY32" fmla="*/ 1259921 h 1310182"/>
                <a:gd name="connsiteX33" fmla="*/ 704743 w 1395436"/>
                <a:gd name="connsiteY33" fmla="*/ 1233728 h 1310182"/>
                <a:gd name="connsiteX34" fmla="*/ 669024 w 1395436"/>
                <a:gd name="connsiteY34" fmla="*/ 1252777 h 1310182"/>
                <a:gd name="connsiteX35" fmla="*/ 576155 w 1395436"/>
                <a:gd name="connsiteY35" fmla="*/ 1219440 h 1310182"/>
                <a:gd name="connsiteX36" fmla="*/ 404705 w 1395436"/>
                <a:gd name="connsiteY36" fmla="*/ 1143240 h 1310182"/>
                <a:gd name="connsiteX37" fmla="*/ 276118 w 1395436"/>
                <a:gd name="connsiteY37" fmla="*/ 1078947 h 1310182"/>
                <a:gd name="connsiteX38" fmla="*/ 114193 w 1395436"/>
                <a:gd name="connsiteY38" fmla="*/ 988459 h 1310182"/>
                <a:gd name="connsiteX39" fmla="*/ 2274 w 1395436"/>
                <a:gd name="connsiteY39" fmla="*/ 907496 h 1310182"/>
                <a:gd name="connsiteX0" fmla="*/ 2274 w 1395436"/>
                <a:gd name="connsiteY0" fmla="*/ 907496 h 1310182"/>
                <a:gd name="connsiteX1" fmla="*/ 45137 w 1395436"/>
                <a:gd name="connsiteY1" fmla="*/ 769384 h 1310182"/>
                <a:gd name="connsiteX2" fmla="*/ 118955 w 1395436"/>
                <a:gd name="connsiteY2" fmla="*/ 607458 h 1310182"/>
                <a:gd name="connsiteX3" fmla="*/ 238018 w 1395436"/>
                <a:gd name="connsiteY3" fmla="*/ 407434 h 1310182"/>
                <a:gd name="connsiteX4" fmla="*/ 340412 w 1395436"/>
                <a:gd name="connsiteY4" fmla="*/ 264558 h 1310182"/>
                <a:gd name="connsiteX5" fmla="*/ 445187 w 1395436"/>
                <a:gd name="connsiteY5" fmla="*/ 143115 h 1310182"/>
                <a:gd name="connsiteX6" fmla="*/ 545199 w 1395436"/>
                <a:gd name="connsiteY6" fmla="*/ 43103 h 1310182"/>
                <a:gd name="connsiteX7" fmla="*/ 602349 w 1395436"/>
                <a:gd name="connsiteY7" fmla="*/ 240 h 1310182"/>
                <a:gd name="connsiteX8" fmla="*/ 704744 w 1395436"/>
                <a:gd name="connsiteY8" fmla="*/ 59771 h 1310182"/>
                <a:gd name="connsiteX9" fmla="*/ 828568 w 1395436"/>
                <a:gd name="connsiteY9" fmla="*/ 152641 h 1310182"/>
                <a:gd name="connsiteX10" fmla="*/ 926198 w 1395436"/>
                <a:gd name="connsiteY10" fmla="*/ 233603 h 1310182"/>
                <a:gd name="connsiteX11" fmla="*/ 1050024 w 1395436"/>
                <a:gd name="connsiteY11" fmla="*/ 345522 h 1310182"/>
                <a:gd name="connsiteX12" fmla="*/ 1164324 w 1395436"/>
                <a:gd name="connsiteY12" fmla="*/ 457440 h 1310182"/>
                <a:gd name="connsiteX13" fmla="*/ 1238142 w 1395436"/>
                <a:gd name="connsiteY13" fmla="*/ 536021 h 1310182"/>
                <a:gd name="connsiteX14" fmla="*/ 1354824 w 1395436"/>
                <a:gd name="connsiteY14" fmla="*/ 700328 h 1310182"/>
                <a:gd name="connsiteX15" fmla="*/ 1154799 w 1395436"/>
                <a:gd name="connsiteY15" fmla="*/ 557453 h 1310182"/>
                <a:gd name="connsiteX16" fmla="*/ 1059549 w 1395436"/>
                <a:gd name="connsiteY16" fmla="*/ 676515 h 1310182"/>
                <a:gd name="connsiteX17" fmla="*/ 1173849 w 1395436"/>
                <a:gd name="connsiteY17" fmla="*/ 681278 h 1310182"/>
                <a:gd name="connsiteX18" fmla="*/ 1297674 w 1395436"/>
                <a:gd name="connsiteY18" fmla="*/ 738428 h 1310182"/>
                <a:gd name="connsiteX19" fmla="*/ 1361968 w 1395436"/>
                <a:gd name="connsiteY19" fmla="*/ 781290 h 1310182"/>
                <a:gd name="connsiteX20" fmla="*/ 1395305 w 1395436"/>
                <a:gd name="connsiteY20" fmla="*/ 840821 h 1310182"/>
                <a:gd name="connsiteX21" fmla="*/ 1369112 w 1395436"/>
                <a:gd name="connsiteY21" fmla="*/ 817009 h 1310182"/>
                <a:gd name="connsiteX22" fmla="*/ 1271480 w 1395436"/>
                <a:gd name="connsiteY22" fmla="*/ 924165 h 1310182"/>
                <a:gd name="connsiteX23" fmla="*/ 1214330 w 1395436"/>
                <a:gd name="connsiteY23" fmla="*/ 1057515 h 1310182"/>
                <a:gd name="connsiteX24" fmla="*/ 1152418 w 1395436"/>
                <a:gd name="connsiteY24" fmla="*/ 1128953 h 1310182"/>
                <a:gd name="connsiteX25" fmla="*/ 1083362 w 1395436"/>
                <a:gd name="connsiteY25" fmla="*/ 1183721 h 1310182"/>
                <a:gd name="connsiteX26" fmla="*/ 1038118 w 1395436"/>
                <a:gd name="connsiteY26" fmla="*/ 1257540 h 1310182"/>
                <a:gd name="connsiteX27" fmla="*/ 1016687 w 1395436"/>
                <a:gd name="connsiteY27" fmla="*/ 1309928 h 1310182"/>
                <a:gd name="connsiteX28" fmla="*/ 921437 w 1395436"/>
                <a:gd name="connsiteY28" fmla="*/ 1236109 h 1310182"/>
                <a:gd name="connsiteX29" fmla="*/ 861905 w 1395436"/>
                <a:gd name="connsiteY29" fmla="*/ 1140859 h 1310182"/>
                <a:gd name="connsiteX30" fmla="*/ 833330 w 1395436"/>
                <a:gd name="connsiteY30" fmla="*/ 1076565 h 1310182"/>
                <a:gd name="connsiteX31" fmla="*/ 795230 w 1395436"/>
                <a:gd name="connsiteY31" fmla="*/ 1057515 h 1310182"/>
                <a:gd name="connsiteX32" fmla="*/ 766655 w 1395436"/>
                <a:gd name="connsiteY32" fmla="*/ 1259921 h 1310182"/>
                <a:gd name="connsiteX33" fmla="*/ 704743 w 1395436"/>
                <a:gd name="connsiteY33" fmla="*/ 1264684 h 1310182"/>
                <a:gd name="connsiteX34" fmla="*/ 669024 w 1395436"/>
                <a:gd name="connsiteY34" fmla="*/ 1252777 h 1310182"/>
                <a:gd name="connsiteX35" fmla="*/ 576155 w 1395436"/>
                <a:gd name="connsiteY35" fmla="*/ 1219440 h 1310182"/>
                <a:gd name="connsiteX36" fmla="*/ 404705 w 1395436"/>
                <a:gd name="connsiteY36" fmla="*/ 1143240 h 1310182"/>
                <a:gd name="connsiteX37" fmla="*/ 276118 w 1395436"/>
                <a:gd name="connsiteY37" fmla="*/ 1078947 h 1310182"/>
                <a:gd name="connsiteX38" fmla="*/ 114193 w 1395436"/>
                <a:gd name="connsiteY38" fmla="*/ 988459 h 1310182"/>
                <a:gd name="connsiteX39" fmla="*/ 2274 w 1395436"/>
                <a:gd name="connsiteY39" fmla="*/ 907496 h 1310182"/>
                <a:gd name="connsiteX0" fmla="*/ 2274 w 1395436"/>
                <a:gd name="connsiteY0" fmla="*/ 907496 h 1310182"/>
                <a:gd name="connsiteX1" fmla="*/ 45137 w 1395436"/>
                <a:gd name="connsiteY1" fmla="*/ 769384 h 1310182"/>
                <a:gd name="connsiteX2" fmla="*/ 118955 w 1395436"/>
                <a:gd name="connsiteY2" fmla="*/ 607458 h 1310182"/>
                <a:gd name="connsiteX3" fmla="*/ 238018 w 1395436"/>
                <a:gd name="connsiteY3" fmla="*/ 407434 h 1310182"/>
                <a:gd name="connsiteX4" fmla="*/ 340412 w 1395436"/>
                <a:gd name="connsiteY4" fmla="*/ 264558 h 1310182"/>
                <a:gd name="connsiteX5" fmla="*/ 445187 w 1395436"/>
                <a:gd name="connsiteY5" fmla="*/ 143115 h 1310182"/>
                <a:gd name="connsiteX6" fmla="*/ 545199 w 1395436"/>
                <a:gd name="connsiteY6" fmla="*/ 43103 h 1310182"/>
                <a:gd name="connsiteX7" fmla="*/ 602349 w 1395436"/>
                <a:gd name="connsiteY7" fmla="*/ 240 h 1310182"/>
                <a:gd name="connsiteX8" fmla="*/ 704744 w 1395436"/>
                <a:gd name="connsiteY8" fmla="*/ 59771 h 1310182"/>
                <a:gd name="connsiteX9" fmla="*/ 828568 w 1395436"/>
                <a:gd name="connsiteY9" fmla="*/ 152641 h 1310182"/>
                <a:gd name="connsiteX10" fmla="*/ 926198 w 1395436"/>
                <a:gd name="connsiteY10" fmla="*/ 233603 h 1310182"/>
                <a:gd name="connsiteX11" fmla="*/ 1050024 w 1395436"/>
                <a:gd name="connsiteY11" fmla="*/ 345522 h 1310182"/>
                <a:gd name="connsiteX12" fmla="*/ 1164324 w 1395436"/>
                <a:gd name="connsiteY12" fmla="*/ 457440 h 1310182"/>
                <a:gd name="connsiteX13" fmla="*/ 1238142 w 1395436"/>
                <a:gd name="connsiteY13" fmla="*/ 536021 h 1310182"/>
                <a:gd name="connsiteX14" fmla="*/ 1354824 w 1395436"/>
                <a:gd name="connsiteY14" fmla="*/ 700328 h 1310182"/>
                <a:gd name="connsiteX15" fmla="*/ 1154799 w 1395436"/>
                <a:gd name="connsiteY15" fmla="*/ 557453 h 1310182"/>
                <a:gd name="connsiteX16" fmla="*/ 1059549 w 1395436"/>
                <a:gd name="connsiteY16" fmla="*/ 676515 h 1310182"/>
                <a:gd name="connsiteX17" fmla="*/ 1173849 w 1395436"/>
                <a:gd name="connsiteY17" fmla="*/ 681278 h 1310182"/>
                <a:gd name="connsiteX18" fmla="*/ 1297674 w 1395436"/>
                <a:gd name="connsiteY18" fmla="*/ 738428 h 1310182"/>
                <a:gd name="connsiteX19" fmla="*/ 1361968 w 1395436"/>
                <a:gd name="connsiteY19" fmla="*/ 781290 h 1310182"/>
                <a:gd name="connsiteX20" fmla="*/ 1395305 w 1395436"/>
                <a:gd name="connsiteY20" fmla="*/ 840821 h 1310182"/>
                <a:gd name="connsiteX21" fmla="*/ 1369112 w 1395436"/>
                <a:gd name="connsiteY21" fmla="*/ 817009 h 1310182"/>
                <a:gd name="connsiteX22" fmla="*/ 1271480 w 1395436"/>
                <a:gd name="connsiteY22" fmla="*/ 924165 h 1310182"/>
                <a:gd name="connsiteX23" fmla="*/ 1214330 w 1395436"/>
                <a:gd name="connsiteY23" fmla="*/ 1057515 h 1310182"/>
                <a:gd name="connsiteX24" fmla="*/ 1152418 w 1395436"/>
                <a:gd name="connsiteY24" fmla="*/ 1128953 h 1310182"/>
                <a:gd name="connsiteX25" fmla="*/ 1083362 w 1395436"/>
                <a:gd name="connsiteY25" fmla="*/ 1183721 h 1310182"/>
                <a:gd name="connsiteX26" fmla="*/ 1038118 w 1395436"/>
                <a:gd name="connsiteY26" fmla="*/ 1257540 h 1310182"/>
                <a:gd name="connsiteX27" fmla="*/ 1016687 w 1395436"/>
                <a:gd name="connsiteY27" fmla="*/ 1309928 h 1310182"/>
                <a:gd name="connsiteX28" fmla="*/ 921437 w 1395436"/>
                <a:gd name="connsiteY28" fmla="*/ 1236109 h 1310182"/>
                <a:gd name="connsiteX29" fmla="*/ 861905 w 1395436"/>
                <a:gd name="connsiteY29" fmla="*/ 1140859 h 1310182"/>
                <a:gd name="connsiteX30" fmla="*/ 833330 w 1395436"/>
                <a:gd name="connsiteY30" fmla="*/ 1076565 h 1310182"/>
                <a:gd name="connsiteX31" fmla="*/ 795230 w 1395436"/>
                <a:gd name="connsiteY31" fmla="*/ 1057515 h 1310182"/>
                <a:gd name="connsiteX32" fmla="*/ 766655 w 1395436"/>
                <a:gd name="connsiteY32" fmla="*/ 1259921 h 1310182"/>
                <a:gd name="connsiteX33" fmla="*/ 704743 w 1395436"/>
                <a:gd name="connsiteY33" fmla="*/ 1264684 h 1310182"/>
                <a:gd name="connsiteX34" fmla="*/ 657118 w 1395436"/>
                <a:gd name="connsiteY34" fmla="*/ 1252777 h 1310182"/>
                <a:gd name="connsiteX35" fmla="*/ 576155 w 1395436"/>
                <a:gd name="connsiteY35" fmla="*/ 1219440 h 1310182"/>
                <a:gd name="connsiteX36" fmla="*/ 404705 w 1395436"/>
                <a:gd name="connsiteY36" fmla="*/ 1143240 h 1310182"/>
                <a:gd name="connsiteX37" fmla="*/ 276118 w 1395436"/>
                <a:gd name="connsiteY37" fmla="*/ 1078947 h 1310182"/>
                <a:gd name="connsiteX38" fmla="*/ 114193 w 1395436"/>
                <a:gd name="connsiteY38" fmla="*/ 988459 h 1310182"/>
                <a:gd name="connsiteX39" fmla="*/ 2274 w 1395436"/>
                <a:gd name="connsiteY39" fmla="*/ 907496 h 1310182"/>
                <a:gd name="connsiteX0" fmla="*/ 2274 w 1395436"/>
                <a:gd name="connsiteY0" fmla="*/ 907496 h 1310182"/>
                <a:gd name="connsiteX1" fmla="*/ 45137 w 1395436"/>
                <a:gd name="connsiteY1" fmla="*/ 769384 h 1310182"/>
                <a:gd name="connsiteX2" fmla="*/ 118955 w 1395436"/>
                <a:gd name="connsiteY2" fmla="*/ 607458 h 1310182"/>
                <a:gd name="connsiteX3" fmla="*/ 238018 w 1395436"/>
                <a:gd name="connsiteY3" fmla="*/ 407434 h 1310182"/>
                <a:gd name="connsiteX4" fmla="*/ 340412 w 1395436"/>
                <a:gd name="connsiteY4" fmla="*/ 264558 h 1310182"/>
                <a:gd name="connsiteX5" fmla="*/ 445187 w 1395436"/>
                <a:gd name="connsiteY5" fmla="*/ 143115 h 1310182"/>
                <a:gd name="connsiteX6" fmla="*/ 545199 w 1395436"/>
                <a:gd name="connsiteY6" fmla="*/ 43103 h 1310182"/>
                <a:gd name="connsiteX7" fmla="*/ 602349 w 1395436"/>
                <a:gd name="connsiteY7" fmla="*/ 240 h 1310182"/>
                <a:gd name="connsiteX8" fmla="*/ 704744 w 1395436"/>
                <a:gd name="connsiteY8" fmla="*/ 59771 h 1310182"/>
                <a:gd name="connsiteX9" fmla="*/ 828568 w 1395436"/>
                <a:gd name="connsiteY9" fmla="*/ 152641 h 1310182"/>
                <a:gd name="connsiteX10" fmla="*/ 926198 w 1395436"/>
                <a:gd name="connsiteY10" fmla="*/ 233603 h 1310182"/>
                <a:gd name="connsiteX11" fmla="*/ 1050024 w 1395436"/>
                <a:gd name="connsiteY11" fmla="*/ 345522 h 1310182"/>
                <a:gd name="connsiteX12" fmla="*/ 1164324 w 1395436"/>
                <a:gd name="connsiteY12" fmla="*/ 457440 h 1310182"/>
                <a:gd name="connsiteX13" fmla="*/ 1238142 w 1395436"/>
                <a:gd name="connsiteY13" fmla="*/ 536021 h 1310182"/>
                <a:gd name="connsiteX14" fmla="*/ 1354824 w 1395436"/>
                <a:gd name="connsiteY14" fmla="*/ 700328 h 1310182"/>
                <a:gd name="connsiteX15" fmla="*/ 1154799 w 1395436"/>
                <a:gd name="connsiteY15" fmla="*/ 557453 h 1310182"/>
                <a:gd name="connsiteX16" fmla="*/ 1059549 w 1395436"/>
                <a:gd name="connsiteY16" fmla="*/ 676515 h 1310182"/>
                <a:gd name="connsiteX17" fmla="*/ 1173849 w 1395436"/>
                <a:gd name="connsiteY17" fmla="*/ 681278 h 1310182"/>
                <a:gd name="connsiteX18" fmla="*/ 1297674 w 1395436"/>
                <a:gd name="connsiteY18" fmla="*/ 738428 h 1310182"/>
                <a:gd name="connsiteX19" fmla="*/ 1361968 w 1395436"/>
                <a:gd name="connsiteY19" fmla="*/ 781290 h 1310182"/>
                <a:gd name="connsiteX20" fmla="*/ 1395305 w 1395436"/>
                <a:gd name="connsiteY20" fmla="*/ 840821 h 1310182"/>
                <a:gd name="connsiteX21" fmla="*/ 1369112 w 1395436"/>
                <a:gd name="connsiteY21" fmla="*/ 817009 h 1310182"/>
                <a:gd name="connsiteX22" fmla="*/ 1271480 w 1395436"/>
                <a:gd name="connsiteY22" fmla="*/ 924165 h 1310182"/>
                <a:gd name="connsiteX23" fmla="*/ 1214330 w 1395436"/>
                <a:gd name="connsiteY23" fmla="*/ 1057515 h 1310182"/>
                <a:gd name="connsiteX24" fmla="*/ 1152418 w 1395436"/>
                <a:gd name="connsiteY24" fmla="*/ 1128953 h 1310182"/>
                <a:gd name="connsiteX25" fmla="*/ 1083362 w 1395436"/>
                <a:gd name="connsiteY25" fmla="*/ 1183721 h 1310182"/>
                <a:gd name="connsiteX26" fmla="*/ 1038118 w 1395436"/>
                <a:gd name="connsiteY26" fmla="*/ 1257540 h 1310182"/>
                <a:gd name="connsiteX27" fmla="*/ 1016687 w 1395436"/>
                <a:gd name="connsiteY27" fmla="*/ 1309928 h 1310182"/>
                <a:gd name="connsiteX28" fmla="*/ 921437 w 1395436"/>
                <a:gd name="connsiteY28" fmla="*/ 1236109 h 1310182"/>
                <a:gd name="connsiteX29" fmla="*/ 861905 w 1395436"/>
                <a:gd name="connsiteY29" fmla="*/ 1140859 h 1310182"/>
                <a:gd name="connsiteX30" fmla="*/ 833330 w 1395436"/>
                <a:gd name="connsiteY30" fmla="*/ 1076565 h 1310182"/>
                <a:gd name="connsiteX31" fmla="*/ 795230 w 1395436"/>
                <a:gd name="connsiteY31" fmla="*/ 1057515 h 1310182"/>
                <a:gd name="connsiteX32" fmla="*/ 766655 w 1395436"/>
                <a:gd name="connsiteY32" fmla="*/ 1259921 h 1310182"/>
                <a:gd name="connsiteX33" fmla="*/ 709506 w 1395436"/>
                <a:gd name="connsiteY33" fmla="*/ 1274209 h 1310182"/>
                <a:gd name="connsiteX34" fmla="*/ 657118 w 1395436"/>
                <a:gd name="connsiteY34" fmla="*/ 1252777 h 1310182"/>
                <a:gd name="connsiteX35" fmla="*/ 576155 w 1395436"/>
                <a:gd name="connsiteY35" fmla="*/ 1219440 h 1310182"/>
                <a:gd name="connsiteX36" fmla="*/ 404705 w 1395436"/>
                <a:gd name="connsiteY36" fmla="*/ 1143240 h 1310182"/>
                <a:gd name="connsiteX37" fmla="*/ 276118 w 1395436"/>
                <a:gd name="connsiteY37" fmla="*/ 1078947 h 1310182"/>
                <a:gd name="connsiteX38" fmla="*/ 114193 w 1395436"/>
                <a:gd name="connsiteY38" fmla="*/ 988459 h 1310182"/>
                <a:gd name="connsiteX39" fmla="*/ 2274 w 1395436"/>
                <a:gd name="connsiteY39" fmla="*/ 907496 h 1310182"/>
                <a:gd name="connsiteX0" fmla="*/ 2274 w 1395436"/>
                <a:gd name="connsiteY0" fmla="*/ 907496 h 1310182"/>
                <a:gd name="connsiteX1" fmla="*/ 45137 w 1395436"/>
                <a:gd name="connsiteY1" fmla="*/ 769384 h 1310182"/>
                <a:gd name="connsiteX2" fmla="*/ 118955 w 1395436"/>
                <a:gd name="connsiteY2" fmla="*/ 607458 h 1310182"/>
                <a:gd name="connsiteX3" fmla="*/ 238018 w 1395436"/>
                <a:gd name="connsiteY3" fmla="*/ 407434 h 1310182"/>
                <a:gd name="connsiteX4" fmla="*/ 340412 w 1395436"/>
                <a:gd name="connsiteY4" fmla="*/ 264558 h 1310182"/>
                <a:gd name="connsiteX5" fmla="*/ 445187 w 1395436"/>
                <a:gd name="connsiteY5" fmla="*/ 143115 h 1310182"/>
                <a:gd name="connsiteX6" fmla="*/ 545199 w 1395436"/>
                <a:gd name="connsiteY6" fmla="*/ 43103 h 1310182"/>
                <a:gd name="connsiteX7" fmla="*/ 602349 w 1395436"/>
                <a:gd name="connsiteY7" fmla="*/ 240 h 1310182"/>
                <a:gd name="connsiteX8" fmla="*/ 704744 w 1395436"/>
                <a:gd name="connsiteY8" fmla="*/ 59771 h 1310182"/>
                <a:gd name="connsiteX9" fmla="*/ 828568 w 1395436"/>
                <a:gd name="connsiteY9" fmla="*/ 152641 h 1310182"/>
                <a:gd name="connsiteX10" fmla="*/ 926198 w 1395436"/>
                <a:gd name="connsiteY10" fmla="*/ 233603 h 1310182"/>
                <a:gd name="connsiteX11" fmla="*/ 1050024 w 1395436"/>
                <a:gd name="connsiteY11" fmla="*/ 345522 h 1310182"/>
                <a:gd name="connsiteX12" fmla="*/ 1164324 w 1395436"/>
                <a:gd name="connsiteY12" fmla="*/ 457440 h 1310182"/>
                <a:gd name="connsiteX13" fmla="*/ 1238142 w 1395436"/>
                <a:gd name="connsiteY13" fmla="*/ 536021 h 1310182"/>
                <a:gd name="connsiteX14" fmla="*/ 1354824 w 1395436"/>
                <a:gd name="connsiteY14" fmla="*/ 700328 h 1310182"/>
                <a:gd name="connsiteX15" fmla="*/ 1154799 w 1395436"/>
                <a:gd name="connsiteY15" fmla="*/ 557453 h 1310182"/>
                <a:gd name="connsiteX16" fmla="*/ 1059549 w 1395436"/>
                <a:gd name="connsiteY16" fmla="*/ 676515 h 1310182"/>
                <a:gd name="connsiteX17" fmla="*/ 1173849 w 1395436"/>
                <a:gd name="connsiteY17" fmla="*/ 681278 h 1310182"/>
                <a:gd name="connsiteX18" fmla="*/ 1297674 w 1395436"/>
                <a:gd name="connsiteY18" fmla="*/ 738428 h 1310182"/>
                <a:gd name="connsiteX19" fmla="*/ 1361968 w 1395436"/>
                <a:gd name="connsiteY19" fmla="*/ 781290 h 1310182"/>
                <a:gd name="connsiteX20" fmla="*/ 1395305 w 1395436"/>
                <a:gd name="connsiteY20" fmla="*/ 840821 h 1310182"/>
                <a:gd name="connsiteX21" fmla="*/ 1369112 w 1395436"/>
                <a:gd name="connsiteY21" fmla="*/ 817009 h 1310182"/>
                <a:gd name="connsiteX22" fmla="*/ 1271480 w 1395436"/>
                <a:gd name="connsiteY22" fmla="*/ 924165 h 1310182"/>
                <a:gd name="connsiteX23" fmla="*/ 1214330 w 1395436"/>
                <a:gd name="connsiteY23" fmla="*/ 1057515 h 1310182"/>
                <a:gd name="connsiteX24" fmla="*/ 1152418 w 1395436"/>
                <a:gd name="connsiteY24" fmla="*/ 1128953 h 1310182"/>
                <a:gd name="connsiteX25" fmla="*/ 1083362 w 1395436"/>
                <a:gd name="connsiteY25" fmla="*/ 1183721 h 1310182"/>
                <a:gd name="connsiteX26" fmla="*/ 1038118 w 1395436"/>
                <a:gd name="connsiteY26" fmla="*/ 1257540 h 1310182"/>
                <a:gd name="connsiteX27" fmla="*/ 1016687 w 1395436"/>
                <a:gd name="connsiteY27" fmla="*/ 1309928 h 1310182"/>
                <a:gd name="connsiteX28" fmla="*/ 921437 w 1395436"/>
                <a:gd name="connsiteY28" fmla="*/ 1236109 h 1310182"/>
                <a:gd name="connsiteX29" fmla="*/ 861905 w 1395436"/>
                <a:gd name="connsiteY29" fmla="*/ 1140859 h 1310182"/>
                <a:gd name="connsiteX30" fmla="*/ 833330 w 1395436"/>
                <a:gd name="connsiteY30" fmla="*/ 1076565 h 1310182"/>
                <a:gd name="connsiteX31" fmla="*/ 795230 w 1395436"/>
                <a:gd name="connsiteY31" fmla="*/ 1057515 h 1310182"/>
                <a:gd name="connsiteX32" fmla="*/ 766655 w 1395436"/>
                <a:gd name="connsiteY32" fmla="*/ 1259921 h 1310182"/>
                <a:gd name="connsiteX33" fmla="*/ 709506 w 1395436"/>
                <a:gd name="connsiteY33" fmla="*/ 1274209 h 1310182"/>
                <a:gd name="connsiteX34" fmla="*/ 657118 w 1395436"/>
                <a:gd name="connsiteY34" fmla="*/ 1252777 h 1310182"/>
                <a:gd name="connsiteX35" fmla="*/ 559486 w 1395436"/>
                <a:gd name="connsiteY35" fmla="*/ 1214678 h 1310182"/>
                <a:gd name="connsiteX36" fmla="*/ 404705 w 1395436"/>
                <a:gd name="connsiteY36" fmla="*/ 1143240 h 1310182"/>
                <a:gd name="connsiteX37" fmla="*/ 276118 w 1395436"/>
                <a:gd name="connsiteY37" fmla="*/ 1078947 h 1310182"/>
                <a:gd name="connsiteX38" fmla="*/ 114193 w 1395436"/>
                <a:gd name="connsiteY38" fmla="*/ 988459 h 1310182"/>
                <a:gd name="connsiteX39" fmla="*/ 2274 w 1395436"/>
                <a:gd name="connsiteY39" fmla="*/ 907496 h 1310182"/>
                <a:gd name="connsiteX0" fmla="*/ 2274 w 1395436"/>
                <a:gd name="connsiteY0" fmla="*/ 907496 h 1310182"/>
                <a:gd name="connsiteX1" fmla="*/ 45137 w 1395436"/>
                <a:gd name="connsiteY1" fmla="*/ 769384 h 1310182"/>
                <a:gd name="connsiteX2" fmla="*/ 118955 w 1395436"/>
                <a:gd name="connsiteY2" fmla="*/ 607458 h 1310182"/>
                <a:gd name="connsiteX3" fmla="*/ 238018 w 1395436"/>
                <a:gd name="connsiteY3" fmla="*/ 407434 h 1310182"/>
                <a:gd name="connsiteX4" fmla="*/ 340412 w 1395436"/>
                <a:gd name="connsiteY4" fmla="*/ 264558 h 1310182"/>
                <a:gd name="connsiteX5" fmla="*/ 445187 w 1395436"/>
                <a:gd name="connsiteY5" fmla="*/ 143115 h 1310182"/>
                <a:gd name="connsiteX6" fmla="*/ 545199 w 1395436"/>
                <a:gd name="connsiteY6" fmla="*/ 43103 h 1310182"/>
                <a:gd name="connsiteX7" fmla="*/ 602349 w 1395436"/>
                <a:gd name="connsiteY7" fmla="*/ 240 h 1310182"/>
                <a:gd name="connsiteX8" fmla="*/ 704744 w 1395436"/>
                <a:gd name="connsiteY8" fmla="*/ 59771 h 1310182"/>
                <a:gd name="connsiteX9" fmla="*/ 828568 w 1395436"/>
                <a:gd name="connsiteY9" fmla="*/ 152641 h 1310182"/>
                <a:gd name="connsiteX10" fmla="*/ 926198 w 1395436"/>
                <a:gd name="connsiteY10" fmla="*/ 233603 h 1310182"/>
                <a:gd name="connsiteX11" fmla="*/ 1050024 w 1395436"/>
                <a:gd name="connsiteY11" fmla="*/ 345522 h 1310182"/>
                <a:gd name="connsiteX12" fmla="*/ 1164324 w 1395436"/>
                <a:gd name="connsiteY12" fmla="*/ 457440 h 1310182"/>
                <a:gd name="connsiteX13" fmla="*/ 1238142 w 1395436"/>
                <a:gd name="connsiteY13" fmla="*/ 536021 h 1310182"/>
                <a:gd name="connsiteX14" fmla="*/ 1354824 w 1395436"/>
                <a:gd name="connsiteY14" fmla="*/ 700328 h 1310182"/>
                <a:gd name="connsiteX15" fmla="*/ 1154799 w 1395436"/>
                <a:gd name="connsiteY15" fmla="*/ 557453 h 1310182"/>
                <a:gd name="connsiteX16" fmla="*/ 1059549 w 1395436"/>
                <a:gd name="connsiteY16" fmla="*/ 676515 h 1310182"/>
                <a:gd name="connsiteX17" fmla="*/ 1173849 w 1395436"/>
                <a:gd name="connsiteY17" fmla="*/ 681278 h 1310182"/>
                <a:gd name="connsiteX18" fmla="*/ 1297674 w 1395436"/>
                <a:gd name="connsiteY18" fmla="*/ 738428 h 1310182"/>
                <a:gd name="connsiteX19" fmla="*/ 1361968 w 1395436"/>
                <a:gd name="connsiteY19" fmla="*/ 781290 h 1310182"/>
                <a:gd name="connsiteX20" fmla="*/ 1395305 w 1395436"/>
                <a:gd name="connsiteY20" fmla="*/ 840821 h 1310182"/>
                <a:gd name="connsiteX21" fmla="*/ 1369112 w 1395436"/>
                <a:gd name="connsiteY21" fmla="*/ 817009 h 1310182"/>
                <a:gd name="connsiteX22" fmla="*/ 1271480 w 1395436"/>
                <a:gd name="connsiteY22" fmla="*/ 924165 h 1310182"/>
                <a:gd name="connsiteX23" fmla="*/ 1214330 w 1395436"/>
                <a:gd name="connsiteY23" fmla="*/ 1057515 h 1310182"/>
                <a:gd name="connsiteX24" fmla="*/ 1152418 w 1395436"/>
                <a:gd name="connsiteY24" fmla="*/ 1128953 h 1310182"/>
                <a:gd name="connsiteX25" fmla="*/ 1083362 w 1395436"/>
                <a:gd name="connsiteY25" fmla="*/ 1183721 h 1310182"/>
                <a:gd name="connsiteX26" fmla="*/ 1038118 w 1395436"/>
                <a:gd name="connsiteY26" fmla="*/ 1257540 h 1310182"/>
                <a:gd name="connsiteX27" fmla="*/ 1016687 w 1395436"/>
                <a:gd name="connsiteY27" fmla="*/ 1309928 h 1310182"/>
                <a:gd name="connsiteX28" fmla="*/ 921437 w 1395436"/>
                <a:gd name="connsiteY28" fmla="*/ 1236109 h 1310182"/>
                <a:gd name="connsiteX29" fmla="*/ 861905 w 1395436"/>
                <a:gd name="connsiteY29" fmla="*/ 1140859 h 1310182"/>
                <a:gd name="connsiteX30" fmla="*/ 833330 w 1395436"/>
                <a:gd name="connsiteY30" fmla="*/ 1076565 h 1310182"/>
                <a:gd name="connsiteX31" fmla="*/ 816661 w 1395436"/>
                <a:gd name="connsiteY31" fmla="*/ 1238490 h 1310182"/>
                <a:gd name="connsiteX32" fmla="*/ 766655 w 1395436"/>
                <a:gd name="connsiteY32" fmla="*/ 1259921 h 1310182"/>
                <a:gd name="connsiteX33" fmla="*/ 709506 w 1395436"/>
                <a:gd name="connsiteY33" fmla="*/ 1274209 h 1310182"/>
                <a:gd name="connsiteX34" fmla="*/ 657118 w 1395436"/>
                <a:gd name="connsiteY34" fmla="*/ 1252777 h 1310182"/>
                <a:gd name="connsiteX35" fmla="*/ 559486 w 1395436"/>
                <a:gd name="connsiteY35" fmla="*/ 1214678 h 1310182"/>
                <a:gd name="connsiteX36" fmla="*/ 404705 w 1395436"/>
                <a:gd name="connsiteY36" fmla="*/ 1143240 h 1310182"/>
                <a:gd name="connsiteX37" fmla="*/ 276118 w 1395436"/>
                <a:gd name="connsiteY37" fmla="*/ 1078947 h 1310182"/>
                <a:gd name="connsiteX38" fmla="*/ 114193 w 1395436"/>
                <a:gd name="connsiteY38" fmla="*/ 988459 h 1310182"/>
                <a:gd name="connsiteX39" fmla="*/ 2274 w 1395436"/>
                <a:gd name="connsiteY39" fmla="*/ 907496 h 1310182"/>
                <a:gd name="connsiteX0" fmla="*/ 2274 w 1395436"/>
                <a:gd name="connsiteY0" fmla="*/ 907496 h 1310182"/>
                <a:gd name="connsiteX1" fmla="*/ 45137 w 1395436"/>
                <a:gd name="connsiteY1" fmla="*/ 769384 h 1310182"/>
                <a:gd name="connsiteX2" fmla="*/ 118955 w 1395436"/>
                <a:gd name="connsiteY2" fmla="*/ 607458 h 1310182"/>
                <a:gd name="connsiteX3" fmla="*/ 238018 w 1395436"/>
                <a:gd name="connsiteY3" fmla="*/ 407434 h 1310182"/>
                <a:gd name="connsiteX4" fmla="*/ 340412 w 1395436"/>
                <a:gd name="connsiteY4" fmla="*/ 264558 h 1310182"/>
                <a:gd name="connsiteX5" fmla="*/ 445187 w 1395436"/>
                <a:gd name="connsiteY5" fmla="*/ 143115 h 1310182"/>
                <a:gd name="connsiteX6" fmla="*/ 545199 w 1395436"/>
                <a:gd name="connsiteY6" fmla="*/ 43103 h 1310182"/>
                <a:gd name="connsiteX7" fmla="*/ 602349 w 1395436"/>
                <a:gd name="connsiteY7" fmla="*/ 240 h 1310182"/>
                <a:gd name="connsiteX8" fmla="*/ 704744 w 1395436"/>
                <a:gd name="connsiteY8" fmla="*/ 59771 h 1310182"/>
                <a:gd name="connsiteX9" fmla="*/ 828568 w 1395436"/>
                <a:gd name="connsiteY9" fmla="*/ 152641 h 1310182"/>
                <a:gd name="connsiteX10" fmla="*/ 926198 w 1395436"/>
                <a:gd name="connsiteY10" fmla="*/ 233603 h 1310182"/>
                <a:gd name="connsiteX11" fmla="*/ 1050024 w 1395436"/>
                <a:gd name="connsiteY11" fmla="*/ 345522 h 1310182"/>
                <a:gd name="connsiteX12" fmla="*/ 1164324 w 1395436"/>
                <a:gd name="connsiteY12" fmla="*/ 457440 h 1310182"/>
                <a:gd name="connsiteX13" fmla="*/ 1238142 w 1395436"/>
                <a:gd name="connsiteY13" fmla="*/ 536021 h 1310182"/>
                <a:gd name="connsiteX14" fmla="*/ 1354824 w 1395436"/>
                <a:gd name="connsiteY14" fmla="*/ 700328 h 1310182"/>
                <a:gd name="connsiteX15" fmla="*/ 1154799 w 1395436"/>
                <a:gd name="connsiteY15" fmla="*/ 557453 h 1310182"/>
                <a:gd name="connsiteX16" fmla="*/ 1059549 w 1395436"/>
                <a:gd name="connsiteY16" fmla="*/ 676515 h 1310182"/>
                <a:gd name="connsiteX17" fmla="*/ 1173849 w 1395436"/>
                <a:gd name="connsiteY17" fmla="*/ 681278 h 1310182"/>
                <a:gd name="connsiteX18" fmla="*/ 1297674 w 1395436"/>
                <a:gd name="connsiteY18" fmla="*/ 738428 h 1310182"/>
                <a:gd name="connsiteX19" fmla="*/ 1361968 w 1395436"/>
                <a:gd name="connsiteY19" fmla="*/ 781290 h 1310182"/>
                <a:gd name="connsiteX20" fmla="*/ 1395305 w 1395436"/>
                <a:gd name="connsiteY20" fmla="*/ 840821 h 1310182"/>
                <a:gd name="connsiteX21" fmla="*/ 1369112 w 1395436"/>
                <a:gd name="connsiteY21" fmla="*/ 817009 h 1310182"/>
                <a:gd name="connsiteX22" fmla="*/ 1271480 w 1395436"/>
                <a:gd name="connsiteY22" fmla="*/ 924165 h 1310182"/>
                <a:gd name="connsiteX23" fmla="*/ 1214330 w 1395436"/>
                <a:gd name="connsiteY23" fmla="*/ 1057515 h 1310182"/>
                <a:gd name="connsiteX24" fmla="*/ 1152418 w 1395436"/>
                <a:gd name="connsiteY24" fmla="*/ 1128953 h 1310182"/>
                <a:gd name="connsiteX25" fmla="*/ 1083362 w 1395436"/>
                <a:gd name="connsiteY25" fmla="*/ 1183721 h 1310182"/>
                <a:gd name="connsiteX26" fmla="*/ 1038118 w 1395436"/>
                <a:gd name="connsiteY26" fmla="*/ 1257540 h 1310182"/>
                <a:gd name="connsiteX27" fmla="*/ 1016687 w 1395436"/>
                <a:gd name="connsiteY27" fmla="*/ 1309928 h 1310182"/>
                <a:gd name="connsiteX28" fmla="*/ 921437 w 1395436"/>
                <a:gd name="connsiteY28" fmla="*/ 1236109 h 1310182"/>
                <a:gd name="connsiteX29" fmla="*/ 861905 w 1395436"/>
                <a:gd name="connsiteY29" fmla="*/ 1140859 h 1310182"/>
                <a:gd name="connsiteX30" fmla="*/ 833330 w 1395436"/>
                <a:gd name="connsiteY30" fmla="*/ 1076565 h 1310182"/>
                <a:gd name="connsiteX31" fmla="*/ 766655 w 1395436"/>
                <a:gd name="connsiteY31" fmla="*/ 1259921 h 1310182"/>
                <a:gd name="connsiteX32" fmla="*/ 709506 w 1395436"/>
                <a:gd name="connsiteY32" fmla="*/ 1274209 h 1310182"/>
                <a:gd name="connsiteX33" fmla="*/ 657118 w 1395436"/>
                <a:gd name="connsiteY33" fmla="*/ 1252777 h 1310182"/>
                <a:gd name="connsiteX34" fmla="*/ 559486 w 1395436"/>
                <a:gd name="connsiteY34" fmla="*/ 1214678 h 1310182"/>
                <a:gd name="connsiteX35" fmla="*/ 404705 w 1395436"/>
                <a:gd name="connsiteY35" fmla="*/ 1143240 h 1310182"/>
                <a:gd name="connsiteX36" fmla="*/ 276118 w 1395436"/>
                <a:gd name="connsiteY36" fmla="*/ 1078947 h 1310182"/>
                <a:gd name="connsiteX37" fmla="*/ 114193 w 1395436"/>
                <a:gd name="connsiteY37" fmla="*/ 988459 h 1310182"/>
                <a:gd name="connsiteX38" fmla="*/ 2274 w 1395436"/>
                <a:gd name="connsiteY38" fmla="*/ 907496 h 1310182"/>
                <a:gd name="connsiteX0" fmla="*/ 2274 w 1395436"/>
                <a:gd name="connsiteY0" fmla="*/ 907496 h 1310182"/>
                <a:gd name="connsiteX1" fmla="*/ 45137 w 1395436"/>
                <a:gd name="connsiteY1" fmla="*/ 769384 h 1310182"/>
                <a:gd name="connsiteX2" fmla="*/ 118955 w 1395436"/>
                <a:gd name="connsiteY2" fmla="*/ 607458 h 1310182"/>
                <a:gd name="connsiteX3" fmla="*/ 238018 w 1395436"/>
                <a:gd name="connsiteY3" fmla="*/ 407434 h 1310182"/>
                <a:gd name="connsiteX4" fmla="*/ 340412 w 1395436"/>
                <a:gd name="connsiteY4" fmla="*/ 264558 h 1310182"/>
                <a:gd name="connsiteX5" fmla="*/ 445187 w 1395436"/>
                <a:gd name="connsiteY5" fmla="*/ 143115 h 1310182"/>
                <a:gd name="connsiteX6" fmla="*/ 545199 w 1395436"/>
                <a:gd name="connsiteY6" fmla="*/ 43103 h 1310182"/>
                <a:gd name="connsiteX7" fmla="*/ 602349 w 1395436"/>
                <a:gd name="connsiteY7" fmla="*/ 240 h 1310182"/>
                <a:gd name="connsiteX8" fmla="*/ 704744 w 1395436"/>
                <a:gd name="connsiteY8" fmla="*/ 59771 h 1310182"/>
                <a:gd name="connsiteX9" fmla="*/ 828568 w 1395436"/>
                <a:gd name="connsiteY9" fmla="*/ 152641 h 1310182"/>
                <a:gd name="connsiteX10" fmla="*/ 926198 w 1395436"/>
                <a:gd name="connsiteY10" fmla="*/ 233603 h 1310182"/>
                <a:gd name="connsiteX11" fmla="*/ 1050024 w 1395436"/>
                <a:gd name="connsiteY11" fmla="*/ 345522 h 1310182"/>
                <a:gd name="connsiteX12" fmla="*/ 1164324 w 1395436"/>
                <a:gd name="connsiteY12" fmla="*/ 457440 h 1310182"/>
                <a:gd name="connsiteX13" fmla="*/ 1238142 w 1395436"/>
                <a:gd name="connsiteY13" fmla="*/ 536021 h 1310182"/>
                <a:gd name="connsiteX14" fmla="*/ 1354824 w 1395436"/>
                <a:gd name="connsiteY14" fmla="*/ 700328 h 1310182"/>
                <a:gd name="connsiteX15" fmla="*/ 1154799 w 1395436"/>
                <a:gd name="connsiteY15" fmla="*/ 557453 h 1310182"/>
                <a:gd name="connsiteX16" fmla="*/ 1059549 w 1395436"/>
                <a:gd name="connsiteY16" fmla="*/ 676515 h 1310182"/>
                <a:gd name="connsiteX17" fmla="*/ 1173849 w 1395436"/>
                <a:gd name="connsiteY17" fmla="*/ 681278 h 1310182"/>
                <a:gd name="connsiteX18" fmla="*/ 1297674 w 1395436"/>
                <a:gd name="connsiteY18" fmla="*/ 738428 h 1310182"/>
                <a:gd name="connsiteX19" fmla="*/ 1361968 w 1395436"/>
                <a:gd name="connsiteY19" fmla="*/ 781290 h 1310182"/>
                <a:gd name="connsiteX20" fmla="*/ 1395305 w 1395436"/>
                <a:gd name="connsiteY20" fmla="*/ 840821 h 1310182"/>
                <a:gd name="connsiteX21" fmla="*/ 1369112 w 1395436"/>
                <a:gd name="connsiteY21" fmla="*/ 817009 h 1310182"/>
                <a:gd name="connsiteX22" fmla="*/ 1271480 w 1395436"/>
                <a:gd name="connsiteY22" fmla="*/ 924165 h 1310182"/>
                <a:gd name="connsiteX23" fmla="*/ 1214330 w 1395436"/>
                <a:gd name="connsiteY23" fmla="*/ 1057515 h 1310182"/>
                <a:gd name="connsiteX24" fmla="*/ 1152418 w 1395436"/>
                <a:gd name="connsiteY24" fmla="*/ 1128953 h 1310182"/>
                <a:gd name="connsiteX25" fmla="*/ 1083362 w 1395436"/>
                <a:gd name="connsiteY25" fmla="*/ 1183721 h 1310182"/>
                <a:gd name="connsiteX26" fmla="*/ 1038118 w 1395436"/>
                <a:gd name="connsiteY26" fmla="*/ 1257540 h 1310182"/>
                <a:gd name="connsiteX27" fmla="*/ 1016687 w 1395436"/>
                <a:gd name="connsiteY27" fmla="*/ 1309928 h 1310182"/>
                <a:gd name="connsiteX28" fmla="*/ 921437 w 1395436"/>
                <a:gd name="connsiteY28" fmla="*/ 1236109 h 1310182"/>
                <a:gd name="connsiteX29" fmla="*/ 861905 w 1395436"/>
                <a:gd name="connsiteY29" fmla="*/ 1140859 h 1310182"/>
                <a:gd name="connsiteX30" fmla="*/ 766655 w 1395436"/>
                <a:gd name="connsiteY30" fmla="*/ 1259921 h 1310182"/>
                <a:gd name="connsiteX31" fmla="*/ 709506 w 1395436"/>
                <a:gd name="connsiteY31" fmla="*/ 1274209 h 1310182"/>
                <a:gd name="connsiteX32" fmla="*/ 657118 w 1395436"/>
                <a:gd name="connsiteY32" fmla="*/ 1252777 h 1310182"/>
                <a:gd name="connsiteX33" fmla="*/ 559486 w 1395436"/>
                <a:gd name="connsiteY33" fmla="*/ 1214678 h 1310182"/>
                <a:gd name="connsiteX34" fmla="*/ 404705 w 1395436"/>
                <a:gd name="connsiteY34" fmla="*/ 1143240 h 1310182"/>
                <a:gd name="connsiteX35" fmla="*/ 276118 w 1395436"/>
                <a:gd name="connsiteY35" fmla="*/ 1078947 h 1310182"/>
                <a:gd name="connsiteX36" fmla="*/ 114193 w 1395436"/>
                <a:gd name="connsiteY36" fmla="*/ 988459 h 1310182"/>
                <a:gd name="connsiteX37" fmla="*/ 2274 w 1395436"/>
                <a:gd name="connsiteY37" fmla="*/ 907496 h 1310182"/>
                <a:gd name="connsiteX0" fmla="*/ 2274 w 1395436"/>
                <a:gd name="connsiteY0" fmla="*/ 907496 h 1310182"/>
                <a:gd name="connsiteX1" fmla="*/ 45137 w 1395436"/>
                <a:gd name="connsiteY1" fmla="*/ 769384 h 1310182"/>
                <a:gd name="connsiteX2" fmla="*/ 118955 w 1395436"/>
                <a:gd name="connsiteY2" fmla="*/ 607458 h 1310182"/>
                <a:gd name="connsiteX3" fmla="*/ 238018 w 1395436"/>
                <a:gd name="connsiteY3" fmla="*/ 407434 h 1310182"/>
                <a:gd name="connsiteX4" fmla="*/ 340412 w 1395436"/>
                <a:gd name="connsiteY4" fmla="*/ 264558 h 1310182"/>
                <a:gd name="connsiteX5" fmla="*/ 445187 w 1395436"/>
                <a:gd name="connsiteY5" fmla="*/ 143115 h 1310182"/>
                <a:gd name="connsiteX6" fmla="*/ 545199 w 1395436"/>
                <a:gd name="connsiteY6" fmla="*/ 43103 h 1310182"/>
                <a:gd name="connsiteX7" fmla="*/ 602349 w 1395436"/>
                <a:gd name="connsiteY7" fmla="*/ 240 h 1310182"/>
                <a:gd name="connsiteX8" fmla="*/ 704744 w 1395436"/>
                <a:gd name="connsiteY8" fmla="*/ 59771 h 1310182"/>
                <a:gd name="connsiteX9" fmla="*/ 828568 w 1395436"/>
                <a:gd name="connsiteY9" fmla="*/ 152641 h 1310182"/>
                <a:gd name="connsiteX10" fmla="*/ 926198 w 1395436"/>
                <a:gd name="connsiteY10" fmla="*/ 233603 h 1310182"/>
                <a:gd name="connsiteX11" fmla="*/ 1050024 w 1395436"/>
                <a:gd name="connsiteY11" fmla="*/ 345522 h 1310182"/>
                <a:gd name="connsiteX12" fmla="*/ 1164324 w 1395436"/>
                <a:gd name="connsiteY12" fmla="*/ 457440 h 1310182"/>
                <a:gd name="connsiteX13" fmla="*/ 1238142 w 1395436"/>
                <a:gd name="connsiteY13" fmla="*/ 536021 h 1310182"/>
                <a:gd name="connsiteX14" fmla="*/ 1354824 w 1395436"/>
                <a:gd name="connsiteY14" fmla="*/ 700328 h 1310182"/>
                <a:gd name="connsiteX15" fmla="*/ 1154799 w 1395436"/>
                <a:gd name="connsiteY15" fmla="*/ 557453 h 1310182"/>
                <a:gd name="connsiteX16" fmla="*/ 1059549 w 1395436"/>
                <a:gd name="connsiteY16" fmla="*/ 676515 h 1310182"/>
                <a:gd name="connsiteX17" fmla="*/ 1173849 w 1395436"/>
                <a:gd name="connsiteY17" fmla="*/ 681278 h 1310182"/>
                <a:gd name="connsiteX18" fmla="*/ 1297674 w 1395436"/>
                <a:gd name="connsiteY18" fmla="*/ 738428 h 1310182"/>
                <a:gd name="connsiteX19" fmla="*/ 1361968 w 1395436"/>
                <a:gd name="connsiteY19" fmla="*/ 781290 h 1310182"/>
                <a:gd name="connsiteX20" fmla="*/ 1395305 w 1395436"/>
                <a:gd name="connsiteY20" fmla="*/ 840821 h 1310182"/>
                <a:gd name="connsiteX21" fmla="*/ 1369112 w 1395436"/>
                <a:gd name="connsiteY21" fmla="*/ 817009 h 1310182"/>
                <a:gd name="connsiteX22" fmla="*/ 1271480 w 1395436"/>
                <a:gd name="connsiteY22" fmla="*/ 924165 h 1310182"/>
                <a:gd name="connsiteX23" fmla="*/ 1214330 w 1395436"/>
                <a:gd name="connsiteY23" fmla="*/ 1057515 h 1310182"/>
                <a:gd name="connsiteX24" fmla="*/ 1152418 w 1395436"/>
                <a:gd name="connsiteY24" fmla="*/ 1128953 h 1310182"/>
                <a:gd name="connsiteX25" fmla="*/ 1083362 w 1395436"/>
                <a:gd name="connsiteY25" fmla="*/ 1183721 h 1310182"/>
                <a:gd name="connsiteX26" fmla="*/ 1038118 w 1395436"/>
                <a:gd name="connsiteY26" fmla="*/ 1257540 h 1310182"/>
                <a:gd name="connsiteX27" fmla="*/ 1016687 w 1395436"/>
                <a:gd name="connsiteY27" fmla="*/ 1309928 h 1310182"/>
                <a:gd name="connsiteX28" fmla="*/ 921437 w 1395436"/>
                <a:gd name="connsiteY28" fmla="*/ 1236109 h 1310182"/>
                <a:gd name="connsiteX29" fmla="*/ 766655 w 1395436"/>
                <a:gd name="connsiteY29" fmla="*/ 1259921 h 1310182"/>
                <a:gd name="connsiteX30" fmla="*/ 709506 w 1395436"/>
                <a:gd name="connsiteY30" fmla="*/ 1274209 h 1310182"/>
                <a:gd name="connsiteX31" fmla="*/ 657118 w 1395436"/>
                <a:gd name="connsiteY31" fmla="*/ 1252777 h 1310182"/>
                <a:gd name="connsiteX32" fmla="*/ 559486 w 1395436"/>
                <a:gd name="connsiteY32" fmla="*/ 1214678 h 1310182"/>
                <a:gd name="connsiteX33" fmla="*/ 404705 w 1395436"/>
                <a:gd name="connsiteY33" fmla="*/ 1143240 h 1310182"/>
                <a:gd name="connsiteX34" fmla="*/ 276118 w 1395436"/>
                <a:gd name="connsiteY34" fmla="*/ 1078947 h 1310182"/>
                <a:gd name="connsiteX35" fmla="*/ 114193 w 1395436"/>
                <a:gd name="connsiteY35" fmla="*/ 988459 h 1310182"/>
                <a:gd name="connsiteX36" fmla="*/ 2274 w 1395436"/>
                <a:gd name="connsiteY36" fmla="*/ 907496 h 1310182"/>
                <a:gd name="connsiteX0" fmla="*/ 2274 w 1395436"/>
                <a:gd name="connsiteY0" fmla="*/ 907496 h 1310182"/>
                <a:gd name="connsiteX1" fmla="*/ 45137 w 1395436"/>
                <a:gd name="connsiteY1" fmla="*/ 769384 h 1310182"/>
                <a:gd name="connsiteX2" fmla="*/ 118955 w 1395436"/>
                <a:gd name="connsiteY2" fmla="*/ 607458 h 1310182"/>
                <a:gd name="connsiteX3" fmla="*/ 238018 w 1395436"/>
                <a:gd name="connsiteY3" fmla="*/ 407434 h 1310182"/>
                <a:gd name="connsiteX4" fmla="*/ 340412 w 1395436"/>
                <a:gd name="connsiteY4" fmla="*/ 264558 h 1310182"/>
                <a:gd name="connsiteX5" fmla="*/ 445187 w 1395436"/>
                <a:gd name="connsiteY5" fmla="*/ 143115 h 1310182"/>
                <a:gd name="connsiteX6" fmla="*/ 545199 w 1395436"/>
                <a:gd name="connsiteY6" fmla="*/ 43103 h 1310182"/>
                <a:gd name="connsiteX7" fmla="*/ 602349 w 1395436"/>
                <a:gd name="connsiteY7" fmla="*/ 240 h 1310182"/>
                <a:gd name="connsiteX8" fmla="*/ 704744 w 1395436"/>
                <a:gd name="connsiteY8" fmla="*/ 59771 h 1310182"/>
                <a:gd name="connsiteX9" fmla="*/ 828568 w 1395436"/>
                <a:gd name="connsiteY9" fmla="*/ 152641 h 1310182"/>
                <a:gd name="connsiteX10" fmla="*/ 926198 w 1395436"/>
                <a:gd name="connsiteY10" fmla="*/ 233603 h 1310182"/>
                <a:gd name="connsiteX11" fmla="*/ 1050024 w 1395436"/>
                <a:gd name="connsiteY11" fmla="*/ 345522 h 1310182"/>
                <a:gd name="connsiteX12" fmla="*/ 1164324 w 1395436"/>
                <a:gd name="connsiteY12" fmla="*/ 457440 h 1310182"/>
                <a:gd name="connsiteX13" fmla="*/ 1238142 w 1395436"/>
                <a:gd name="connsiteY13" fmla="*/ 536021 h 1310182"/>
                <a:gd name="connsiteX14" fmla="*/ 1354824 w 1395436"/>
                <a:gd name="connsiteY14" fmla="*/ 700328 h 1310182"/>
                <a:gd name="connsiteX15" fmla="*/ 1154799 w 1395436"/>
                <a:gd name="connsiteY15" fmla="*/ 557453 h 1310182"/>
                <a:gd name="connsiteX16" fmla="*/ 1059549 w 1395436"/>
                <a:gd name="connsiteY16" fmla="*/ 676515 h 1310182"/>
                <a:gd name="connsiteX17" fmla="*/ 1173849 w 1395436"/>
                <a:gd name="connsiteY17" fmla="*/ 681278 h 1310182"/>
                <a:gd name="connsiteX18" fmla="*/ 1297674 w 1395436"/>
                <a:gd name="connsiteY18" fmla="*/ 738428 h 1310182"/>
                <a:gd name="connsiteX19" fmla="*/ 1361968 w 1395436"/>
                <a:gd name="connsiteY19" fmla="*/ 781290 h 1310182"/>
                <a:gd name="connsiteX20" fmla="*/ 1395305 w 1395436"/>
                <a:gd name="connsiteY20" fmla="*/ 840821 h 1310182"/>
                <a:gd name="connsiteX21" fmla="*/ 1369112 w 1395436"/>
                <a:gd name="connsiteY21" fmla="*/ 817009 h 1310182"/>
                <a:gd name="connsiteX22" fmla="*/ 1271480 w 1395436"/>
                <a:gd name="connsiteY22" fmla="*/ 924165 h 1310182"/>
                <a:gd name="connsiteX23" fmla="*/ 1214330 w 1395436"/>
                <a:gd name="connsiteY23" fmla="*/ 1057515 h 1310182"/>
                <a:gd name="connsiteX24" fmla="*/ 1152418 w 1395436"/>
                <a:gd name="connsiteY24" fmla="*/ 1128953 h 1310182"/>
                <a:gd name="connsiteX25" fmla="*/ 1083362 w 1395436"/>
                <a:gd name="connsiteY25" fmla="*/ 1183721 h 1310182"/>
                <a:gd name="connsiteX26" fmla="*/ 1038118 w 1395436"/>
                <a:gd name="connsiteY26" fmla="*/ 1257540 h 1310182"/>
                <a:gd name="connsiteX27" fmla="*/ 1016687 w 1395436"/>
                <a:gd name="connsiteY27" fmla="*/ 1309928 h 1310182"/>
                <a:gd name="connsiteX28" fmla="*/ 921437 w 1395436"/>
                <a:gd name="connsiteY28" fmla="*/ 1236109 h 1310182"/>
                <a:gd name="connsiteX29" fmla="*/ 709506 w 1395436"/>
                <a:gd name="connsiteY29" fmla="*/ 1274209 h 1310182"/>
                <a:gd name="connsiteX30" fmla="*/ 657118 w 1395436"/>
                <a:gd name="connsiteY30" fmla="*/ 1252777 h 1310182"/>
                <a:gd name="connsiteX31" fmla="*/ 559486 w 1395436"/>
                <a:gd name="connsiteY31" fmla="*/ 1214678 h 1310182"/>
                <a:gd name="connsiteX32" fmla="*/ 404705 w 1395436"/>
                <a:gd name="connsiteY32" fmla="*/ 1143240 h 1310182"/>
                <a:gd name="connsiteX33" fmla="*/ 276118 w 1395436"/>
                <a:gd name="connsiteY33" fmla="*/ 1078947 h 1310182"/>
                <a:gd name="connsiteX34" fmla="*/ 114193 w 1395436"/>
                <a:gd name="connsiteY34" fmla="*/ 988459 h 1310182"/>
                <a:gd name="connsiteX35" fmla="*/ 2274 w 1395436"/>
                <a:gd name="connsiteY35" fmla="*/ 907496 h 1310182"/>
                <a:gd name="connsiteX0" fmla="*/ 2274 w 1395436"/>
                <a:gd name="connsiteY0" fmla="*/ 907496 h 1332699"/>
                <a:gd name="connsiteX1" fmla="*/ 45137 w 1395436"/>
                <a:gd name="connsiteY1" fmla="*/ 769384 h 1332699"/>
                <a:gd name="connsiteX2" fmla="*/ 118955 w 1395436"/>
                <a:gd name="connsiteY2" fmla="*/ 607458 h 1332699"/>
                <a:gd name="connsiteX3" fmla="*/ 238018 w 1395436"/>
                <a:gd name="connsiteY3" fmla="*/ 407434 h 1332699"/>
                <a:gd name="connsiteX4" fmla="*/ 340412 w 1395436"/>
                <a:gd name="connsiteY4" fmla="*/ 264558 h 1332699"/>
                <a:gd name="connsiteX5" fmla="*/ 445187 w 1395436"/>
                <a:gd name="connsiteY5" fmla="*/ 143115 h 1332699"/>
                <a:gd name="connsiteX6" fmla="*/ 545199 w 1395436"/>
                <a:gd name="connsiteY6" fmla="*/ 43103 h 1332699"/>
                <a:gd name="connsiteX7" fmla="*/ 602349 w 1395436"/>
                <a:gd name="connsiteY7" fmla="*/ 240 h 1332699"/>
                <a:gd name="connsiteX8" fmla="*/ 704744 w 1395436"/>
                <a:gd name="connsiteY8" fmla="*/ 59771 h 1332699"/>
                <a:gd name="connsiteX9" fmla="*/ 828568 w 1395436"/>
                <a:gd name="connsiteY9" fmla="*/ 152641 h 1332699"/>
                <a:gd name="connsiteX10" fmla="*/ 926198 w 1395436"/>
                <a:gd name="connsiteY10" fmla="*/ 233603 h 1332699"/>
                <a:gd name="connsiteX11" fmla="*/ 1050024 w 1395436"/>
                <a:gd name="connsiteY11" fmla="*/ 345522 h 1332699"/>
                <a:gd name="connsiteX12" fmla="*/ 1164324 w 1395436"/>
                <a:gd name="connsiteY12" fmla="*/ 457440 h 1332699"/>
                <a:gd name="connsiteX13" fmla="*/ 1238142 w 1395436"/>
                <a:gd name="connsiteY13" fmla="*/ 536021 h 1332699"/>
                <a:gd name="connsiteX14" fmla="*/ 1354824 w 1395436"/>
                <a:gd name="connsiteY14" fmla="*/ 700328 h 1332699"/>
                <a:gd name="connsiteX15" fmla="*/ 1154799 w 1395436"/>
                <a:gd name="connsiteY15" fmla="*/ 557453 h 1332699"/>
                <a:gd name="connsiteX16" fmla="*/ 1059549 w 1395436"/>
                <a:gd name="connsiteY16" fmla="*/ 676515 h 1332699"/>
                <a:gd name="connsiteX17" fmla="*/ 1173849 w 1395436"/>
                <a:gd name="connsiteY17" fmla="*/ 681278 h 1332699"/>
                <a:gd name="connsiteX18" fmla="*/ 1297674 w 1395436"/>
                <a:gd name="connsiteY18" fmla="*/ 738428 h 1332699"/>
                <a:gd name="connsiteX19" fmla="*/ 1361968 w 1395436"/>
                <a:gd name="connsiteY19" fmla="*/ 781290 h 1332699"/>
                <a:gd name="connsiteX20" fmla="*/ 1395305 w 1395436"/>
                <a:gd name="connsiteY20" fmla="*/ 840821 h 1332699"/>
                <a:gd name="connsiteX21" fmla="*/ 1369112 w 1395436"/>
                <a:gd name="connsiteY21" fmla="*/ 817009 h 1332699"/>
                <a:gd name="connsiteX22" fmla="*/ 1271480 w 1395436"/>
                <a:gd name="connsiteY22" fmla="*/ 924165 h 1332699"/>
                <a:gd name="connsiteX23" fmla="*/ 1214330 w 1395436"/>
                <a:gd name="connsiteY23" fmla="*/ 1057515 h 1332699"/>
                <a:gd name="connsiteX24" fmla="*/ 1152418 w 1395436"/>
                <a:gd name="connsiteY24" fmla="*/ 1128953 h 1332699"/>
                <a:gd name="connsiteX25" fmla="*/ 1083362 w 1395436"/>
                <a:gd name="connsiteY25" fmla="*/ 1183721 h 1332699"/>
                <a:gd name="connsiteX26" fmla="*/ 1038118 w 1395436"/>
                <a:gd name="connsiteY26" fmla="*/ 1257540 h 1332699"/>
                <a:gd name="connsiteX27" fmla="*/ 1016687 w 1395436"/>
                <a:gd name="connsiteY27" fmla="*/ 1309928 h 1332699"/>
                <a:gd name="connsiteX28" fmla="*/ 919055 w 1395436"/>
                <a:gd name="connsiteY28" fmla="*/ 1331359 h 1332699"/>
                <a:gd name="connsiteX29" fmla="*/ 709506 w 1395436"/>
                <a:gd name="connsiteY29" fmla="*/ 1274209 h 1332699"/>
                <a:gd name="connsiteX30" fmla="*/ 657118 w 1395436"/>
                <a:gd name="connsiteY30" fmla="*/ 1252777 h 1332699"/>
                <a:gd name="connsiteX31" fmla="*/ 559486 w 1395436"/>
                <a:gd name="connsiteY31" fmla="*/ 1214678 h 1332699"/>
                <a:gd name="connsiteX32" fmla="*/ 404705 w 1395436"/>
                <a:gd name="connsiteY32" fmla="*/ 1143240 h 1332699"/>
                <a:gd name="connsiteX33" fmla="*/ 276118 w 1395436"/>
                <a:gd name="connsiteY33" fmla="*/ 1078947 h 1332699"/>
                <a:gd name="connsiteX34" fmla="*/ 114193 w 1395436"/>
                <a:gd name="connsiteY34" fmla="*/ 988459 h 1332699"/>
                <a:gd name="connsiteX35" fmla="*/ 2274 w 1395436"/>
                <a:gd name="connsiteY35" fmla="*/ 907496 h 1332699"/>
                <a:gd name="connsiteX0" fmla="*/ 2274 w 1395436"/>
                <a:gd name="connsiteY0" fmla="*/ 907496 h 1332198"/>
                <a:gd name="connsiteX1" fmla="*/ 45137 w 1395436"/>
                <a:gd name="connsiteY1" fmla="*/ 769384 h 1332198"/>
                <a:gd name="connsiteX2" fmla="*/ 118955 w 1395436"/>
                <a:gd name="connsiteY2" fmla="*/ 607458 h 1332198"/>
                <a:gd name="connsiteX3" fmla="*/ 238018 w 1395436"/>
                <a:gd name="connsiteY3" fmla="*/ 407434 h 1332198"/>
                <a:gd name="connsiteX4" fmla="*/ 340412 w 1395436"/>
                <a:gd name="connsiteY4" fmla="*/ 264558 h 1332198"/>
                <a:gd name="connsiteX5" fmla="*/ 445187 w 1395436"/>
                <a:gd name="connsiteY5" fmla="*/ 143115 h 1332198"/>
                <a:gd name="connsiteX6" fmla="*/ 545199 w 1395436"/>
                <a:gd name="connsiteY6" fmla="*/ 43103 h 1332198"/>
                <a:gd name="connsiteX7" fmla="*/ 602349 w 1395436"/>
                <a:gd name="connsiteY7" fmla="*/ 240 h 1332198"/>
                <a:gd name="connsiteX8" fmla="*/ 704744 w 1395436"/>
                <a:gd name="connsiteY8" fmla="*/ 59771 h 1332198"/>
                <a:gd name="connsiteX9" fmla="*/ 828568 w 1395436"/>
                <a:gd name="connsiteY9" fmla="*/ 152641 h 1332198"/>
                <a:gd name="connsiteX10" fmla="*/ 926198 w 1395436"/>
                <a:gd name="connsiteY10" fmla="*/ 233603 h 1332198"/>
                <a:gd name="connsiteX11" fmla="*/ 1050024 w 1395436"/>
                <a:gd name="connsiteY11" fmla="*/ 345522 h 1332198"/>
                <a:gd name="connsiteX12" fmla="*/ 1164324 w 1395436"/>
                <a:gd name="connsiteY12" fmla="*/ 457440 h 1332198"/>
                <a:gd name="connsiteX13" fmla="*/ 1238142 w 1395436"/>
                <a:gd name="connsiteY13" fmla="*/ 536021 h 1332198"/>
                <a:gd name="connsiteX14" fmla="*/ 1354824 w 1395436"/>
                <a:gd name="connsiteY14" fmla="*/ 700328 h 1332198"/>
                <a:gd name="connsiteX15" fmla="*/ 1154799 w 1395436"/>
                <a:gd name="connsiteY15" fmla="*/ 557453 h 1332198"/>
                <a:gd name="connsiteX16" fmla="*/ 1059549 w 1395436"/>
                <a:gd name="connsiteY16" fmla="*/ 676515 h 1332198"/>
                <a:gd name="connsiteX17" fmla="*/ 1173849 w 1395436"/>
                <a:gd name="connsiteY17" fmla="*/ 681278 h 1332198"/>
                <a:gd name="connsiteX18" fmla="*/ 1297674 w 1395436"/>
                <a:gd name="connsiteY18" fmla="*/ 738428 h 1332198"/>
                <a:gd name="connsiteX19" fmla="*/ 1361968 w 1395436"/>
                <a:gd name="connsiteY19" fmla="*/ 781290 h 1332198"/>
                <a:gd name="connsiteX20" fmla="*/ 1395305 w 1395436"/>
                <a:gd name="connsiteY20" fmla="*/ 840821 h 1332198"/>
                <a:gd name="connsiteX21" fmla="*/ 1369112 w 1395436"/>
                <a:gd name="connsiteY21" fmla="*/ 817009 h 1332198"/>
                <a:gd name="connsiteX22" fmla="*/ 1271480 w 1395436"/>
                <a:gd name="connsiteY22" fmla="*/ 924165 h 1332198"/>
                <a:gd name="connsiteX23" fmla="*/ 1214330 w 1395436"/>
                <a:gd name="connsiteY23" fmla="*/ 1057515 h 1332198"/>
                <a:gd name="connsiteX24" fmla="*/ 1152418 w 1395436"/>
                <a:gd name="connsiteY24" fmla="*/ 1128953 h 1332198"/>
                <a:gd name="connsiteX25" fmla="*/ 1083362 w 1395436"/>
                <a:gd name="connsiteY25" fmla="*/ 1183721 h 1332198"/>
                <a:gd name="connsiteX26" fmla="*/ 1038118 w 1395436"/>
                <a:gd name="connsiteY26" fmla="*/ 1257540 h 1332198"/>
                <a:gd name="connsiteX27" fmla="*/ 1016687 w 1395436"/>
                <a:gd name="connsiteY27" fmla="*/ 1309928 h 1332198"/>
                <a:gd name="connsiteX28" fmla="*/ 919055 w 1395436"/>
                <a:gd name="connsiteY28" fmla="*/ 1331359 h 1332198"/>
                <a:gd name="connsiteX29" fmla="*/ 747606 w 1395436"/>
                <a:gd name="connsiteY29" fmla="*/ 1283734 h 1332198"/>
                <a:gd name="connsiteX30" fmla="*/ 657118 w 1395436"/>
                <a:gd name="connsiteY30" fmla="*/ 1252777 h 1332198"/>
                <a:gd name="connsiteX31" fmla="*/ 559486 w 1395436"/>
                <a:gd name="connsiteY31" fmla="*/ 1214678 h 1332198"/>
                <a:gd name="connsiteX32" fmla="*/ 404705 w 1395436"/>
                <a:gd name="connsiteY32" fmla="*/ 1143240 h 1332198"/>
                <a:gd name="connsiteX33" fmla="*/ 276118 w 1395436"/>
                <a:gd name="connsiteY33" fmla="*/ 1078947 h 1332198"/>
                <a:gd name="connsiteX34" fmla="*/ 114193 w 1395436"/>
                <a:gd name="connsiteY34" fmla="*/ 988459 h 1332198"/>
                <a:gd name="connsiteX35" fmla="*/ 2274 w 1395436"/>
                <a:gd name="connsiteY35" fmla="*/ 907496 h 1332198"/>
                <a:gd name="connsiteX0" fmla="*/ 2274 w 1395436"/>
                <a:gd name="connsiteY0" fmla="*/ 907496 h 1346053"/>
                <a:gd name="connsiteX1" fmla="*/ 45137 w 1395436"/>
                <a:gd name="connsiteY1" fmla="*/ 769384 h 1346053"/>
                <a:gd name="connsiteX2" fmla="*/ 118955 w 1395436"/>
                <a:gd name="connsiteY2" fmla="*/ 607458 h 1346053"/>
                <a:gd name="connsiteX3" fmla="*/ 238018 w 1395436"/>
                <a:gd name="connsiteY3" fmla="*/ 407434 h 1346053"/>
                <a:gd name="connsiteX4" fmla="*/ 340412 w 1395436"/>
                <a:gd name="connsiteY4" fmla="*/ 264558 h 1346053"/>
                <a:gd name="connsiteX5" fmla="*/ 445187 w 1395436"/>
                <a:gd name="connsiteY5" fmla="*/ 143115 h 1346053"/>
                <a:gd name="connsiteX6" fmla="*/ 545199 w 1395436"/>
                <a:gd name="connsiteY6" fmla="*/ 43103 h 1346053"/>
                <a:gd name="connsiteX7" fmla="*/ 602349 w 1395436"/>
                <a:gd name="connsiteY7" fmla="*/ 240 h 1346053"/>
                <a:gd name="connsiteX8" fmla="*/ 704744 w 1395436"/>
                <a:gd name="connsiteY8" fmla="*/ 59771 h 1346053"/>
                <a:gd name="connsiteX9" fmla="*/ 828568 w 1395436"/>
                <a:gd name="connsiteY9" fmla="*/ 152641 h 1346053"/>
                <a:gd name="connsiteX10" fmla="*/ 926198 w 1395436"/>
                <a:gd name="connsiteY10" fmla="*/ 233603 h 1346053"/>
                <a:gd name="connsiteX11" fmla="*/ 1050024 w 1395436"/>
                <a:gd name="connsiteY11" fmla="*/ 345522 h 1346053"/>
                <a:gd name="connsiteX12" fmla="*/ 1164324 w 1395436"/>
                <a:gd name="connsiteY12" fmla="*/ 457440 h 1346053"/>
                <a:gd name="connsiteX13" fmla="*/ 1238142 w 1395436"/>
                <a:gd name="connsiteY13" fmla="*/ 536021 h 1346053"/>
                <a:gd name="connsiteX14" fmla="*/ 1354824 w 1395436"/>
                <a:gd name="connsiteY14" fmla="*/ 700328 h 1346053"/>
                <a:gd name="connsiteX15" fmla="*/ 1154799 w 1395436"/>
                <a:gd name="connsiteY15" fmla="*/ 557453 h 1346053"/>
                <a:gd name="connsiteX16" fmla="*/ 1059549 w 1395436"/>
                <a:gd name="connsiteY16" fmla="*/ 676515 h 1346053"/>
                <a:gd name="connsiteX17" fmla="*/ 1173849 w 1395436"/>
                <a:gd name="connsiteY17" fmla="*/ 681278 h 1346053"/>
                <a:gd name="connsiteX18" fmla="*/ 1297674 w 1395436"/>
                <a:gd name="connsiteY18" fmla="*/ 738428 h 1346053"/>
                <a:gd name="connsiteX19" fmla="*/ 1361968 w 1395436"/>
                <a:gd name="connsiteY19" fmla="*/ 781290 h 1346053"/>
                <a:gd name="connsiteX20" fmla="*/ 1395305 w 1395436"/>
                <a:gd name="connsiteY20" fmla="*/ 840821 h 1346053"/>
                <a:gd name="connsiteX21" fmla="*/ 1369112 w 1395436"/>
                <a:gd name="connsiteY21" fmla="*/ 817009 h 1346053"/>
                <a:gd name="connsiteX22" fmla="*/ 1271480 w 1395436"/>
                <a:gd name="connsiteY22" fmla="*/ 924165 h 1346053"/>
                <a:gd name="connsiteX23" fmla="*/ 1214330 w 1395436"/>
                <a:gd name="connsiteY23" fmla="*/ 1057515 h 1346053"/>
                <a:gd name="connsiteX24" fmla="*/ 1152418 w 1395436"/>
                <a:gd name="connsiteY24" fmla="*/ 1128953 h 1346053"/>
                <a:gd name="connsiteX25" fmla="*/ 1083362 w 1395436"/>
                <a:gd name="connsiteY25" fmla="*/ 1183721 h 1346053"/>
                <a:gd name="connsiteX26" fmla="*/ 1038118 w 1395436"/>
                <a:gd name="connsiteY26" fmla="*/ 1257540 h 1346053"/>
                <a:gd name="connsiteX27" fmla="*/ 1002400 w 1395436"/>
                <a:gd name="connsiteY27" fmla="*/ 1340885 h 1346053"/>
                <a:gd name="connsiteX28" fmla="*/ 919055 w 1395436"/>
                <a:gd name="connsiteY28" fmla="*/ 1331359 h 1346053"/>
                <a:gd name="connsiteX29" fmla="*/ 747606 w 1395436"/>
                <a:gd name="connsiteY29" fmla="*/ 1283734 h 1346053"/>
                <a:gd name="connsiteX30" fmla="*/ 657118 w 1395436"/>
                <a:gd name="connsiteY30" fmla="*/ 1252777 h 1346053"/>
                <a:gd name="connsiteX31" fmla="*/ 559486 w 1395436"/>
                <a:gd name="connsiteY31" fmla="*/ 1214678 h 1346053"/>
                <a:gd name="connsiteX32" fmla="*/ 404705 w 1395436"/>
                <a:gd name="connsiteY32" fmla="*/ 1143240 h 1346053"/>
                <a:gd name="connsiteX33" fmla="*/ 276118 w 1395436"/>
                <a:gd name="connsiteY33" fmla="*/ 1078947 h 1346053"/>
                <a:gd name="connsiteX34" fmla="*/ 114193 w 1395436"/>
                <a:gd name="connsiteY34" fmla="*/ 988459 h 1346053"/>
                <a:gd name="connsiteX35" fmla="*/ 2274 w 1395436"/>
                <a:gd name="connsiteY35" fmla="*/ 907496 h 1346053"/>
                <a:gd name="connsiteX0" fmla="*/ 2274 w 1395436"/>
                <a:gd name="connsiteY0" fmla="*/ 907496 h 1346053"/>
                <a:gd name="connsiteX1" fmla="*/ 45137 w 1395436"/>
                <a:gd name="connsiteY1" fmla="*/ 769384 h 1346053"/>
                <a:gd name="connsiteX2" fmla="*/ 118955 w 1395436"/>
                <a:gd name="connsiteY2" fmla="*/ 607458 h 1346053"/>
                <a:gd name="connsiteX3" fmla="*/ 238018 w 1395436"/>
                <a:gd name="connsiteY3" fmla="*/ 407434 h 1346053"/>
                <a:gd name="connsiteX4" fmla="*/ 340412 w 1395436"/>
                <a:gd name="connsiteY4" fmla="*/ 264558 h 1346053"/>
                <a:gd name="connsiteX5" fmla="*/ 445187 w 1395436"/>
                <a:gd name="connsiteY5" fmla="*/ 143115 h 1346053"/>
                <a:gd name="connsiteX6" fmla="*/ 545199 w 1395436"/>
                <a:gd name="connsiteY6" fmla="*/ 43103 h 1346053"/>
                <a:gd name="connsiteX7" fmla="*/ 602349 w 1395436"/>
                <a:gd name="connsiteY7" fmla="*/ 240 h 1346053"/>
                <a:gd name="connsiteX8" fmla="*/ 704744 w 1395436"/>
                <a:gd name="connsiteY8" fmla="*/ 59771 h 1346053"/>
                <a:gd name="connsiteX9" fmla="*/ 828568 w 1395436"/>
                <a:gd name="connsiteY9" fmla="*/ 152641 h 1346053"/>
                <a:gd name="connsiteX10" fmla="*/ 926198 w 1395436"/>
                <a:gd name="connsiteY10" fmla="*/ 233603 h 1346053"/>
                <a:gd name="connsiteX11" fmla="*/ 1050024 w 1395436"/>
                <a:gd name="connsiteY11" fmla="*/ 345522 h 1346053"/>
                <a:gd name="connsiteX12" fmla="*/ 1164324 w 1395436"/>
                <a:gd name="connsiteY12" fmla="*/ 457440 h 1346053"/>
                <a:gd name="connsiteX13" fmla="*/ 1238142 w 1395436"/>
                <a:gd name="connsiteY13" fmla="*/ 536021 h 1346053"/>
                <a:gd name="connsiteX14" fmla="*/ 1354824 w 1395436"/>
                <a:gd name="connsiteY14" fmla="*/ 700328 h 1346053"/>
                <a:gd name="connsiteX15" fmla="*/ 1154799 w 1395436"/>
                <a:gd name="connsiteY15" fmla="*/ 557453 h 1346053"/>
                <a:gd name="connsiteX16" fmla="*/ 1059549 w 1395436"/>
                <a:gd name="connsiteY16" fmla="*/ 676515 h 1346053"/>
                <a:gd name="connsiteX17" fmla="*/ 1173849 w 1395436"/>
                <a:gd name="connsiteY17" fmla="*/ 681278 h 1346053"/>
                <a:gd name="connsiteX18" fmla="*/ 1297674 w 1395436"/>
                <a:gd name="connsiteY18" fmla="*/ 738428 h 1346053"/>
                <a:gd name="connsiteX19" fmla="*/ 1361968 w 1395436"/>
                <a:gd name="connsiteY19" fmla="*/ 781290 h 1346053"/>
                <a:gd name="connsiteX20" fmla="*/ 1395305 w 1395436"/>
                <a:gd name="connsiteY20" fmla="*/ 840821 h 1346053"/>
                <a:gd name="connsiteX21" fmla="*/ 1369112 w 1395436"/>
                <a:gd name="connsiteY21" fmla="*/ 817009 h 1346053"/>
                <a:gd name="connsiteX22" fmla="*/ 1271480 w 1395436"/>
                <a:gd name="connsiteY22" fmla="*/ 924165 h 1346053"/>
                <a:gd name="connsiteX23" fmla="*/ 1214330 w 1395436"/>
                <a:gd name="connsiteY23" fmla="*/ 1057515 h 1346053"/>
                <a:gd name="connsiteX24" fmla="*/ 1152418 w 1395436"/>
                <a:gd name="connsiteY24" fmla="*/ 1128953 h 1346053"/>
                <a:gd name="connsiteX25" fmla="*/ 1083362 w 1395436"/>
                <a:gd name="connsiteY25" fmla="*/ 1183721 h 1346053"/>
                <a:gd name="connsiteX26" fmla="*/ 1038118 w 1395436"/>
                <a:gd name="connsiteY26" fmla="*/ 1257540 h 1346053"/>
                <a:gd name="connsiteX27" fmla="*/ 1002400 w 1395436"/>
                <a:gd name="connsiteY27" fmla="*/ 1340885 h 1346053"/>
                <a:gd name="connsiteX28" fmla="*/ 919055 w 1395436"/>
                <a:gd name="connsiteY28" fmla="*/ 1331359 h 1346053"/>
                <a:gd name="connsiteX29" fmla="*/ 747606 w 1395436"/>
                <a:gd name="connsiteY29" fmla="*/ 1283734 h 1346053"/>
                <a:gd name="connsiteX30" fmla="*/ 657118 w 1395436"/>
                <a:gd name="connsiteY30" fmla="*/ 1252777 h 1346053"/>
                <a:gd name="connsiteX31" fmla="*/ 559486 w 1395436"/>
                <a:gd name="connsiteY31" fmla="*/ 1214678 h 1346053"/>
                <a:gd name="connsiteX32" fmla="*/ 404705 w 1395436"/>
                <a:gd name="connsiteY32" fmla="*/ 1143240 h 1346053"/>
                <a:gd name="connsiteX33" fmla="*/ 276118 w 1395436"/>
                <a:gd name="connsiteY33" fmla="*/ 1078947 h 1346053"/>
                <a:gd name="connsiteX34" fmla="*/ 114193 w 1395436"/>
                <a:gd name="connsiteY34" fmla="*/ 988459 h 1346053"/>
                <a:gd name="connsiteX35" fmla="*/ 2274 w 1395436"/>
                <a:gd name="connsiteY35" fmla="*/ 907496 h 1346053"/>
                <a:gd name="connsiteX0" fmla="*/ 2274 w 1395436"/>
                <a:gd name="connsiteY0" fmla="*/ 907496 h 1346228"/>
                <a:gd name="connsiteX1" fmla="*/ 45137 w 1395436"/>
                <a:gd name="connsiteY1" fmla="*/ 769384 h 1346228"/>
                <a:gd name="connsiteX2" fmla="*/ 118955 w 1395436"/>
                <a:gd name="connsiteY2" fmla="*/ 607458 h 1346228"/>
                <a:gd name="connsiteX3" fmla="*/ 238018 w 1395436"/>
                <a:gd name="connsiteY3" fmla="*/ 407434 h 1346228"/>
                <a:gd name="connsiteX4" fmla="*/ 340412 w 1395436"/>
                <a:gd name="connsiteY4" fmla="*/ 264558 h 1346228"/>
                <a:gd name="connsiteX5" fmla="*/ 445187 w 1395436"/>
                <a:gd name="connsiteY5" fmla="*/ 143115 h 1346228"/>
                <a:gd name="connsiteX6" fmla="*/ 545199 w 1395436"/>
                <a:gd name="connsiteY6" fmla="*/ 43103 h 1346228"/>
                <a:gd name="connsiteX7" fmla="*/ 602349 w 1395436"/>
                <a:gd name="connsiteY7" fmla="*/ 240 h 1346228"/>
                <a:gd name="connsiteX8" fmla="*/ 704744 w 1395436"/>
                <a:gd name="connsiteY8" fmla="*/ 59771 h 1346228"/>
                <a:gd name="connsiteX9" fmla="*/ 828568 w 1395436"/>
                <a:gd name="connsiteY9" fmla="*/ 152641 h 1346228"/>
                <a:gd name="connsiteX10" fmla="*/ 926198 w 1395436"/>
                <a:gd name="connsiteY10" fmla="*/ 233603 h 1346228"/>
                <a:gd name="connsiteX11" fmla="*/ 1050024 w 1395436"/>
                <a:gd name="connsiteY11" fmla="*/ 345522 h 1346228"/>
                <a:gd name="connsiteX12" fmla="*/ 1164324 w 1395436"/>
                <a:gd name="connsiteY12" fmla="*/ 457440 h 1346228"/>
                <a:gd name="connsiteX13" fmla="*/ 1238142 w 1395436"/>
                <a:gd name="connsiteY13" fmla="*/ 536021 h 1346228"/>
                <a:gd name="connsiteX14" fmla="*/ 1354824 w 1395436"/>
                <a:gd name="connsiteY14" fmla="*/ 700328 h 1346228"/>
                <a:gd name="connsiteX15" fmla="*/ 1154799 w 1395436"/>
                <a:gd name="connsiteY15" fmla="*/ 557453 h 1346228"/>
                <a:gd name="connsiteX16" fmla="*/ 1059549 w 1395436"/>
                <a:gd name="connsiteY16" fmla="*/ 676515 h 1346228"/>
                <a:gd name="connsiteX17" fmla="*/ 1173849 w 1395436"/>
                <a:gd name="connsiteY17" fmla="*/ 681278 h 1346228"/>
                <a:gd name="connsiteX18" fmla="*/ 1297674 w 1395436"/>
                <a:gd name="connsiteY18" fmla="*/ 738428 h 1346228"/>
                <a:gd name="connsiteX19" fmla="*/ 1361968 w 1395436"/>
                <a:gd name="connsiteY19" fmla="*/ 781290 h 1346228"/>
                <a:gd name="connsiteX20" fmla="*/ 1395305 w 1395436"/>
                <a:gd name="connsiteY20" fmla="*/ 840821 h 1346228"/>
                <a:gd name="connsiteX21" fmla="*/ 1369112 w 1395436"/>
                <a:gd name="connsiteY21" fmla="*/ 817009 h 1346228"/>
                <a:gd name="connsiteX22" fmla="*/ 1271480 w 1395436"/>
                <a:gd name="connsiteY22" fmla="*/ 924165 h 1346228"/>
                <a:gd name="connsiteX23" fmla="*/ 1214330 w 1395436"/>
                <a:gd name="connsiteY23" fmla="*/ 1057515 h 1346228"/>
                <a:gd name="connsiteX24" fmla="*/ 1152418 w 1395436"/>
                <a:gd name="connsiteY24" fmla="*/ 1128953 h 1346228"/>
                <a:gd name="connsiteX25" fmla="*/ 1083362 w 1395436"/>
                <a:gd name="connsiteY25" fmla="*/ 1183721 h 1346228"/>
                <a:gd name="connsiteX26" fmla="*/ 1028593 w 1395436"/>
                <a:gd name="connsiteY26" fmla="*/ 1255159 h 1346228"/>
                <a:gd name="connsiteX27" fmla="*/ 1002400 w 1395436"/>
                <a:gd name="connsiteY27" fmla="*/ 1340885 h 1346228"/>
                <a:gd name="connsiteX28" fmla="*/ 919055 w 1395436"/>
                <a:gd name="connsiteY28" fmla="*/ 1331359 h 1346228"/>
                <a:gd name="connsiteX29" fmla="*/ 747606 w 1395436"/>
                <a:gd name="connsiteY29" fmla="*/ 1283734 h 1346228"/>
                <a:gd name="connsiteX30" fmla="*/ 657118 w 1395436"/>
                <a:gd name="connsiteY30" fmla="*/ 1252777 h 1346228"/>
                <a:gd name="connsiteX31" fmla="*/ 559486 w 1395436"/>
                <a:gd name="connsiteY31" fmla="*/ 1214678 h 1346228"/>
                <a:gd name="connsiteX32" fmla="*/ 404705 w 1395436"/>
                <a:gd name="connsiteY32" fmla="*/ 1143240 h 1346228"/>
                <a:gd name="connsiteX33" fmla="*/ 276118 w 1395436"/>
                <a:gd name="connsiteY33" fmla="*/ 1078947 h 1346228"/>
                <a:gd name="connsiteX34" fmla="*/ 114193 w 1395436"/>
                <a:gd name="connsiteY34" fmla="*/ 988459 h 1346228"/>
                <a:gd name="connsiteX35" fmla="*/ 2274 w 1395436"/>
                <a:gd name="connsiteY35" fmla="*/ 907496 h 1346228"/>
                <a:gd name="connsiteX0" fmla="*/ 2274 w 1395436"/>
                <a:gd name="connsiteY0" fmla="*/ 907496 h 1354408"/>
                <a:gd name="connsiteX1" fmla="*/ 45137 w 1395436"/>
                <a:gd name="connsiteY1" fmla="*/ 769384 h 1354408"/>
                <a:gd name="connsiteX2" fmla="*/ 118955 w 1395436"/>
                <a:gd name="connsiteY2" fmla="*/ 607458 h 1354408"/>
                <a:gd name="connsiteX3" fmla="*/ 238018 w 1395436"/>
                <a:gd name="connsiteY3" fmla="*/ 407434 h 1354408"/>
                <a:gd name="connsiteX4" fmla="*/ 340412 w 1395436"/>
                <a:gd name="connsiteY4" fmla="*/ 264558 h 1354408"/>
                <a:gd name="connsiteX5" fmla="*/ 445187 w 1395436"/>
                <a:gd name="connsiteY5" fmla="*/ 143115 h 1354408"/>
                <a:gd name="connsiteX6" fmla="*/ 545199 w 1395436"/>
                <a:gd name="connsiteY6" fmla="*/ 43103 h 1354408"/>
                <a:gd name="connsiteX7" fmla="*/ 602349 w 1395436"/>
                <a:gd name="connsiteY7" fmla="*/ 240 h 1354408"/>
                <a:gd name="connsiteX8" fmla="*/ 704744 w 1395436"/>
                <a:gd name="connsiteY8" fmla="*/ 59771 h 1354408"/>
                <a:gd name="connsiteX9" fmla="*/ 828568 w 1395436"/>
                <a:gd name="connsiteY9" fmla="*/ 152641 h 1354408"/>
                <a:gd name="connsiteX10" fmla="*/ 926198 w 1395436"/>
                <a:gd name="connsiteY10" fmla="*/ 233603 h 1354408"/>
                <a:gd name="connsiteX11" fmla="*/ 1050024 w 1395436"/>
                <a:gd name="connsiteY11" fmla="*/ 345522 h 1354408"/>
                <a:gd name="connsiteX12" fmla="*/ 1164324 w 1395436"/>
                <a:gd name="connsiteY12" fmla="*/ 457440 h 1354408"/>
                <a:gd name="connsiteX13" fmla="*/ 1238142 w 1395436"/>
                <a:gd name="connsiteY13" fmla="*/ 536021 h 1354408"/>
                <a:gd name="connsiteX14" fmla="*/ 1354824 w 1395436"/>
                <a:gd name="connsiteY14" fmla="*/ 700328 h 1354408"/>
                <a:gd name="connsiteX15" fmla="*/ 1154799 w 1395436"/>
                <a:gd name="connsiteY15" fmla="*/ 557453 h 1354408"/>
                <a:gd name="connsiteX16" fmla="*/ 1059549 w 1395436"/>
                <a:gd name="connsiteY16" fmla="*/ 676515 h 1354408"/>
                <a:gd name="connsiteX17" fmla="*/ 1173849 w 1395436"/>
                <a:gd name="connsiteY17" fmla="*/ 681278 h 1354408"/>
                <a:gd name="connsiteX18" fmla="*/ 1297674 w 1395436"/>
                <a:gd name="connsiteY18" fmla="*/ 738428 h 1354408"/>
                <a:gd name="connsiteX19" fmla="*/ 1361968 w 1395436"/>
                <a:gd name="connsiteY19" fmla="*/ 781290 h 1354408"/>
                <a:gd name="connsiteX20" fmla="*/ 1395305 w 1395436"/>
                <a:gd name="connsiteY20" fmla="*/ 840821 h 1354408"/>
                <a:gd name="connsiteX21" fmla="*/ 1369112 w 1395436"/>
                <a:gd name="connsiteY21" fmla="*/ 817009 h 1354408"/>
                <a:gd name="connsiteX22" fmla="*/ 1271480 w 1395436"/>
                <a:gd name="connsiteY22" fmla="*/ 924165 h 1354408"/>
                <a:gd name="connsiteX23" fmla="*/ 1214330 w 1395436"/>
                <a:gd name="connsiteY23" fmla="*/ 1057515 h 1354408"/>
                <a:gd name="connsiteX24" fmla="*/ 1152418 w 1395436"/>
                <a:gd name="connsiteY24" fmla="*/ 1128953 h 1354408"/>
                <a:gd name="connsiteX25" fmla="*/ 1083362 w 1395436"/>
                <a:gd name="connsiteY25" fmla="*/ 1183721 h 1354408"/>
                <a:gd name="connsiteX26" fmla="*/ 1028593 w 1395436"/>
                <a:gd name="connsiteY26" fmla="*/ 1255159 h 1354408"/>
                <a:gd name="connsiteX27" fmla="*/ 1047644 w 1395436"/>
                <a:gd name="connsiteY27" fmla="*/ 1350410 h 1354408"/>
                <a:gd name="connsiteX28" fmla="*/ 919055 w 1395436"/>
                <a:gd name="connsiteY28" fmla="*/ 1331359 h 1354408"/>
                <a:gd name="connsiteX29" fmla="*/ 747606 w 1395436"/>
                <a:gd name="connsiteY29" fmla="*/ 1283734 h 1354408"/>
                <a:gd name="connsiteX30" fmla="*/ 657118 w 1395436"/>
                <a:gd name="connsiteY30" fmla="*/ 1252777 h 1354408"/>
                <a:gd name="connsiteX31" fmla="*/ 559486 w 1395436"/>
                <a:gd name="connsiteY31" fmla="*/ 1214678 h 1354408"/>
                <a:gd name="connsiteX32" fmla="*/ 404705 w 1395436"/>
                <a:gd name="connsiteY32" fmla="*/ 1143240 h 1354408"/>
                <a:gd name="connsiteX33" fmla="*/ 276118 w 1395436"/>
                <a:gd name="connsiteY33" fmla="*/ 1078947 h 1354408"/>
                <a:gd name="connsiteX34" fmla="*/ 114193 w 1395436"/>
                <a:gd name="connsiteY34" fmla="*/ 988459 h 1354408"/>
                <a:gd name="connsiteX35" fmla="*/ 2274 w 1395436"/>
                <a:gd name="connsiteY35" fmla="*/ 907496 h 1354408"/>
                <a:gd name="connsiteX0" fmla="*/ 2274 w 1395436"/>
                <a:gd name="connsiteY0" fmla="*/ 907496 h 1355871"/>
                <a:gd name="connsiteX1" fmla="*/ 45137 w 1395436"/>
                <a:gd name="connsiteY1" fmla="*/ 769384 h 1355871"/>
                <a:gd name="connsiteX2" fmla="*/ 118955 w 1395436"/>
                <a:gd name="connsiteY2" fmla="*/ 607458 h 1355871"/>
                <a:gd name="connsiteX3" fmla="*/ 238018 w 1395436"/>
                <a:gd name="connsiteY3" fmla="*/ 407434 h 1355871"/>
                <a:gd name="connsiteX4" fmla="*/ 340412 w 1395436"/>
                <a:gd name="connsiteY4" fmla="*/ 264558 h 1355871"/>
                <a:gd name="connsiteX5" fmla="*/ 445187 w 1395436"/>
                <a:gd name="connsiteY5" fmla="*/ 143115 h 1355871"/>
                <a:gd name="connsiteX6" fmla="*/ 545199 w 1395436"/>
                <a:gd name="connsiteY6" fmla="*/ 43103 h 1355871"/>
                <a:gd name="connsiteX7" fmla="*/ 602349 w 1395436"/>
                <a:gd name="connsiteY7" fmla="*/ 240 h 1355871"/>
                <a:gd name="connsiteX8" fmla="*/ 704744 w 1395436"/>
                <a:gd name="connsiteY8" fmla="*/ 59771 h 1355871"/>
                <a:gd name="connsiteX9" fmla="*/ 828568 w 1395436"/>
                <a:gd name="connsiteY9" fmla="*/ 152641 h 1355871"/>
                <a:gd name="connsiteX10" fmla="*/ 926198 w 1395436"/>
                <a:gd name="connsiteY10" fmla="*/ 233603 h 1355871"/>
                <a:gd name="connsiteX11" fmla="*/ 1050024 w 1395436"/>
                <a:gd name="connsiteY11" fmla="*/ 345522 h 1355871"/>
                <a:gd name="connsiteX12" fmla="*/ 1164324 w 1395436"/>
                <a:gd name="connsiteY12" fmla="*/ 457440 h 1355871"/>
                <a:gd name="connsiteX13" fmla="*/ 1238142 w 1395436"/>
                <a:gd name="connsiteY13" fmla="*/ 536021 h 1355871"/>
                <a:gd name="connsiteX14" fmla="*/ 1354824 w 1395436"/>
                <a:gd name="connsiteY14" fmla="*/ 700328 h 1355871"/>
                <a:gd name="connsiteX15" fmla="*/ 1154799 w 1395436"/>
                <a:gd name="connsiteY15" fmla="*/ 557453 h 1355871"/>
                <a:gd name="connsiteX16" fmla="*/ 1059549 w 1395436"/>
                <a:gd name="connsiteY16" fmla="*/ 676515 h 1355871"/>
                <a:gd name="connsiteX17" fmla="*/ 1173849 w 1395436"/>
                <a:gd name="connsiteY17" fmla="*/ 681278 h 1355871"/>
                <a:gd name="connsiteX18" fmla="*/ 1297674 w 1395436"/>
                <a:gd name="connsiteY18" fmla="*/ 738428 h 1355871"/>
                <a:gd name="connsiteX19" fmla="*/ 1361968 w 1395436"/>
                <a:gd name="connsiteY19" fmla="*/ 781290 h 1355871"/>
                <a:gd name="connsiteX20" fmla="*/ 1395305 w 1395436"/>
                <a:gd name="connsiteY20" fmla="*/ 840821 h 1355871"/>
                <a:gd name="connsiteX21" fmla="*/ 1369112 w 1395436"/>
                <a:gd name="connsiteY21" fmla="*/ 817009 h 1355871"/>
                <a:gd name="connsiteX22" fmla="*/ 1271480 w 1395436"/>
                <a:gd name="connsiteY22" fmla="*/ 924165 h 1355871"/>
                <a:gd name="connsiteX23" fmla="*/ 1214330 w 1395436"/>
                <a:gd name="connsiteY23" fmla="*/ 1057515 h 1355871"/>
                <a:gd name="connsiteX24" fmla="*/ 1152418 w 1395436"/>
                <a:gd name="connsiteY24" fmla="*/ 1128953 h 1355871"/>
                <a:gd name="connsiteX25" fmla="*/ 1083362 w 1395436"/>
                <a:gd name="connsiteY25" fmla="*/ 1183721 h 1355871"/>
                <a:gd name="connsiteX26" fmla="*/ 1028593 w 1395436"/>
                <a:gd name="connsiteY26" fmla="*/ 1255159 h 1355871"/>
                <a:gd name="connsiteX27" fmla="*/ 1080978 w 1395436"/>
                <a:gd name="connsiteY27" fmla="*/ 1233726 h 1355871"/>
                <a:gd name="connsiteX28" fmla="*/ 1047644 w 1395436"/>
                <a:gd name="connsiteY28" fmla="*/ 1350410 h 1355871"/>
                <a:gd name="connsiteX29" fmla="*/ 919055 w 1395436"/>
                <a:gd name="connsiteY29" fmla="*/ 1331359 h 1355871"/>
                <a:gd name="connsiteX30" fmla="*/ 747606 w 1395436"/>
                <a:gd name="connsiteY30" fmla="*/ 1283734 h 1355871"/>
                <a:gd name="connsiteX31" fmla="*/ 657118 w 1395436"/>
                <a:gd name="connsiteY31" fmla="*/ 1252777 h 1355871"/>
                <a:gd name="connsiteX32" fmla="*/ 559486 w 1395436"/>
                <a:gd name="connsiteY32" fmla="*/ 1214678 h 1355871"/>
                <a:gd name="connsiteX33" fmla="*/ 404705 w 1395436"/>
                <a:gd name="connsiteY33" fmla="*/ 1143240 h 1355871"/>
                <a:gd name="connsiteX34" fmla="*/ 276118 w 1395436"/>
                <a:gd name="connsiteY34" fmla="*/ 1078947 h 1355871"/>
                <a:gd name="connsiteX35" fmla="*/ 114193 w 1395436"/>
                <a:gd name="connsiteY35" fmla="*/ 988459 h 1355871"/>
                <a:gd name="connsiteX36" fmla="*/ 2274 w 1395436"/>
                <a:gd name="connsiteY36" fmla="*/ 907496 h 1355871"/>
                <a:gd name="connsiteX0" fmla="*/ 2274 w 1395436"/>
                <a:gd name="connsiteY0" fmla="*/ 907496 h 1355871"/>
                <a:gd name="connsiteX1" fmla="*/ 45137 w 1395436"/>
                <a:gd name="connsiteY1" fmla="*/ 769384 h 1355871"/>
                <a:gd name="connsiteX2" fmla="*/ 118955 w 1395436"/>
                <a:gd name="connsiteY2" fmla="*/ 607458 h 1355871"/>
                <a:gd name="connsiteX3" fmla="*/ 238018 w 1395436"/>
                <a:gd name="connsiteY3" fmla="*/ 407434 h 1355871"/>
                <a:gd name="connsiteX4" fmla="*/ 340412 w 1395436"/>
                <a:gd name="connsiteY4" fmla="*/ 264558 h 1355871"/>
                <a:gd name="connsiteX5" fmla="*/ 445187 w 1395436"/>
                <a:gd name="connsiteY5" fmla="*/ 143115 h 1355871"/>
                <a:gd name="connsiteX6" fmla="*/ 545199 w 1395436"/>
                <a:gd name="connsiteY6" fmla="*/ 43103 h 1355871"/>
                <a:gd name="connsiteX7" fmla="*/ 602349 w 1395436"/>
                <a:gd name="connsiteY7" fmla="*/ 240 h 1355871"/>
                <a:gd name="connsiteX8" fmla="*/ 704744 w 1395436"/>
                <a:gd name="connsiteY8" fmla="*/ 59771 h 1355871"/>
                <a:gd name="connsiteX9" fmla="*/ 828568 w 1395436"/>
                <a:gd name="connsiteY9" fmla="*/ 152641 h 1355871"/>
                <a:gd name="connsiteX10" fmla="*/ 926198 w 1395436"/>
                <a:gd name="connsiteY10" fmla="*/ 233603 h 1355871"/>
                <a:gd name="connsiteX11" fmla="*/ 1050024 w 1395436"/>
                <a:gd name="connsiteY11" fmla="*/ 345522 h 1355871"/>
                <a:gd name="connsiteX12" fmla="*/ 1164324 w 1395436"/>
                <a:gd name="connsiteY12" fmla="*/ 457440 h 1355871"/>
                <a:gd name="connsiteX13" fmla="*/ 1238142 w 1395436"/>
                <a:gd name="connsiteY13" fmla="*/ 536021 h 1355871"/>
                <a:gd name="connsiteX14" fmla="*/ 1354824 w 1395436"/>
                <a:gd name="connsiteY14" fmla="*/ 700328 h 1355871"/>
                <a:gd name="connsiteX15" fmla="*/ 1154799 w 1395436"/>
                <a:gd name="connsiteY15" fmla="*/ 557453 h 1355871"/>
                <a:gd name="connsiteX16" fmla="*/ 1059549 w 1395436"/>
                <a:gd name="connsiteY16" fmla="*/ 676515 h 1355871"/>
                <a:gd name="connsiteX17" fmla="*/ 1173849 w 1395436"/>
                <a:gd name="connsiteY17" fmla="*/ 681278 h 1355871"/>
                <a:gd name="connsiteX18" fmla="*/ 1297674 w 1395436"/>
                <a:gd name="connsiteY18" fmla="*/ 738428 h 1355871"/>
                <a:gd name="connsiteX19" fmla="*/ 1361968 w 1395436"/>
                <a:gd name="connsiteY19" fmla="*/ 781290 h 1355871"/>
                <a:gd name="connsiteX20" fmla="*/ 1395305 w 1395436"/>
                <a:gd name="connsiteY20" fmla="*/ 840821 h 1355871"/>
                <a:gd name="connsiteX21" fmla="*/ 1369112 w 1395436"/>
                <a:gd name="connsiteY21" fmla="*/ 817009 h 1355871"/>
                <a:gd name="connsiteX22" fmla="*/ 1271480 w 1395436"/>
                <a:gd name="connsiteY22" fmla="*/ 924165 h 1355871"/>
                <a:gd name="connsiteX23" fmla="*/ 1214330 w 1395436"/>
                <a:gd name="connsiteY23" fmla="*/ 1057515 h 1355871"/>
                <a:gd name="connsiteX24" fmla="*/ 1152418 w 1395436"/>
                <a:gd name="connsiteY24" fmla="*/ 1128953 h 1355871"/>
                <a:gd name="connsiteX25" fmla="*/ 1133368 w 1395436"/>
                <a:gd name="connsiteY25" fmla="*/ 1155146 h 1355871"/>
                <a:gd name="connsiteX26" fmla="*/ 1028593 w 1395436"/>
                <a:gd name="connsiteY26" fmla="*/ 1255159 h 1355871"/>
                <a:gd name="connsiteX27" fmla="*/ 1080978 w 1395436"/>
                <a:gd name="connsiteY27" fmla="*/ 1233726 h 1355871"/>
                <a:gd name="connsiteX28" fmla="*/ 1047644 w 1395436"/>
                <a:gd name="connsiteY28" fmla="*/ 1350410 h 1355871"/>
                <a:gd name="connsiteX29" fmla="*/ 919055 w 1395436"/>
                <a:gd name="connsiteY29" fmla="*/ 1331359 h 1355871"/>
                <a:gd name="connsiteX30" fmla="*/ 747606 w 1395436"/>
                <a:gd name="connsiteY30" fmla="*/ 1283734 h 1355871"/>
                <a:gd name="connsiteX31" fmla="*/ 657118 w 1395436"/>
                <a:gd name="connsiteY31" fmla="*/ 1252777 h 1355871"/>
                <a:gd name="connsiteX32" fmla="*/ 559486 w 1395436"/>
                <a:gd name="connsiteY32" fmla="*/ 1214678 h 1355871"/>
                <a:gd name="connsiteX33" fmla="*/ 404705 w 1395436"/>
                <a:gd name="connsiteY33" fmla="*/ 1143240 h 1355871"/>
                <a:gd name="connsiteX34" fmla="*/ 276118 w 1395436"/>
                <a:gd name="connsiteY34" fmla="*/ 1078947 h 1355871"/>
                <a:gd name="connsiteX35" fmla="*/ 114193 w 1395436"/>
                <a:gd name="connsiteY35" fmla="*/ 988459 h 1355871"/>
                <a:gd name="connsiteX36" fmla="*/ 2274 w 1395436"/>
                <a:gd name="connsiteY36" fmla="*/ 907496 h 1355871"/>
                <a:gd name="connsiteX0" fmla="*/ 2274 w 1395436"/>
                <a:gd name="connsiteY0" fmla="*/ 907496 h 1355871"/>
                <a:gd name="connsiteX1" fmla="*/ 45137 w 1395436"/>
                <a:gd name="connsiteY1" fmla="*/ 769384 h 1355871"/>
                <a:gd name="connsiteX2" fmla="*/ 118955 w 1395436"/>
                <a:gd name="connsiteY2" fmla="*/ 607458 h 1355871"/>
                <a:gd name="connsiteX3" fmla="*/ 238018 w 1395436"/>
                <a:gd name="connsiteY3" fmla="*/ 407434 h 1355871"/>
                <a:gd name="connsiteX4" fmla="*/ 340412 w 1395436"/>
                <a:gd name="connsiteY4" fmla="*/ 264558 h 1355871"/>
                <a:gd name="connsiteX5" fmla="*/ 445187 w 1395436"/>
                <a:gd name="connsiteY5" fmla="*/ 143115 h 1355871"/>
                <a:gd name="connsiteX6" fmla="*/ 545199 w 1395436"/>
                <a:gd name="connsiteY6" fmla="*/ 43103 h 1355871"/>
                <a:gd name="connsiteX7" fmla="*/ 602349 w 1395436"/>
                <a:gd name="connsiteY7" fmla="*/ 240 h 1355871"/>
                <a:gd name="connsiteX8" fmla="*/ 704744 w 1395436"/>
                <a:gd name="connsiteY8" fmla="*/ 59771 h 1355871"/>
                <a:gd name="connsiteX9" fmla="*/ 828568 w 1395436"/>
                <a:gd name="connsiteY9" fmla="*/ 152641 h 1355871"/>
                <a:gd name="connsiteX10" fmla="*/ 926198 w 1395436"/>
                <a:gd name="connsiteY10" fmla="*/ 233603 h 1355871"/>
                <a:gd name="connsiteX11" fmla="*/ 1050024 w 1395436"/>
                <a:gd name="connsiteY11" fmla="*/ 345522 h 1355871"/>
                <a:gd name="connsiteX12" fmla="*/ 1164324 w 1395436"/>
                <a:gd name="connsiteY12" fmla="*/ 457440 h 1355871"/>
                <a:gd name="connsiteX13" fmla="*/ 1238142 w 1395436"/>
                <a:gd name="connsiteY13" fmla="*/ 536021 h 1355871"/>
                <a:gd name="connsiteX14" fmla="*/ 1354824 w 1395436"/>
                <a:gd name="connsiteY14" fmla="*/ 700328 h 1355871"/>
                <a:gd name="connsiteX15" fmla="*/ 1154799 w 1395436"/>
                <a:gd name="connsiteY15" fmla="*/ 557453 h 1355871"/>
                <a:gd name="connsiteX16" fmla="*/ 1059549 w 1395436"/>
                <a:gd name="connsiteY16" fmla="*/ 676515 h 1355871"/>
                <a:gd name="connsiteX17" fmla="*/ 1173849 w 1395436"/>
                <a:gd name="connsiteY17" fmla="*/ 681278 h 1355871"/>
                <a:gd name="connsiteX18" fmla="*/ 1297674 w 1395436"/>
                <a:gd name="connsiteY18" fmla="*/ 738428 h 1355871"/>
                <a:gd name="connsiteX19" fmla="*/ 1361968 w 1395436"/>
                <a:gd name="connsiteY19" fmla="*/ 781290 h 1355871"/>
                <a:gd name="connsiteX20" fmla="*/ 1395305 w 1395436"/>
                <a:gd name="connsiteY20" fmla="*/ 840821 h 1355871"/>
                <a:gd name="connsiteX21" fmla="*/ 1369112 w 1395436"/>
                <a:gd name="connsiteY21" fmla="*/ 817009 h 1355871"/>
                <a:gd name="connsiteX22" fmla="*/ 1271480 w 1395436"/>
                <a:gd name="connsiteY22" fmla="*/ 924165 h 1355871"/>
                <a:gd name="connsiteX23" fmla="*/ 1214330 w 1395436"/>
                <a:gd name="connsiteY23" fmla="*/ 1057515 h 1355871"/>
                <a:gd name="connsiteX24" fmla="*/ 1152418 w 1395436"/>
                <a:gd name="connsiteY24" fmla="*/ 1128953 h 1355871"/>
                <a:gd name="connsiteX25" fmla="*/ 1133368 w 1395436"/>
                <a:gd name="connsiteY25" fmla="*/ 1155146 h 1355871"/>
                <a:gd name="connsiteX26" fmla="*/ 1097649 w 1395436"/>
                <a:gd name="connsiteY26" fmla="*/ 1183722 h 1355871"/>
                <a:gd name="connsiteX27" fmla="*/ 1080978 w 1395436"/>
                <a:gd name="connsiteY27" fmla="*/ 1233726 h 1355871"/>
                <a:gd name="connsiteX28" fmla="*/ 1047644 w 1395436"/>
                <a:gd name="connsiteY28" fmla="*/ 1350410 h 1355871"/>
                <a:gd name="connsiteX29" fmla="*/ 919055 w 1395436"/>
                <a:gd name="connsiteY29" fmla="*/ 1331359 h 1355871"/>
                <a:gd name="connsiteX30" fmla="*/ 747606 w 1395436"/>
                <a:gd name="connsiteY30" fmla="*/ 1283734 h 1355871"/>
                <a:gd name="connsiteX31" fmla="*/ 657118 w 1395436"/>
                <a:gd name="connsiteY31" fmla="*/ 1252777 h 1355871"/>
                <a:gd name="connsiteX32" fmla="*/ 559486 w 1395436"/>
                <a:gd name="connsiteY32" fmla="*/ 1214678 h 1355871"/>
                <a:gd name="connsiteX33" fmla="*/ 404705 w 1395436"/>
                <a:gd name="connsiteY33" fmla="*/ 1143240 h 1355871"/>
                <a:gd name="connsiteX34" fmla="*/ 276118 w 1395436"/>
                <a:gd name="connsiteY34" fmla="*/ 1078947 h 1355871"/>
                <a:gd name="connsiteX35" fmla="*/ 114193 w 1395436"/>
                <a:gd name="connsiteY35" fmla="*/ 988459 h 1355871"/>
                <a:gd name="connsiteX36" fmla="*/ 2274 w 1395436"/>
                <a:gd name="connsiteY36" fmla="*/ 907496 h 1355871"/>
                <a:gd name="connsiteX0" fmla="*/ 2274 w 1395436"/>
                <a:gd name="connsiteY0" fmla="*/ 907496 h 1357976"/>
                <a:gd name="connsiteX1" fmla="*/ 45137 w 1395436"/>
                <a:gd name="connsiteY1" fmla="*/ 769384 h 1357976"/>
                <a:gd name="connsiteX2" fmla="*/ 118955 w 1395436"/>
                <a:gd name="connsiteY2" fmla="*/ 607458 h 1357976"/>
                <a:gd name="connsiteX3" fmla="*/ 238018 w 1395436"/>
                <a:gd name="connsiteY3" fmla="*/ 407434 h 1357976"/>
                <a:gd name="connsiteX4" fmla="*/ 340412 w 1395436"/>
                <a:gd name="connsiteY4" fmla="*/ 264558 h 1357976"/>
                <a:gd name="connsiteX5" fmla="*/ 445187 w 1395436"/>
                <a:gd name="connsiteY5" fmla="*/ 143115 h 1357976"/>
                <a:gd name="connsiteX6" fmla="*/ 545199 w 1395436"/>
                <a:gd name="connsiteY6" fmla="*/ 43103 h 1357976"/>
                <a:gd name="connsiteX7" fmla="*/ 602349 w 1395436"/>
                <a:gd name="connsiteY7" fmla="*/ 240 h 1357976"/>
                <a:gd name="connsiteX8" fmla="*/ 704744 w 1395436"/>
                <a:gd name="connsiteY8" fmla="*/ 59771 h 1357976"/>
                <a:gd name="connsiteX9" fmla="*/ 828568 w 1395436"/>
                <a:gd name="connsiteY9" fmla="*/ 152641 h 1357976"/>
                <a:gd name="connsiteX10" fmla="*/ 926198 w 1395436"/>
                <a:gd name="connsiteY10" fmla="*/ 233603 h 1357976"/>
                <a:gd name="connsiteX11" fmla="*/ 1050024 w 1395436"/>
                <a:gd name="connsiteY11" fmla="*/ 345522 h 1357976"/>
                <a:gd name="connsiteX12" fmla="*/ 1164324 w 1395436"/>
                <a:gd name="connsiteY12" fmla="*/ 457440 h 1357976"/>
                <a:gd name="connsiteX13" fmla="*/ 1238142 w 1395436"/>
                <a:gd name="connsiteY13" fmla="*/ 536021 h 1357976"/>
                <a:gd name="connsiteX14" fmla="*/ 1354824 w 1395436"/>
                <a:gd name="connsiteY14" fmla="*/ 700328 h 1357976"/>
                <a:gd name="connsiteX15" fmla="*/ 1154799 w 1395436"/>
                <a:gd name="connsiteY15" fmla="*/ 557453 h 1357976"/>
                <a:gd name="connsiteX16" fmla="*/ 1059549 w 1395436"/>
                <a:gd name="connsiteY16" fmla="*/ 676515 h 1357976"/>
                <a:gd name="connsiteX17" fmla="*/ 1173849 w 1395436"/>
                <a:gd name="connsiteY17" fmla="*/ 681278 h 1357976"/>
                <a:gd name="connsiteX18" fmla="*/ 1297674 w 1395436"/>
                <a:gd name="connsiteY18" fmla="*/ 738428 h 1357976"/>
                <a:gd name="connsiteX19" fmla="*/ 1361968 w 1395436"/>
                <a:gd name="connsiteY19" fmla="*/ 781290 h 1357976"/>
                <a:gd name="connsiteX20" fmla="*/ 1395305 w 1395436"/>
                <a:gd name="connsiteY20" fmla="*/ 840821 h 1357976"/>
                <a:gd name="connsiteX21" fmla="*/ 1369112 w 1395436"/>
                <a:gd name="connsiteY21" fmla="*/ 817009 h 1357976"/>
                <a:gd name="connsiteX22" fmla="*/ 1271480 w 1395436"/>
                <a:gd name="connsiteY22" fmla="*/ 924165 h 1357976"/>
                <a:gd name="connsiteX23" fmla="*/ 1214330 w 1395436"/>
                <a:gd name="connsiteY23" fmla="*/ 1057515 h 1357976"/>
                <a:gd name="connsiteX24" fmla="*/ 1152418 w 1395436"/>
                <a:gd name="connsiteY24" fmla="*/ 1128953 h 1357976"/>
                <a:gd name="connsiteX25" fmla="*/ 1133368 w 1395436"/>
                <a:gd name="connsiteY25" fmla="*/ 1155146 h 1357976"/>
                <a:gd name="connsiteX26" fmla="*/ 1097649 w 1395436"/>
                <a:gd name="connsiteY26" fmla="*/ 1183722 h 1357976"/>
                <a:gd name="connsiteX27" fmla="*/ 1080978 w 1395436"/>
                <a:gd name="connsiteY27" fmla="*/ 1233726 h 1357976"/>
                <a:gd name="connsiteX28" fmla="*/ 1057169 w 1395436"/>
                <a:gd name="connsiteY28" fmla="*/ 1352791 h 1357976"/>
                <a:gd name="connsiteX29" fmla="*/ 919055 w 1395436"/>
                <a:gd name="connsiteY29" fmla="*/ 1331359 h 1357976"/>
                <a:gd name="connsiteX30" fmla="*/ 747606 w 1395436"/>
                <a:gd name="connsiteY30" fmla="*/ 1283734 h 1357976"/>
                <a:gd name="connsiteX31" fmla="*/ 657118 w 1395436"/>
                <a:gd name="connsiteY31" fmla="*/ 1252777 h 1357976"/>
                <a:gd name="connsiteX32" fmla="*/ 559486 w 1395436"/>
                <a:gd name="connsiteY32" fmla="*/ 1214678 h 1357976"/>
                <a:gd name="connsiteX33" fmla="*/ 404705 w 1395436"/>
                <a:gd name="connsiteY33" fmla="*/ 1143240 h 1357976"/>
                <a:gd name="connsiteX34" fmla="*/ 276118 w 1395436"/>
                <a:gd name="connsiteY34" fmla="*/ 1078947 h 1357976"/>
                <a:gd name="connsiteX35" fmla="*/ 114193 w 1395436"/>
                <a:gd name="connsiteY35" fmla="*/ 988459 h 1357976"/>
                <a:gd name="connsiteX36" fmla="*/ 2274 w 1395436"/>
                <a:gd name="connsiteY36" fmla="*/ 907496 h 1357976"/>
                <a:gd name="connsiteX0" fmla="*/ 2274 w 1395436"/>
                <a:gd name="connsiteY0" fmla="*/ 907496 h 1365004"/>
                <a:gd name="connsiteX1" fmla="*/ 45137 w 1395436"/>
                <a:gd name="connsiteY1" fmla="*/ 769384 h 1365004"/>
                <a:gd name="connsiteX2" fmla="*/ 118955 w 1395436"/>
                <a:gd name="connsiteY2" fmla="*/ 607458 h 1365004"/>
                <a:gd name="connsiteX3" fmla="*/ 238018 w 1395436"/>
                <a:gd name="connsiteY3" fmla="*/ 407434 h 1365004"/>
                <a:gd name="connsiteX4" fmla="*/ 340412 w 1395436"/>
                <a:gd name="connsiteY4" fmla="*/ 264558 h 1365004"/>
                <a:gd name="connsiteX5" fmla="*/ 445187 w 1395436"/>
                <a:gd name="connsiteY5" fmla="*/ 143115 h 1365004"/>
                <a:gd name="connsiteX6" fmla="*/ 545199 w 1395436"/>
                <a:gd name="connsiteY6" fmla="*/ 43103 h 1365004"/>
                <a:gd name="connsiteX7" fmla="*/ 602349 w 1395436"/>
                <a:gd name="connsiteY7" fmla="*/ 240 h 1365004"/>
                <a:gd name="connsiteX8" fmla="*/ 704744 w 1395436"/>
                <a:gd name="connsiteY8" fmla="*/ 59771 h 1365004"/>
                <a:gd name="connsiteX9" fmla="*/ 828568 w 1395436"/>
                <a:gd name="connsiteY9" fmla="*/ 152641 h 1365004"/>
                <a:gd name="connsiteX10" fmla="*/ 926198 w 1395436"/>
                <a:gd name="connsiteY10" fmla="*/ 233603 h 1365004"/>
                <a:gd name="connsiteX11" fmla="*/ 1050024 w 1395436"/>
                <a:gd name="connsiteY11" fmla="*/ 345522 h 1365004"/>
                <a:gd name="connsiteX12" fmla="*/ 1164324 w 1395436"/>
                <a:gd name="connsiteY12" fmla="*/ 457440 h 1365004"/>
                <a:gd name="connsiteX13" fmla="*/ 1238142 w 1395436"/>
                <a:gd name="connsiteY13" fmla="*/ 536021 h 1365004"/>
                <a:gd name="connsiteX14" fmla="*/ 1354824 w 1395436"/>
                <a:gd name="connsiteY14" fmla="*/ 700328 h 1365004"/>
                <a:gd name="connsiteX15" fmla="*/ 1154799 w 1395436"/>
                <a:gd name="connsiteY15" fmla="*/ 557453 h 1365004"/>
                <a:gd name="connsiteX16" fmla="*/ 1059549 w 1395436"/>
                <a:gd name="connsiteY16" fmla="*/ 676515 h 1365004"/>
                <a:gd name="connsiteX17" fmla="*/ 1173849 w 1395436"/>
                <a:gd name="connsiteY17" fmla="*/ 681278 h 1365004"/>
                <a:gd name="connsiteX18" fmla="*/ 1297674 w 1395436"/>
                <a:gd name="connsiteY18" fmla="*/ 738428 h 1365004"/>
                <a:gd name="connsiteX19" fmla="*/ 1361968 w 1395436"/>
                <a:gd name="connsiteY19" fmla="*/ 781290 h 1365004"/>
                <a:gd name="connsiteX20" fmla="*/ 1395305 w 1395436"/>
                <a:gd name="connsiteY20" fmla="*/ 840821 h 1365004"/>
                <a:gd name="connsiteX21" fmla="*/ 1369112 w 1395436"/>
                <a:gd name="connsiteY21" fmla="*/ 817009 h 1365004"/>
                <a:gd name="connsiteX22" fmla="*/ 1271480 w 1395436"/>
                <a:gd name="connsiteY22" fmla="*/ 924165 h 1365004"/>
                <a:gd name="connsiteX23" fmla="*/ 1214330 w 1395436"/>
                <a:gd name="connsiteY23" fmla="*/ 1057515 h 1365004"/>
                <a:gd name="connsiteX24" fmla="*/ 1152418 w 1395436"/>
                <a:gd name="connsiteY24" fmla="*/ 1128953 h 1365004"/>
                <a:gd name="connsiteX25" fmla="*/ 1133368 w 1395436"/>
                <a:gd name="connsiteY25" fmla="*/ 1155146 h 1365004"/>
                <a:gd name="connsiteX26" fmla="*/ 1097649 w 1395436"/>
                <a:gd name="connsiteY26" fmla="*/ 1183722 h 1365004"/>
                <a:gd name="connsiteX27" fmla="*/ 1080978 w 1395436"/>
                <a:gd name="connsiteY27" fmla="*/ 1233726 h 1365004"/>
                <a:gd name="connsiteX28" fmla="*/ 1057169 w 1395436"/>
                <a:gd name="connsiteY28" fmla="*/ 1352791 h 1365004"/>
                <a:gd name="connsiteX29" fmla="*/ 919055 w 1395436"/>
                <a:gd name="connsiteY29" fmla="*/ 1331359 h 1365004"/>
                <a:gd name="connsiteX30" fmla="*/ 747606 w 1395436"/>
                <a:gd name="connsiteY30" fmla="*/ 1283734 h 1365004"/>
                <a:gd name="connsiteX31" fmla="*/ 657118 w 1395436"/>
                <a:gd name="connsiteY31" fmla="*/ 1252777 h 1365004"/>
                <a:gd name="connsiteX32" fmla="*/ 559486 w 1395436"/>
                <a:gd name="connsiteY32" fmla="*/ 1214678 h 1365004"/>
                <a:gd name="connsiteX33" fmla="*/ 404705 w 1395436"/>
                <a:gd name="connsiteY33" fmla="*/ 1143240 h 1365004"/>
                <a:gd name="connsiteX34" fmla="*/ 276118 w 1395436"/>
                <a:gd name="connsiteY34" fmla="*/ 1078947 h 1365004"/>
                <a:gd name="connsiteX35" fmla="*/ 114193 w 1395436"/>
                <a:gd name="connsiteY35" fmla="*/ 988459 h 1365004"/>
                <a:gd name="connsiteX36" fmla="*/ 2274 w 1395436"/>
                <a:gd name="connsiteY36" fmla="*/ 907496 h 1365004"/>
                <a:gd name="connsiteX0" fmla="*/ 2274 w 1395436"/>
                <a:gd name="connsiteY0" fmla="*/ 907496 h 1357976"/>
                <a:gd name="connsiteX1" fmla="*/ 45137 w 1395436"/>
                <a:gd name="connsiteY1" fmla="*/ 769384 h 1357976"/>
                <a:gd name="connsiteX2" fmla="*/ 118955 w 1395436"/>
                <a:gd name="connsiteY2" fmla="*/ 607458 h 1357976"/>
                <a:gd name="connsiteX3" fmla="*/ 238018 w 1395436"/>
                <a:gd name="connsiteY3" fmla="*/ 407434 h 1357976"/>
                <a:gd name="connsiteX4" fmla="*/ 340412 w 1395436"/>
                <a:gd name="connsiteY4" fmla="*/ 264558 h 1357976"/>
                <a:gd name="connsiteX5" fmla="*/ 445187 w 1395436"/>
                <a:gd name="connsiteY5" fmla="*/ 143115 h 1357976"/>
                <a:gd name="connsiteX6" fmla="*/ 545199 w 1395436"/>
                <a:gd name="connsiteY6" fmla="*/ 43103 h 1357976"/>
                <a:gd name="connsiteX7" fmla="*/ 602349 w 1395436"/>
                <a:gd name="connsiteY7" fmla="*/ 240 h 1357976"/>
                <a:gd name="connsiteX8" fmla="*/ 704744 w 1395436"/>
                <a:gd name="connsiteY8" fmla="*/ 59771 h 1357976"/>
                <a:gd name="connsiteX9" fmla="*/ 828568 w 1395436"/>
                <a:gd name="connsiteY9" fmla="*/ 152641 h 1357976"/>
                <a:gd name="connsiteX10" fmla="*/ 926198 w 1395436"/>
                <a:gd name="connsiteY10" fmla="*/ 233603 h 1357976"/>
                <a:gd name="connsiteX11" fmla="*/ 1050024 w 1395436"/>
                <a:gd name="connsiteY11" fmla="*/ 345522 h 1357976"/>
                <a:gd name="connsiteX12" fmla="*/ 1164324 w 1395436"/>
                <a:gd name="connsiteY12" fmla="*/ 457440 h 1357976"/>
                <a:gd name="connsiteX13" fmla="*/ 1238142 w 1395436"/>
                <a:gd name="connsiteY13" fmla="*/ 536021 h 1357976"/>
                <a:gd name="connsiteX14" fmla="*/ 1354824 w 1395436"/>
                <a:gd name="connsiteY14" fmla="*/ 700328 h 1357976"/>
                <a:gd name="connsiteX15" fmla="*/ 1154799 w 1395436"/>
                <a:gd name="connsiteY15" fmla="*/ 557453 h 1357976"/>
                <a:gd name="connsiteX16" fmla="*/ 1059549 w 1395436"/>
                <a:gd name="connsiteY16" fmla="*/ 676515 h 1357976"/>
                <a:gd name="connsiteX17" fmla="*/ 1173849 w 1395436"/>
                <a:gd name="connsiteY17" fmla="*/ 681278 h 1357976"/>
                <a:gd name="connsiteX18" fmla="*/ 1297674 w 1395436"/>
                <a:gd name="connsiteY18" fmla="*/ 738428 h 1357976"/>
                <a:gd name="connsiteX19" fmla="*/ 1361968 w 1395436"/>
                <a:gd name="connsiteY19" fmla="*/ 781290 h 1357976"/>
                <a:gd name="connsiteX20" fmla="*/ 1395305 w 1395436"/>
                <a:gd name="connsiteY20" fmla="*/ 840821 h 1357976"/>
                <a:gd name="connsiteX21" fmla="*/ 1369112 w 1395436"/>
                <a:gd name="connsiteY21" fmla="*/ 817009 h 1357976"/>
                <a:gd name="connsiteX22" fmla="*/ 1271480 w 1395436"/>
                <a:gd name="connsiteY22" fmla="*/ 924165 h 1357976"/>
                <a:gd name="connsiteX23" fmla="*/ 1214330 w 1395436"/>
                <a:gd name="connsiteY23" fmla="*/ 1057515 h 1357976"/>
                <a:gd name="connsiteX24" fmla="*/ 1152418 w 1395436"/>
                <a:gd name="connsiteY24" fmla="*/ 1128953 h 1357976"/>
                <a:gd name="connsiteX25" fmla="*/ 1133368 w 1395436"/>
                <a:gd name="connsiteY25" fmla="*/ 1155146 h 1357976"/>
                <a:gd name="connsiteX26" fmla="*/ 1097649 w 1395436"/>
                <a:gd name="connsiteY26" fmla="*/ 1183722 h 1357976"/>
                <a:gd name="connsiteX27" fmla="*/ 1080978 w 1395436"/>
                <a:gd name="connsiteY27" fmla="*/ 1233726 h 1357976"/>
                <a:gd name="connsiteX28" fmla="*/ 1057169 w 1395436"/>
                <a:gd name="connsiteY28" fmla="*/ 1352791 h 1357976"/>
                <a:gd name="connsiteX29" fmla="*/ 909530 w 1395436"/>
                <a:gd name="connsiteY29" fmla="*/ 1331359 h 1357976"/>
                <a:gd name="connsiteX30" fmla="*/ 747606 w 1395436"/>
                <a:gd name="connsiteY30" fmla="*/ 1283734 h 1357976"/>
                <a:gd name="connsiteX31" fmla="*/ 657118 w 1395436"/>
                <a:gd name="connsiteY31" fmla="*/ 1252777 h 1357976"/>
                <a:gd name="connsiteX32" fmla="*/ 559486 w 1395436"/>
                <a:gd name="connsiteY32" fmla="*/ 1214678 h 1357976"/>
                <a:gd name="connsiteX33" fmla="*/ 404705 w 1395436"/>
                <a:gd name="connsiteY33" fmla="*/ 1143240 h 1357976"/>
                <a:gd name="connsiteX34" fmla="*/ 276118 w 1395436"/>
                <a:gd name="connsiteY34" fmla="*/ 1078947 h 1357976"/>
                <a:gd name="connsiteX35" fmla="*/ 114193 w 1395436"/>
                <a:gd name="connsiteY35" fmla="*/ 988459 h 1357976"/>
                <a:gd name="connsiteX36" fmla="*/ 2274 w 1395436"/>
                <a:gd name="connsiteY36" fmla="*/ 907496 h 1357976"/>
                <a:gd name="connsiteX0" fmla="*/ 2274 w 1395436"/>
                <a:gd name="connsiteY0" fmla="*/ 907496 h 1379568"/>
                <a:gd name="connsiteX1" fmla="*/ 45137 w 1395436"/>
                <a:gd name="connsiteY1" fmla="*/ 769384 h 1379568"/>
                <a:gd name="connsiteX2" fmla="*/ 118955 w 1395436"/>
                <a:gd name="connsiteY2" fmla="*/ 607458 h 1379568"/>
                <a:gd name="connsiteX3" fmla="*/ 238018 w 1395436"/>
                <a:gd name="connsiteY3" fmla="*/ 407434 h 1379568"/>
                <a:gd name="connsiteX4" fmla="*/ 340412 w 1395436"/>
                <a:gd name="connsiteY4" fmla="*/ 264558 h 1379568"/>
                <a:gd name="connsiteX5" fmla="*/ 445187 w 1395436"/>
                <a:gd name="connsiteY5" fmla="*/ 143115 h 1379568"/>
                <a:gd name="connsiteX6" fmla="*/ 545199 w 1395436"/>
                <a:gd name="connsiteY6" fmla="*/ 43103 h 1379568"/>
                <a:gd name="connsiteX7" fmla="*/ 602349 w 1395436"/>
                <a:gd name="connsiteY7" fmla="*/ 240 h 1379568"/>
                <a:gd name="connsiteX8" fmla="*/ 704744 w 1395436"/>
                <a:gd name="connsiteY8" fmla="*/ 59771 h 1379568"/>
                <a:gd name="connsiteX9" fmla="*/ 828568 w 1395436"/>
                <a:gd name="connsiteY9" fmla="*/ 152641 h 1379568"/>
                <a:gd name="connsiteX10" fmla="*/ 926198 w 1395436"/>
                <a:gd name="connsiteY10" fmla="*/ 233603 h 1379568"/>
                <a:gd name="connsiteX11" fmla="*/ 1050024 w 1395436"/>
                <a:gd name="connsiteY11" fmla="*/ 345522 h 1379568"/>
                <a:gd name="connsiteX12" fmla="*/ 1164324 w 1395436"/>
                <a:gd name="connsiteY12" fmla="*/ 457440 h 1379568"/>
                <a:gd name="connsiteX13" fmla="*/ 1238142 w 1395436"/>
                <a:gd name="connsiteY13" fmla="*/ 536021 h 1379568"/>
                <a:gd name="connsiteX14" fmla="*/ 1354824 w 1395436"/>
                <a:gd name="connsiteY14" fmla="*/ 700328 h 1379568"/>
                <a:gd name="connsiteX15" fmla="*/ 1154799 w 1395436"/>
                <a:gd name="connsiteY15" fmla="*/ 557453 h 1379568"/>
                <a:gd name="connsiteX16" fmla="*/ 1059549 w 1395436"/>
                <a:gd name="connsiteY16" fmla="*/ 676515 h 1379568"/>
                <a:gd name="connsiteX17" fmla="*/ 1173849 w 1395436"/>
                <a:gd name="connsiteY17" fmla="*/ 681278 h 1379568"/>
                <a:gd name="connsiteX18" fmla="*/ 1297674 w 1395436"/>
                <a:gd name="connsiteY18" fmla="*/ 738428 h 1379568"/>
                <a:gd name="connsiteX19" fmla="*/ 1361968 w 1395436"/>
                <a:gd name="connsiteY19" fmla="*/ 781290 h 1379568"/>
                <a:gd name="connsiteX20" fmla="*/ 1395305 w 1395436"/>
                <a:gd name="connsiteY20" fmla="*/ 840821 h 1379568"/>
                <a:gd name="connsiteX21" fmla="*/ 1369112 w 1395436"/>
                <a:gd name="connsiteY21" fmla="*/ 817009 h 1379568"/>
                <a:gd name="connsiteX22" fmla="*/ 1271480 w 1395436"/>
                <a:gd name="connsiteY22" fmla="*/ 924165 h 1379568"/>
                <a:gd name="connsiteX23" fmla="*/ 1214330 w 1395436"/>
                <a:gd name="connsiteY23" fmla="*/ 1057515 h 1379568"/>
                <a:gd name="connsiteX24" fmla="*/ 1152418 w 1395436"/>
                <a:gd name="connsiteY24" fmla="*/ 1128953 h 1379568"/>
                <a:gd name="connsiteX25" fmla="*/ 1133368 w 1395436"/>
                <a:gd name="connsiteY25" fmla="*/ 1155146 h 1379568"/>
                <a:gd name="connsiteX26" fmla="*/ 1097649 w 1395436"/>
                <a:gd name="connsiteY26" fmla="*/ 1183722 h 1379568"/>
                <a:gd name="connsiteX27" fmla="*/ 1080978 w 1395436"/>
                <a:gd name="connsiteY27" fmla="*/ 1233726 h 1379568"/>
                <a:gd name="connsiteX28" fmla="*/ 1057169 w 1395436"/>
                <a:gd name="connsiteY28" fmla="*/ 1352791 h 1379568"/>
                <a:gd name="connsiteX29" fmla="*/ 909530 w 1395436"/>
                <a:gd name="connsiteY29" fmla="*/ 1331359 h 1379568"/>
                <a:gd name="connsiteX30" fmla="*/ 747606 w 1395436"/>
                <a:gd name="connsiteY30" fmla="*/ 1283734 h 1379568"/>
                <a:gd name="connsiteX31" fmla="*/ 657118 w 1395436"/>
                <a:gd name="connsiteY31" fmla="*/ 1252777 h 1379568"/>
                <a:gd name="connsiteX32" fmla="*/ 559486 w 1395436"/>
                <a:gd name="connsiteY32" fmla="*/ 1214678 h 1379568"/>
                <a:gd name="connsiteX33" fmla="*/ 404705 w 1395436"/>
                <a:gd name="connsiteY33" fmla="*/ 1143240 h 1379568"/>
                <a:gd name="connsiteX34" fmla="*/ 276118 w 1395436"/>
                <a:gd name="connsiteY34" fmla="*/ 1078947 h 1379568"/>
                <a:gd name="connsiteX35" fmla="*/ 114193 w 1395436"/>
                <a:gd name="connsiteY35" fmla="*/ 988459 h 1379568"/>
                <a:gd name="connsiteX36" fmla="*/ 2274 w 1395436"/>
                <a:gd name="connsiteY36" fmla="*/ 907496 h 1379568"/>
                <a:gd name="connsiteX0" fmla="*/ 2274 w 1395436"/>
                <a:gd name="connsiteY0" fmla="*/ 907496 h 1352340"/>
                <a:gd name="connsiteX1" fmla="*/ 45137 w 1395436"/>
                <a:gd name="connsiteY1" fmla="*/ 769384 h 1352340"/>
                <a:gd name="connsiteX2" fmla="*/ 118955 w 1395436"/>
                <a:gd name="connsiteY2" fmla="*/ 607458 h 1352340"/>
                <a:gd name="connsiteX3" fmla="*/ 238018 w 1395436"/>
                <a:gd name="connsiteY3" fmla="*/ 407434 h 1352340"/>
                <a:gd name="connsiteX4" fmla="*/ 340412 w 1395436"/>
                <a:gd name="connsiteY4" fmla="*/ 264558 h 1352340"/>
                <a:gd name="connsiteX5" fmla="*/ 445187 w 1395436"/>
                <a:gd name="connsiteY5" fmla="*/ 143115 h 1352340"/>
                <a:gd name="connsiteX6" fmla="*/ 545199 w 1395436"/>
                <a:gd name="connsiteY6" fmla="*/ 43103 h 1352340"/>
                <a:gd name="connsiteX7" fmla="*/ 602349 w 1395436"/>
                <a:gd name="connsiteY7" fmla="*/ 240 h 1352340"/>
                <a:gd name="connsiteX8" fmla="*/ 704744 w 1395436"/>
                <a:gd name="connsiteY8" fmla="*/ 59771 h 1352340"/>
                <a:gd name="connsiteX9" fmla="*/ 828568 w 1395436"/>
                <a:gd name="connsiteY9" fmla="*/ 152641 h 1352340"/>
                <a:gd name="connsiteX10" fmla="*/ 926198 w 1395436"/>
                <a:gd name="connsiteY10" fmla="*/ 233603 h 1352340"/>
                <a:gd name="connsiteX11" fmla="*/ 1050024 w 1395436"/>
                <a:gd name="connsiteY11" fmla="*/ 345522 h 1352340"/>
                <a:gd name="connsiteX12" fmla="*/ 1164324 w 1395436"/>
                <a:gd name="connsiteY12" fmla="*/ 457440 h 1352340"/>
                <a:gd name="connsiteX13" fmla="*/ 1238142 w 1395436"/>
                <a:gd name="connsiteY13" fmla="*/ 536021 h 1352340"/>
                <a:gd name="connsiteX14" fmla="*/ 1354824 w 1395436"/>
                <a:gd name="connsiteY14" fmla="*/ 700328 h 1352340"/>
                <a:gd name="connsiteX15" fmla="*/ 1154799 w 1395436"/>
                <a:gd name="connsiteY15" fmla="*/ 557453 h 1352340"/>
                <a:gd name="connsiteX16" fmla="*/ 1059549 w 1395436"/>
                <a:gd name="connsiteY16" fmla="*/ 676515 h 1352340"/>
                <a:gd name="connsiteX17" fmla="*/ 1173849 w 1395436"/>
                <a:gd name="connsiteY17" fmla="*/ 681278 h 1352340"/>
                <a:gd name="connsiteX18" fmla="*/ 1297674 w 1395436"/>
                <a:gd name="connsiteY18" fmla="*/ 738428 h 1352340"/>
                <a:gd name="connsiteX19" fmla="*/ 1361968 w 1395436"/>
                <a:gd name="connsiteY19" fmla="*/ 781290 h 1352340"/>
                <a:gd name="connsiteX20" fmla="*/ 1395305 w 1395436"/>
                <a:gd name="connsiteY20" fmla="*/ 840821 h 1352340"/>
                <a:gd name="connsiteX21" fmla="*/ 1369112 w 1395436"/>
                <a:gd name="connsiteY21" fmla="*/ 817009 h 1352340"/>
                <a:gd name="connsiteX22" fmla="*/ 1271480 w 1395436"/>
                <a:gd name="connsiteY22" fmla="*/ 924165 h 1352340"/>
                <a:gd name="connsiteX23" fmla="*/ 1214330 w 1395436"/>
                <a:gd name="connsiteY23" fmla="*/ 1057515 h 1352340"/>
                <a:gd name="connsiteX24" fmla="*/ 1152418 w 1395436"/>
                <a:gd name="connsiteY24" fmla="*/ 1128953 h 1352340"/>
                <a:gd name="connsiteX25" fmla="*/ 1133368 w 1395436"/>
                <a:gd name="connsiteY25" fmla="*/ 1155146 h 1352340"/>
                <a:gd name="connsiteX26" fmla="*/ 1097649 w 1395436"/>
                <a:gd name="connsiteY26" fmla="*/ 1183722 h 1352340"/>
                <a:gd name="connsiteX27" fmla="*/ 1080978 w 1395436"/>
                <a:gd name="connsiteY27" fmla="*/ 1233726 h 1352340"/>
                <a:gd name="connsiteX28" fmla="*/ 1064313 w 1395436"/>
                <a:gd name="connsiteY28" fmla="*/ 1317072 h 1352340"/>
                <a:gd name="connsiteX29" fmla="*/ 909530 w 1395436"/>
                <a:gd name="connsiteY29" fmla="*/ 1331359 h 1352340"/>
                <a:gd name="connsiteX30" fmla="*/ 747606 w 1395436"/>
                <a:gd name="connsiteY30" fmla="*/ 1283734 h 1352340"/>
                <a:gd name="connsiteX31" fmla="*/ 657118 w 1395436"/>
                <a:gd name="connsiteY31" fmla="*/ 1252777 h 1352340"/>
                <a:gd name="connsiteX32" fmla="*/ 559486 w 1395436"/>
                <a:gd name="connsiteY32" fmla="*/ 1214678 h 1352340"/>
                <a:gd name="connsiteX33" fmla="*/ 404705 w 1395436"/>
                <a:gd name="connsiteY33" fmla="*/ 1143240 h 1352340"/>
                <a:gd name="connsiteX34" fmla="*/ 276118 w 1395436"/>
                <a:gd name="connsiteY34" fmla="*/ 1078947 h 1352340"/>
                <a:gd name="connsiteX35" fmla="*/ 114193 w 1395436"/>
                <a:gd name="connsiteY35" fmla="*/ 988459 h 1352340"/>
                <a:gd name="connsiteX36" fmla="*/ 2274 w 1395436"/>
                <a:gd name="connsiteY36" fmla="*/ 907496 h 1352340"/>
                <a:gd name="connsiteX0" fmla="*/ 2274 w 1395436"/>
                <a:gd name="connsiteY0" fmla="*/ 907496 h 1381526"/>
                <a:gd name="connsiteX1" fmla="*/ 45137 w 1395436"/>
                <a:gd name="connsiteY1" fmla="*/ 769384 h 1381526"/>
                <a:gd name="connsiteX2" fmla="*/ 118955 w 1395436"/>
                <a:gd name="connsiteY2" fmla="*/ 607458 h 1381526"/>
                <a:gd name="connsiteX3" fmla="*/ 238018 w 1395436"/>
                <a:gd name="connsiteY3" fmla="*/ 407434 h 1381526"/>
                <a:gd name="connsiteX4" fmla="*/ 340412 w 1395436"/>
                <a:gd name="connsiteY4" fmla="*/ 264558 h 1381526"/>
                <a:gd name="connsiteX5" fmla="*/ 445187 w 1395436"/>
                <a:gd name="connsiteY5" fmla="*/ 143115 h 1381526"/>
                <a:gd name="connsiteX6" fmla="*/ 545199 w 1395436"/>
                <a:gd name="connsiteY6" fmla="*/ 43103 h 1381526"/>
                <a:gd name="connsiteX7" fmla="*/ 602349 w 1395436"/>
                <a:gd name="connsiteY7" fmla="*/ 240 h 1381526"/>
                <a:gd name="connsiteX8" fmla="*/ 704744 w 1395436"/>
                <a:gd name="connsiteY8" fmla="*/ 59771 h 1381526"/>
                <a:gd name="connsiteX9" fmla="*/ 828568 w 1395436"/>
                <a:gd name="connsiteY9" fmla="*/ 152641 h 1381526"/>
                <a:gd name="connsiteX10" fmla="*/ 926198 w 1395436"/>
                <a:gd name="connsiteY10" fmla="*/ 233603 h 1381526"/>
                <a:gd name="connsiteX11" fmla="*/ 1050024 w 1395436"/>
                <a:gd name="connsiteY11" fmla="*/ 345522 h 1381526"/>
                <a:gd name="connsiteX12" fmla="*/ 1164324 w 1395436"/>
                <a:gd name="connsiteY12" fmla="*/ 457440 h 1381526"/>
                <a:gd name="connsiteX13" fmla="*/ 1238142 w 1395436"/>
                <a:gd name="connsiteY13" fmla="*/ 536021 h 1381526"/>
                <a:gd name="connsiteX14" fmla="*/ 1354824 w 1395436"/>
                <a:gd name="connsiteY14" fmla="*/ 700328 h 1381526"/>
                <a:gd name="connsiteX15" fmla="*/ 1154799 w 1395436"/>
                <a:gd name="connsiteY15" fmla="*/ 557453 h 1381526"/>
                <a:gd name="connsiteX16" fmla="*/ 1059549 w 1395436"/>
                <a:gd name="connsiteY16" fmla="*/ 676515 h 1381526"/>
                <a:gd name="connsiteX17" fmla="*/ 1173849 w 1395436"/>
                <a:gd name="connsiteY17" fmla="*/ 681278 h 1381526"/>
                <a:gd name="connsiteX18" fmla="*/ 1297674 w 1395436"/>
                <a:gd name="connsiteY18" fmla="*/ 738428 h 1381526"/>
                <a:gd name="connsiteX19" fmla="*/ 1361968 w 1395436"/>
                <a:gd name="connsiteY19" fmla="*/ 781290 h 1381526"/>
                <a:gd name="connsiteX20" fmla="*/ 1395305 w 1395436"/>
                <a:gd name="connsiteY20" fmla="*/ 840821 h 1381526"/>
                <a:gd name="connsiteX21" fmla="*/ 1369112 w 1395436"/>
                <a:gd name="connsiteY21" fmla="*/ 817009 h 1381526"/>
                <a:gd name="connsiteX22" fmla="*/ 1271480 w 1395436"/>
                <a:gd name="connsiteY22" fmla="*/ 924165 h 1381526"/>
                <a:gd name="connsiteX23" fmla="*/ 1214330 w 1395436"/>
                <a:gd name="connsiteY23" fmla="*/ 1057515 h 1381526"/>
                <a:gd name="connsiteX24" fmla="*/ 1152418 w 1395436"/>
                <a:gd name="connsiteY24" fmla="*/ 1128953 h 1381526"/>
                <a:gd name="connsiteX25" fmla="*/ 1133368 w 1395436"/>
                <a:gd name="connsiteY25" fmla="*/ 1155146 h 1381526"/>
                <a:gd name="connsiteX26" fmla="*/ 1097649 w 1395436"/>
                <a:gd name="connsiteY26" fmla="*/ 1183722 h 1381526"/>
                <a:gd name="connsiteX27" fmla="*/ 1080978 w 1395436"/>
                <a:gd name="connsiteY27" fmla="*/ 1233726 h 1381526"/>
                <a:gd name="connsiteX28" fmla="*/ 1047644 w 1395436"/>
                <a:gd name="connsiteY28" fmla="*/ 1355172 h 1381526"/>
                <a:gd name="connsiteX29" fmla="*/ 909530 w 1395436"/>
                <a:gd name="connsiteY29" fmla="*/ 1331359 h 1381526"/>
                <a:gd name="connsiteX30" fmla="*/ 747606 w 1395436"/>
                <a:gd name="connsiteY30" fmla="*/ 1283734 h 1381526"/>
                <a:gd name="connsiteX31" fmla="*/ 657118 w 1395436"/>
                <a:gd name="connsiteY31" fmla="*/ 1252777 h 1381526"/>
                <a:gd name="connsiteX32" fmla="*/ 559486 w 1395436"/>
                <a:gd name="connsiteY32" fmla="*/ 1214678 h 1381526"/>
                <a:gd name="connsiteX33" fmla="*/ 404705 w 1395436"/>
                <a:gd name="connsiteY33" fmla="*/ 1143240 h 1381526"/>
                <a:gd name="connsiteX34" fmla="*/ 276118 w 1395436"/>
                <a:gd name="connsiteY34" fmla="*/ 1078947 h 1381526"/>
                <a:gd name="connsiteX35" fmla="*/ 114193 w 1395436"/>
                <a:gd name="connsiteY35" fmla="*/ 988459 h 1381526"/>
                <a:gd name="connsiteX36" fmla="*/ 2274 w 1395436"/>
                <a:gd name="connsiteY36" fmla="*/ 907496 h 1381526"/>
                <a:gd name="connsiteX0" fmla="*/ 2274 w 1395436"/>
                <a:gd name="connsiteY0" fmla="*/ 907496 h 1360106"/>
                <a:gd name="connsiteX1" fmla="*/ 45137 w 1395436"/>
                <a:gd name="connsiteY1" fmla="*/ 769384 h 1360106"/>
                <a:gd name="connsiteX2" fmla="*/ 118955 w 1395436"/>
                <a:gd name="connsiteY2" fmla="*/ 607458 h 1360106"/>
                <a:gd name="connsiteX3" fmla="*/ 238018 w 1395436"/>
                <a:gd name="connsiteY3" fmla="*/ 407434 h 1360106"/>
                <a:gd name="connsiteX4" fmla="*/ 340412 w 1395436"/>
                <a:gd name="connsiteY4" fmla="*/ 264558 h 1360106"/>
                <a:gd name="connsiteX5" fmla="*/ 445187 w 1395436"/>
                <a:gd name="connsiteY5" fmla="*/ 143115 h 1360106"/>
                <a:gd name="connsiteX6" fmla="*/ 545199 w 1395436"/>
                <a:gd name="connsiteY6" fmla="*/ 43103 h 1360106"/>
                <a:gd name="connsiteX7" fmla="*/ 602349 w 1395436"/>
                <a:gd name="connsiteY7" fmla="*/ 240 h 1360106"/>
                <a:gd name="connsiteX8" fmla="*/ 704744 w 1395436"/>
                <a:gd name="connsiteY8" fmla="*/ 59771 h 1360106"/>
                <a:gd name="connsiteX9" fmla="*/ 828568 w 1395436"/>
                <a:gd name="connsiteY9" fmla="*/ 152641 h 1360106"/>
                <a:gd name="connsiteX10" fmla="*/ 926198 w 1395436"/>
                <a:gd name="connsiteY10" fmla="*/ 233603 h 1360106"/>
                <a:gd name="connsiteX11" fmla="*/ 1050024 w 1395436"/>
                <a:gd name="connsiteY11" fmla="*/ 345522 h 1360106"/>
                <a:gd name="connsiteX12" fmla="*/ 1164324 w 1395436"/>
                <a:gd name="connsiteY12" fmla="*/ 457440 h 1360106"/>
                <a:gd name="connsiteX13" fmla="*/ 1238142 w 1395436"/>
                <a:gd name="connsiteY13" fmla="*/ 536021 h 1360106"/>
                <a:gd name="connsiteX14" fmla="*/ 1354824 w 1395436"/>
                <a:gd name="connsiteY14" fmla="*/ 700328 h 1360106"/>
                <a:gd name="connsiteX15" fmla="*/ 1154799 w 1395436"/>
                <a:gd name="connsiteY15" fmla="*/ 557453 h 1360106"/>
                <a:gd name="connsiteX16" fmla="*/ 1059549 w 1395436"/>
                <a:gd name="connsiteY16" fmla="*/ 676515 h 1360106"/>
                <a:gd name="connsiteX17" fmla="*/ 1173849 w 1395436"/>
                <a:gd name="connsiteY17" fmla="*/ 681278 h 1360106"/>
                <a:gd name="connsiteX18" fmla="*/ 1297674 w 1395436"/>
                <a:gd name="connsiteY18" fmla="*/ 738428 h 1360106"/>
                <a:gd name="connsiteX19" fmla="*/ 1361968 w 1395436"/>
                <a:gd name="connsiteY19" fmla="*/ 781290 h 1360106"/>
                <a:gd name="connsiteX20" fmla="*/ 1395305 w 1395436"/>
                <a:gd name="connsiteY20" fmla="*/ 840821 h 1360106"/>
                <a:gd name="connsiteX21" fmla="*/ 1369112 w 1395436"/>
                <a:gd name="connsiteY21" fmla="*/ 817009 h 1360106"/>
                <a:gd name="connsiteX22" fmla="*/ 1271480 w 1395436"/>
                <a:gd name="connsiteY22" fmla="*/ 924165 h 1360106"/>
                <a:gd name="connsiteX23" fmla="*/ 1214330 w 1395436"/>
                <a:gd name="connsiteY23" fmla="*/ 1057515 h 1360106"/>
                <a:gd name="connsiteX24" fmla="*/ 1152418 w 1395436"/>
                <a:gd name="connsiteY24" fmla="*/ 1128953 h 1360106"/>
                <a:gd name="connsiteX25" fmla="*/ 1133368 w 1395436"/>
                <a:gd name="connsiteY25" fmla="*/ 1155146 h 1360106"/>
                <a:gd name="connsiteX26" fmla="*/ 1097649 w 1395436"/>
                <a:gd name="connsiteY26" fmla="*/ 1183722 h 1360106"/>
                <a:gd name="connsiteX27" fmla="*/ 1080978 w 1395436"/>
                <a:gd name="connsiteY27" fmla="*/ 1233726 h 1360106"/>
                <a:gd name="connsiteX28" fmla="*/ 1047644 w 1395436"/>
                <a:gd name="connsiteY28" fmla="*/ 1355172 h 1360106"/>
                <a:gd name="connsiteX29" fmla="*/ 909530 w 1395436"/>
                <a:gd name="connsiteY29" fmla="*/ 1331359 h 1360106"/>
                <a:gd name="connsiteX30" fmla="*/ 747606 w 1395436"/>
                <a:gd name="connsiteY30" fmla="*/ 1283734 h 1360106"/>
                <a:gd name="connsiteX31" fmla="*/ 657118 w 1395436"/>
                <a:gd name="connsiteY31" fmla="*/ 1252777 h 1360106"/>
                <a:gd name="connsiteX32" fmla="*/ 559486 w 1395436"/>
                <a:gd name="connsiteY32" fmla="*/ 1214678 h 1360106"/>
                <a:gd name="connsiteX33" fmla="*/ 404705 w 1395436"/>
                <a:gd name="connsiteY33" fmla="*/ 1143240 h 1360106"/>
                <a:gd name="connsiteX34" fmla="*/ 276118 w 1395436"/>
                <a:gd name="connsiteY34" fmla="*/ 1078947 h 1360106"/>
                <a:gd name="connsiteX35" fmla="*/ 114193 w 1395436"/>
                <a:gd name="connsiteY35" fmla="*/ 988459 h 1360106"/>
                <a:gd name="connsiteX36" fmla="*/ 2274 w 1395436"/>
                <a:gd name="connsiteY36" fmla="*/ 907496 h 1360106"/>
                <a:gd name="connsiteX0" fmla="*/ 2274 w 1395436"/>
                <a:gd name="connsiteY0" fmla="*/ 907496 h 1359173"/>
                <a:gd name="connsiteX1" fmla="*/ 45137 w 1395436"/>
                <a:gd name="connsiteY1" fmla="*/ 769384 h 1359173"/>
                <a:gd name="connsiteX2" fmla="*/ 118955 w 1395436"/>
                <a:gd name="connsiteY2" fmla="*/ 607458 h 1359173"/>
                <a:gd name="connsiteX3" fmla="*/ 238018 w 1395436"/>
                <a:gd name="connsiteY3" fmla="*/ 407434 h 1359173"/>
                <a:gd name="connsiteX4" fmla="*/ 340412 w 1395436"/>
                <a:gd name="connsiteY4" fmla="*/ 264558 h 1359173"/>
                <a:gd name="connsiteX5" fmla="*/ 445187 w 1395436"/>
                <a:gd name="connsiteY5" fmla="*/ 143115 h 1359173"/>
                <a:gd name="connsiteX6" fmla="*/ 545199 w 1395436"/>
                <a:gd name="connsiteY6" fmla="*/ 43103 h 1359173"/>
                <a:gd name="connsiteX7" fmla="*/ 602349 w 1395436"/>
                <a:gd name="connsiteY7" fmla="*/ 240 h 1359173"/>
                <a:gd name="connsiteX8" fmla="*/ 704744 w 1395436"/>
                <a:gd name="connsiteY8" fmla="*/ 59771 h 1359173"/>
                <a:gd name="connsiteX9" fmla="*/ 828568 w 1395436"/>
                <a:gd name="connsiteY9" fmla="*/ 152641 h 1359173"/>
                <a:gd name="connsiteX10" fmla="*/ 926198 w 1395436"/>
                <a:gd name="connsiteY10" fmla="*/ 233603 h 1359173"/>
                <a:gd name="connsiteX11" fmla="*/ 1050024 w 1395436"/>
                <a:gd name="connsiteY11" fmla="*/ 345522 h 1359173"/>
                <a:gd name="connsiteX12" fmla="*/ 1164324 w 1395436"/>
                <a:gd name="connsiteY12" fmla="*/ 457440 h 1359173"/>
                <a:gd name="connsiteX13" fmla="*/ 1238142 w 1395436"/>
                <a:gd name="connsiteY13" fmla="*/ 536021 h 1359173"/>
                <a:gd name="connsiteX14" fmla="*/ 1354824 w 1395436"/>
                <a:gd name="connsiteY14" fmla="*/ 700328 h 1359173"/>
                <a:gd name="connsiteX15" fmla="*/ 1154799 w 1395436"/>
                <a:gd name="connsiteY15" fmla="*/ 557453 h 1359173"/>
                <a:gd name="connsiteX16" fmla="*/ 1059549 w 1395436"/>
                <a:gd name="connsiteY16" fmla="*/ 676515 h 1359173"/>
                <a:gd name="connsiteX17" fmla="*/ 1173849 w 1395436"/>
                <a:gd name="connsiteY17" fmla="*/ 681278 h 1359173"/>
                <a:gd name="connsiteX18" fmla="*/ 1297674 w 1395436"/>
                <a:gd name="connsiteY18" fmla="*/ 738428 h 1359173"/>
                <a:gd name="connsiteX19" fmla="*/ 1361968 w 1395436"/>
                <a:gd name="connsiteY19" fmla="*/ 781290 h 1359173"/>
                <a:gd name="connsiteX20" fmla="*/ 1395305 w 1395436"/>
                <a:gd name="connsiteY20" fmla="*/ 840821 h 1359173"/>
                <a:gd name="connsiteX21" fmla="*/ 1369112 w 1395436"/>
                <a:gd name="connsiteY21" fmla="*/ 817009 h 1359173"/>
                <a:gd name="connsiteX22" fmla="*/ 1271480 w 1395436"/>
                <a:gd name="connsiteY22" fmla="*/ 924165 h 1359173"/>
                <a:gd name="connsiteX23" fmla="*/ 1214330 w 1395436"/>
                <a:gd name="connsiteY23" fmla="*/ 1057515 h 1359173"/>
                <a:gd name="connsiteX24" fmla="*/ 1152418 w 1395436"/>
                <a:gd name="connsiteY24" fmla="*/ 1128953 h 1359173"/>
                <a:gd name="connsiteX25" fmla="*/ 1133368 w 1395436"/>
                <a:gd name="connsiteY25" fmla="*/ 1155146 h 1359173"/>
                <a:gd name="connsiteX26" fmla="*/ 1097649 w 1395436"/>
                <a:gd name="connsiteY26" fmla="*/ 1183722 h 1359173"/>
                <a:gd name="connsiteX27" fmla="*/ 1071453 w 1395436"/>
                <a:gd name="connsiteY27" fmla="*/ 1248014 h 1359173"/>
                <a:gd name="connsiteX28" fmla="*/ 1047644 w 1395436"/>
                <a:gd name="connsiteY28" fmla="*/ 1355172 h 1359173"/>
                <a:gd name="connsiteX29" fmla="*/ 909530 w 1395436"/>
                <a:gd name="connsiteY29" fmla="*/ 1331359 h 1359173"/>
                <a:gd name="connsiteX30" fmla="*/ 747606 w 1395436"/>
                <a:gd name="connsiteY30" fmla="*/ 1283734 h 1359173"/>
                <a:gd name="connsiteX31" fmla="*/ 657118 w 1395436"/>
                <a:gd name="connsiteY31" fmla="*/ 1252777 h 1359173"/>
                <a:gd name="connsiteX32" fmla="*/ 559486 w 1395436"/>
                <a:gd name="connsiteY32" fmla="*/ 1214678 h 1359173"/>
                <a:gd name="connsiteX33" fmla="*/ 404705 w 1395436"/>
                <a:gd name="connsiteY33" fmla="*/ 1143240 h 1359173"/>
                <a:gd name="connsiteX34" fmla="*/ 276118 w 1395436"/>
                <a:gd name="connsiteY34" fmla="*/ 1078947 h 1359173"/>
                <a:gd name="connsiteX35" fmla="*/ 114193 w 1395436"/>
                <a:gd name="connsiteY35" fmla="*/ 988459 h 1359173"/>
                <a:gd name="connsiteX36" fmla="*/ 2274 w 1395436"/>
                <a:gd name="connsiteY36" fmla="*/ 907496 h 1359173"/>
                <a:gd name="connsiteX0" fmla="*/ 2274 w 1395436"/>
                <a:gd name="connsiteY0" fmla="*/ 907496 h 1358566"/>
                <a:gd name="connsiteX1" fmla="*/ 45137 w 1395436"/>
                <a:gd name="connsiteY1" fmla="*/ 769384 h 1358566"/>
                <a:gd name="connsiteX2" fmla="*/ 118955 w 1395436"/>
                <a:gd name="connsiteY2" fmla="*/ 607458 h 1358566"/>
                <a:gd name="connsiteX3" fmla="*/ 238018 w 1395436"/>
                <a:gd name="connsiteY3" fmla="*/ 407434 h 1358566"/>
                <a:gd name="connsiteX4" fmla="*/ 340412 w 1395436"/>
                <a:gd name="connsiteY4" fmla="*/ 264558 h 1358566"/>
                <a:gd name="connsiteX5" fmla="*/ 445187 w 1395436"/>
                <a:gd name="connsiteY5" fmla="*/ 143115 h 1358566"/>
                <a:gd name="connsiteX6" fmla="*/ 545199 w 1395436"/>
                <a:gd name="connsiteY6" fmla="*/ 43103 h 1358566"/>
                <a:gd name="connsiteX7" fmla="*/ 602349 w 1395436"/>
                <a:gd name="connsiteY7" fmla="*/ 240 h 1358566"/>
                <a:gd name="connsiteX8" fmla="*/ 704744 w 1395436"/>
                <a:gd name="connsiteY8" fmla="*/ 59771 h 1358566"/>
                <a:gd name="connsiteX9" fmla="*/ 828568 w 1395436"/>
                <a:gd name="connsiteY9" fmla="*/ 152641 h 1358566"/>
                <a:gd name="connsiteX10" fmla="*/ 926198 w 1395436"/>
                <a:gd name="connsiteY10" fmla="*/ 233603 h 1358566"/>
                <a:gd name="connsiteX11" fmla="*/ 1050024 w 1395436"/>
                <a:gd name="connsiteY11" fmla="*/ 345522 h 1358566"/>
                <a:gd name="connsiteX12" fmla="*/ 1164324 w 1395436"/>
                <a:gd name="connsiteY12" fmla="*/ 457440 h 1358566"/>
                <a:gd name="connsiteX13" fmla="*/ 1238142 w 1395436"/>
                <a:gd name="connsiteY13" fmla="*/ 536021 h 1358566"/>
                <a:gd name="connsiteX14" fmla="*/ 1354824 w 1395436"/>
                <a:gd name="connsiteY14" fmla="*/ 700328 h 1358566"/>
                <a:gd name="connsiteX15" fmla="*/ 1154799 w 1395436"/>
                <a:gd name="connsiteY15" fmla="*/ 557453 h 1358566"/>
                <a:gd name="connsiteX16" fmla="*/ 1059549 w 1395436"/>
                <a:gd name="connsiteY16" fmla="*/ 676515 h 1358566"/>
                <a:gd name="connsiteX17" fmla="*/ 1173849 w 1395436"/>
                <a:gd name="connsiteY17" fmla="*/ 681278 h 1358566"/>
                <a:gd name="connsiteX18" fmla="*/ 1297674 w 1395436"/>
                <a:gd name="connsiteY18" fmla="*/ 738428 h 1358566"/>
                <a:gd name="connsiteX19" fmla="*/ 1361968 w 1395436"/>
                <a:gd name="connsiteY19" fmla="*/ 781290 h 1358566"/>
                <a:gd name="connsiteX20" fmla="*/ 1395305 w 1395436"/>
                <a:gd name="connsiteY20" fmla="*/ 840821 h 1358566"/>
                <a:gd name="connsiteX21" fmla="*/ 1369112 w 1395436"/>
                <a:gd name="connsiteY21" fmla="*/ 817009 h 1358566"/>
                <a:gd name="connsiteX22" fmla="*/ 1271480 w 1395436"/>
                <a:gd name="connsiteY22" fmla="*/ 924165 h 1358566"/>
                <a:gd name="connsiteX23" fmla="*/ 1214330 w 1395436"/>
                <a:gd name="connsiteY23" fmla="*/ 1057515 h 1358566"/>
                <a:gd name="connsiteX24" fmla="*/ 1152418 w 1395436"/>
                <a:gd name="connsiteY24" fmla="*/ 1128953 h 1358566"/>
                <a:gd name="connsiteX25" fmla="*/ 1133368 w 1395436"/>
                <a:gd name="connsiteY25" fmla="*/ 1155146 h 1358566"/>
                <a:gd name="connsiteX26" fmla="*/ 1097649 w 1395436"/>
                <a:gd name="connsiteY26" fmla="*/ 1183722 h 1358566"/>
                <a:gd name="connsiteX27" fmla="*/ 1073834 w 1395436"/>
                <a:gd name="connsiteY27" fmla="*/ 1257539 h 1358566"/>
                <a:gd name="connsiteX28" fmla="*/ 1047644 w 1395436"/>
                <a:gd name="connsiteY28" fmla="*/ 1355172 h 1358566"/>
                <a:gd name="connsiteX29" fmla="*/ 909530 w 1395436"/>
                <a:gd name="connsiteY29" fmla="*/ 1331359 h 1358566"/>
                <a:gd name="connsiteX30" fmla="*/ 747606 w 1395436"/>
                <a:gd name="connsiteY30" fmla="*/ 1283734 h 1358566"/>
                <a:gd name="connsiteX31" fmla="*/ 657118 w 1395436"/>
                <a:gd name="connsiteY31" fmla="*/ 1252777 h 1358566"/>
                <a:gd name="connsiteX32" fmla="*/ 559486 w 1395436"/>
                <a:gd name="connsiteY32" fmla="*/ 1214678 h 1358566"/>
                <a:gd name="connsiteX33" fmla="*/ 404705 w 1395436"/>
                <a:gd name="connsiteY33" fmla="*/ 1143240 h 1358566"/>
                <a:gd name="connsiteX34" fmla="*/ 276118 w 1395436"/>
                <a:gd name="connsiteY34" fmla="*/ 1078947 h 1358566"/>
                <a:gd name="connsiteX35" fmla="*/ 114193 w 1395436"/>
                <a:gd name="connsiteY35" fmla="*/ 988459 h 1358566"/>
                <a:gd name="connsiteX36" fmla="*/ 2274 w 1395436"/>
                <a:gd name="connsiteY36" fmla="*/ 907496 h 1358566"/>
                <a:gd name="connsiteX0" fmla="*/ 2274 w 1395436"/>
                <a:gd name="connsiteY0" fmla="*/ 907496 h 1357830"/>
                <a:gd name="connsiteX1" fmla="*/ 45137 w 1395436"/>
                <a:gd name="connsiteY1" fmla="*/ 769384 h 1357830"/>
                <a:gd name="connsiteX2" fmla="*/ 118955 w 1395436"/>
                <a:gd name="connsiteY2" fmla="*/ 607458 h 1357830"/>
                <a:gd name="connsiteX3" fmla="*/ 238018 w 1395436"/>
                <a:gd name="connsiteY3" fmla="*/ 407434 h 1357830"/>
                <a:gd name="connsiteX4" fmla="*/ 340412 w 1395436"/>
                <a:gd name="connsiteY4" fmla="*/ 264558 h 1357830"/>
                <a:gd name="connsiteX5" fmla="*/ 445187 w 1395436"/>
                <a:gd name="connsiteY5" fmla="*/ 143115 h 1357830"/>
                <a:gd name="connsiteX6" fmla="*/ 545199 w 1395436"/>
                <a:gd name="connsiteY6" fmla="*/ 43103 h 1357830"/>
                <a:gd name="connsiteX7" fmla="*/ 602349 w 1395436"/>
                <a:gd name="connsiteY7" fmla="*/ 240 h 1357830"/>
                <a:gd name="connsiteX8" fmla="*/ 704744 w 1395436"/>
                <a:gd name="connsiteY8" fmla="*/ 59771 h 1357830"/>
                <a:gd name="connsiteX9" fmla="*/ 828568 w 1395436"/>
                <a:gd name="connsiteY9" fmla="*/ 152641 h 1357830"/>
                <a:gd name="connsiteX10" fmla="*/ 926198 w 1395436"/>
                <a:gd name="connsiteY10" fmla="*/ 233603 h 1357830"/>
                <a:gd name="connsiteX11" fmla="*/ 1050024 w 1395436"/>
                <a:gd name="connsiteY11" fmla="*/ 345522 h 1357830"/>
                <a:gd name="connsiteX12" fmla="*/ 1164324 w 1395436"/>
                <a:gd name="connsiteY12" fmla="*/ 457440 h 1357830"/>
                <a:gd name="connsiteX13" fmla="*/ 1238142 w 1395436"/>
                <a:gd name="connsiteY13" fmla="*/ 536021 h 1357830"/>
                <a:gd name="connsiteX14" fmla="*/ 1354824 w 1395436"/>
                <a:gd name="connsiteY14" fmla="*/ 700328 h 1357830"/>
                <a:gd name="connsiteX15" fmla="*/ 1154799 w 1395436"/>
                <a:gd name="connsiteY15" fmla="*/ 557453 h 1357830"/>
                <a:gd name="connsiteX16" fmla="*/ 1059549 w 1395436"/>
                <a:gd name="connsiteY16" fmla="*/ 676515 h 1357830"/>
                <a:gd name="connsiteX17" fmla="*/ 1173849 w 1395436"/>
                <a:gd name="connsiteY17" fmla="*/ 681278 h 1357830"/>
                <a:gd name="connsiteX18" fmla="*/ 1297674 w 1395436"/>
                <a:gd name="connsiteY18" fmla="*/ 738428 h 1357830"/>
                <a:gd name="connsiteX19" fmla="*/ 1361968 w 1395436"/>
                <a:gd name="connsiteY19" fmla="*/ 781290 h 1357830"/>
                <a:gd name="connsiteX20" fmla="*/ 1395305 w 1395436"/>
                <a:gd name="connsiteY20" fmla="*/ 840821 h 1357830"/>
                <a:gd name="connsiteX21" fmla="*/ 1369112 w 1395436"/>
                <a:gd name="connsiteY21" fmla="*/ 817009 h 1357830"/>
                <a:gd name="connsiteX22" fmla="*/ 1271480 w 1395436"/>
                <a:gd name="connsiteY22" fmla="*/ 924165 h 1357830"/>
                <a:gd name="connsiteX23" fmla="*/ 1214330 w 1395436"/>
                <a:gd name="connsiteY23" fmla="*/ 1057515 h 1357830"/>
                <a:gd name="connsiteX24" fmla="*/ 1152418 w 1395436"/>
                <a:gd name="connsiteY24" fmla="*/ 1128953 h 1357830"/>
                <a:gd name="connsiteX25" fmla="*/ 1133368 w 1395436"/>
                <a:gd name="connsiteY25" fmla="*/ 1155146 h 1357830"/>
                <a:gd name="connsiteX26" fmla="*/ 1097649 w 1395436"/>
                <a:gd name="connsiteY26" fmla="*/ 1183722 h 1357830"/>
                <a:gd name="connsiteX27" fmla="*/ 1059546 w 1395436"/>
                <a:gd name="connsiteY27" fmla="*/ 1269446 h 1357830"/>
                <a:gd name="connsiteX28" fmla="*/ 1047644 w 1395436"/>
                <a:gd name="connsiteY28" fmla="*/ 1355172 h 1357830"/>
                <a:gd name="connsiteX29" fmla="*/ 909530 w 1395436"/>
                <a:gd name="connsiteY29" fmla="*/ 1331359 h 1357830"/>
                <a:gd name="connsiteX30" fmla="*/ 747606 w 1395436"/>
                <a:gd name="connsiteY30" fmla="*/ 1283734 h 1357830"/>
                <a:gd name="connsiteX31" fmla="*/ 657118 w 1395436"/>
                <a:gd name="connsiteY31" fmla="*/ 1252777 h 1357830"/>
                <a:gd name="connsiteX32" fmla="*/ 559486 w 1395436"/>
                <a:gd name="connsiteY32" fmla="*/ 1214678 h 1357830"/>
                <a:gd name="connsiteX33" fmla="*/ 404705 w 1395436"/>
                <a:gd name="connsiteY33" fmla="*/ 1143240 h 1357830"/>
                <a:gd name="connsiteX34" fmla="*/ 276118 w 1395436"/>
                <a:gd name="connsiteY34" fmla="*/ 1078947 h 1357830"/>
                <a:gd name="connsiteX35" fmla="*/ 114193 w 1395436"/>
                <a:gd name="connsiteY35" fmla="*/ 988459 h 1357830"/>
                <a:gd name="connsiteX36" fmla="*/ 2274 w 1395436"/>
                <a:gd name="connsiteY36" fmla="*/ 907496 h 1357830"/>
                <a:gd name="connsiteX0" fmla="*/ 2274 w 1395436"/>
                <a:gd name="connsiteY0" fmla="*/ 907496 h 1359020"/>
                <a:gd name="connsiteX1" fmla="*/ 45137 w 1395436"/>
                <a:gd name="connsiteY1" fmla="*/ 769384 h 1359020"/>
                <a:gd name="connsiteX2" fmla="*/ 118955 w 1395436"/>
                <a:gd name="connsiteY2" fmla="*/ 607458 h 1359020"/>
                <a:gd name="connsiteX3" fmla="*/ 238018 w 1395436"/>
                <a:gd name="connsiteY3" fmla="*/ 407434 h 1359020"/>
                <a:gd name="connsiteX4" fmla="*/ 340412 w 1395436"/>
                <a:gd name="connsiteY4" fmla="*/ 264558 h 1359020"/>
                <a:gd name="connsiteX5" fmla="*/ 445187 w 1395436"/>
                <a:gd name="connsiteY5" fmla="*/ 143115 h 1359020"/>
                <a:gd name="connsiteX6" fmla="*/ 545199 w 1395436"/>
                <a:gd name="connsiteY6" fmla="*/ 43103 h 1359020"/>
                <a:gd name="connsiteX7" fmla="*/ 602349 w 1395436"/>
                <a:gd name="connsiteY7" fmla="*/ 240 h 1359020"/>
                <a:gd name="connsiteX8" fmla="*/ 704744 w 1395436"/>
                <a:gd name="connsiteY8" fmla="*/ 59771 h 1359020"/>
                <a:gd name="connsiteX9" fmla="*/ 828568 w 1395436"/>
                <a:gd name="connsiteY9" fmla="*/ 152641 h 1359020"/>
                <a:gd name="connsiteX10" fmla="*/ 926198 w 1395436"/>
                <a:gd name="connsiteY10" fmla="*/ 233603 h 1359020"/>
                <a:gd name="connsiteX11" fmla="*/ 1050024 w 1395436"/>
                <a:gd name="connsiteY11" fmla="*/ 345522 h 1359020"/>
                <a:gd name="connsiteX12" fmla="*/ 1164324 w 1395436"/>
                <a:gd name="connsiteY12" fmla="*/ 457440 h 1359020"/>
                <a:gd name="connsiteX13" fmla="*/ 1238142 w 1395436"/>
                <a:gd name="connsiteY13" fmla="*/ 536021 h 1359020"/>
                <a:gd name="connsiteX14" fmla="*/ 1354824 w 1395436"/>
                <a:gd name="connsiteY14" fmla="*/ 700328 h 1359020"/>
                <a:gd name="connsiteX15" fmla="*/ 1154799 w 1395436"/>
                <a:gd name="connsiteY15" fmla="*/ 557453 h 1359020"/>
                <a:gd name="connsiteX16" fmla="*/ 1059549 w 1395436"/>
                <a:gd name="connsiteY16" fmla="*/ 676515 h 1359020"/>
                <a:gd name="connsiteX17" fmla="*/ 1173849 w 1395436"/>
                <a:gd name="connsiteY17" fmla="*/ 681278 h 1359020"/>
                <a:gd name="connsiteX18" fmla="*/ 1297674 w 1395436"/>
                <a:gd name="connsiteY18" fmla="*/ 738428 h 1359020"/>
                <a:gd name="connsiteX19" fmla="*/ 1361968 w 1395436"/>
                <a:gd name="connsiteY19" fmla="*/ 781290 h 1359020"/>
                <a:gd name="connsiteX20" fmla="*/ 1395305 w 1395436"/>
                <a:gd name="connsiteY20" fmla="*/ 840821 h 1359020"/>
                <a:gd name="connsiteX21" fmla="*/ 1369112 w 1395436"/>
                <a:gd name="connsiteY21" fmla="*/ 817009 h 1359020"/>
                <a:gd name="connsiteX22" fmla="*/ 1271480 w 1395436"/>
                <a:gd name="connsiteY22" fmla="*/ 924165 h 1359020"/>
                <a:gd name="connsiteX23" fmla="*/ 1214330 w 1395436"/>
                <a:gd name="connsiteY23" fmla="*/ 1057515 h 1359020"/>
                <a:gd name="connsiteX24" fmla="*/ 1152418 w 1395436"/>
                <a:gd name="connsiteY24" fmla="*/ 1128953 h 1359020"/>
                <a:gd name="connsiteX25" fmla="*/ 1133368 w 1395436"/>
                <a:gd name="connsiteY25" fmla="*/ 1155146 h 1359020"/>
                <a:gd name="connsiteX26" fmla="*/ 1097649 w 1395436"/>
                <a:gd name="connsiteY26" fmla="*/ 1183722 h 1359020"/>
                <a:gd name="connsiteX27" fmla="*/ 1088121 w 1395436"/>
                <a:gd name="connsiteY27" fmla="*/ 1250396 h 1359020"/>
                <a:gd name="connsiteX28" fmla="*/ 1047644 w 1395436"/>
                <a:gd name="connsiteY28" fmla="*/ 1355172 h 1359020"/>
                <a:gd name="connsiteX29" fmla="*/ 909530 w 1395436"/>
                <a:gd name="connsiteY29" fmla="*/ 1331359 h 1359020"/>
                <a:gd name="connsiteX30" fmla="*/ 747606 w 1395436"/>
                <a:gd name="connsiteY30" fmla="*/ 1283734 h 1359020"/>
                <a:gd name="connsiteX31" fmla="*/ 657118 w 1395436"/>
                <a:gd name="connsiteY31" fmla="*/ 1252777 h 1359020"/>
                <a:gd name="connsiteX32" fmla="*/ 559486 w 1395436"/>
                <a:gd name="connsiteY32" fmla="*/ 1214678 h 1359020"/>
                <a:gd name="connsiteX33" fmla="*/ 404705 w 1395436"/>
                <a:gd name="connsiteY33" fmla="*/ 1143240 h 1359020"/>
                <a:gd name="connsiteX34" fmla="*/ 276118 w 1395436"/>
                <a:gd name="connsiteY34" fmla="*/ 1078947 h 1359020"/>
                <a:gd name="connsiteX35" fmla="*/ 114193 w 1395436"/>
                <a:gd name="connsiteY35" fmla="*/ 988459 h 1359020"/>
                <a:gd name="connsiteX36" fmla="*/ 2274 w 1395436"/>
                <a:gd name="connsiteY36" fmla="*/ 907496 h 1359020"/>
                <a:gd name="connsiteX0" fmla="*/ 2274 w 1395436"/>
                <a:gd name="connsiteY0" fmla="*/ 907496 h 1359020"/>
                <a:gd name="connsiteX1" fmla="*/ 45137 w 1395436"/>
                <a:gd name="connsiteY1" fmla="*/ 769384 h 1359020"/>
                <a:gd name="connsiteX2" fmla="*/ 118955 w 1395436"/>
                <a:gd name="connsiteY2" fmla="*/ 607458 h 1359020"/>
                <a:gd name="connsiteX3" fmla="*/ 238018 w 1395436"/>
                <a:gd name="connsiteY3" fmla="*/ 407434 h 1359020"/>
                <a:gd name="connsiteX4" fmla="*/ 340412 w 1395436"/>
                <a:gd name="connsiteY4" fmla="*/ 264558 h 1359020"/>
                <a:gd name="connsiteX5" fmla="*/ 445187 w 1395436"/>
                <a:gd name="connsiteY5" fmla="*/ 143115 h 1359020"/>
                <a:gd name="connsiteX6" fmla="*/ 545199 w 1395436"/>
                <a:gd name="connsiteY6" fmla="*/ 43103 h 1359020"/>
                <a:gd name="connsiteX7" fmla="*/ 602349 w 1395436"/>
                <a:gd name="connsiteY7" fmla="*/ 240 h 1359020"/>
                <a:gd name="connsiteX8" fmla="*/ 704744 w 1395436"/>
                <a:gd name="connsiteY8" fmla="*/ 59771 h 1359020"/>
                <a:gd name="connsiteX9" fmla="*/ 828568 w 1395436"/>
                <a:gd name="connsiteY9" fmla="*/ 152641 h 1359020"/>
                <a:gd name="connsiteX10" fmla="*/ 926198 w 1395436"/>
                <a:gd name="connsiteY10" fmla="*/ 233603 h 1359020"/>
                <a:gd name="connsiteX11" fmla="*/ 1050024 w 1395436"/>
                <a:gd name="connsiteY11" fmla="*/ 345522 h 1359020"/>
                <a:gd name="connsiteX12" fmla="*/ 1164324 w 1395436"/>
                <a:gd name="connsiteY12" fmla="*/ 457440 h 1359020"/>
                <a:gd name="connsiteX13" fmla="*/ 1238142 w 1395436"/>
                <a:gd name="connsiteY13" fmla="*/ 536021 h 1359020"/>
                <a:gd name="connsiteX14" fmla="*/ 1354824 w 1395436"/>
                <a:gd name="connsiteY14" fmla="*/ 700328 h 1359020"/>
                <a:gd name="connsiteX15" fmla="*/ 1154799 w 1395436"/>
                <a:gd name="connsiteY15" fmla="*/ 557453 h 1359020"/>
                <a:gd name="connsiteX16" fmla="*/ 1059549 w 1395436"/>
                <a:gd name="connsiteY16" fmla="*/ 676515 h 1359020"/>
                <a:gd name="connsiteX17" fmla="*/ 1173849 w 1395436"/>
                <a:gd name="connsiteY17" fmla="*/ 681278 h 1359020"/>
                <a:gd name="connsiteX18" fmla="*/ 1297674 w 1395436"/>
                <a:gd name="connsiteY18" fmla="*/ 738428 h 1359020"/>
                <a:gd name="connsiteX19" fmla="*/ 1361968 w 1395436"/>
                <a:gd name="connsiteY19" fmla="*/ 781290 h 1359020"/>
                <a:gd name="connsiteX20" fmla="*/ 1395305 w 1395436"/>
                <a:gd name="connsiteY20" fmla="*/ 840821 h 1359020"/>
                <a:gd name="connsiteX21" fmla="*/ 1369112 w 1395436"/>
                <a:gd name="connsiteY21" fmla="*/ 817009 h 1359020"/>
                <a:gd name="connsiteX22" fmla="*/ 1271480 w 1395436"/>
                <a:gd name="connsiteY22" fmla="*/ 924165 h 1359020"/>
                <a:gd name="connsiteX23" fmla="*/ 1214330 w 1395436"/>
                <a:gd name="connsiteY23" fmla="*/ 1057515 h 1359020"/>
                <a:gd name="connsiteX24" fmla="*/ 1152418 w 1395436"/>
                <a:gd name="connsiteY24" fmla="*/ 1128953 h 1359020"/>
                <a:gd name="connsiteX25" fmla="*/ 1133368 w 1395436"/>
                <a:gd name="connsiteY25" fmla="*/ 1155146 h 1359020"/>
                <a:gd name="connsiteX26" fmla="*/ 1097649 w 1395436"/>
                <a:gd name="connsiteY26" fmla="*/ 1183722 h 1359020"/>
                <a:gd name="connsiteX27" fmla="*/ 1088121 w 1395436"/>
                <a:gd name="connsiteY27" fmla="*/ 1250396 h 1359020"/>
                <a:gd name="connsiteX28" fmla="*/ 1047644 w 1395436"/>
                <a:gd name="connsiteY28" fmla="*/ 1355172 h 1359020"/>
                <a:gd name="connsiteX29" fmla="*/ 909530 w 1395436"/>
                <a:gd name="connsiteY29" fmla="*/ 1331359 h 1359020"/>
                <a:gd name="connsiteX30" fmla="*/ 747606 w 1395436"/>
                <a:gd name="connsiteY30" fmla="*/ 1283734 h 1359020"/>
                <a:gd name="connsiteX31" fmla="*/ 657118 w 1395436"/>
                <a:gd name="connsiteY31" fmla="*/ 1252777 h 1359020"/>
                <a:gd name="connsiteX32" fmla="*/ 559486 w 1395436"/>
                <a:gd name="connsiteY32" fmla="*/ 1214678 h 1359020"/>
                <a:gd name="connsiteX33" fmla="*/ 404705 w 1395436"/>
                <a:gd name="connsiteY33" fmla="*/ 1143240 h 1359020"/>
                <a:gd name="connsiteX34" fmla="*/ 276118 w 1395436"/>
                <a:gd name="connsiteY34" fmla="*/ 1078947 h 1359020"/>
                <a:gd name="connsiteX35" fmla="*/ 114193 w 1395436"/>
                <a:gd name="connsiteY35" fmla="*/ 988459 h 1359020"/>
                <a:gd name="connsiteX36" fmla="*/ 2274 w 1395436"/>
                <a:gd name="connsiteY36" fmla="*/ 907496 h 1359020"/>
                <a:gd name="connsiteX0" fmla="*/ 2274 w 1395436"/>
                <a:gd name="connsiteY0" fmla="*/ 907496 h 1359020"/>
                <a:gd name="connsiteX1" fmla="*/ 45137 w 1395436"/>
                <a:gd name="connsiteY1" fmla="*/ 769384 h 1359020"/>
                <a:gd name="connsiteX2" fmla="*/ 118955 w 1395436"/>
                <a:gd name="connsiteY2" fmla="*/ 607458 h 1359020"/>
                <a:gd name="connsiteX3" fmla="*/ 238018 w 1395436"/>
                <a:gd name="connsiteY3" fmla="*/ 407434 h 1359020"/>
                <a:gd name="connsiteX4" fmla="*/ 340412 w 1395436"/>
                <a:gd name="connsiteY4" fmla="*/ 264558 h 1359020"/>
                <a:gd name="connsiteX5" fmla="*/ 445187 w 1395436"/>
                <a:gd name="connsiteY5" fmla="*/ 143115 h 1359020"/>
                <a:gd name="connsiteX6" fmla="*/ 545199 w 1395436"/>
                <a:gd name="connsiteY6" fmla="*/ 43103 h 1359020"/>
                <a:gd name="connsiteX7" fmla="*/ 602349 w 1395436"/>
                <a:gd name="connsiteY7" fmla="*/ 240 h 1359020"/>
                <a:gd name="connsiteX8" fmla="*/ 704744 w 1395436"/>
                <a:gd name="connsiteY8" fmla="*/ 59771 h 1359020"/>
                <a:gd name="connsiteX9" fmla="*/ 828568 w 1395436"/>
                <a:gd name="connsiteY9" fmla="*/ 152641 h 1359020"/>
                <a:gd name="connsiteX10" fmla="*/ 926198 w 1395436"/>
                <a:gd name="connsiteY10" fmla="*/ 233603 h 1359020"/>
                <a:gd name="connsiteX11" fmla="*/ 1050024 w 1395436"/>
                <a:gd name="connsiteY11" fmla="*/ 345522 h 1359020"/>
                <a:gd name="connsiteX12" fmla="*/ 1164324 w 1395436"/>
                <a:gd name="connsiteY12" fmla="*/ 457440 h 1359020"/>
                <a:gd name="connsiteX13" fmla="*/ 1238142 w 1395436"/>
                <a:gd name="connsiteY13" fmla="*/ 536021 h 1359020"/>
                <a:gd name="connsiteX14" fmla="*/ 1354824 w 1395436"/>
                <a:gd name="connsiteY14" fmla="*/ 700328 h 1359020"/>
                <a:gd name="connsiteX15" fmla="*/ 1154799 w 1395436"/>
                <a:gd name="connsiteY15" fmla="*/ 557453 h 1359020"/>
                <a:gd name="connsiteX16" fmla="*/ 1059549 w 1395436"/>
                <a:gd name="connsiteY16" fmla="*/ 676515 h 1359020"/>
                <a:gd name="connsiteX17" fmla="*/ 1173849 w 1395436"/>
                <a:gd name="connsiteY17" fmla="*/ 681278 h 1359020"/>
                <a:gd name="connsiteX18" fmla="*/ 1297674 w 1395436"/>
                <a:gd name="connsiteY18" fmla="*/ 738428 h 1359020"/>
                <a:gd name="connsiteX19" fmla="*/ 1361968 w 1395436"/>
                <a:gd name="connsiteY19" fmla="*/ 781290 h 1359020"/>
                <a:gd name="connsiteX20" fmla="*/ 1395305 w 1395436"/>
                <a:gd name="connsiteY20" fmla="*/ 840821 h 1359020"/>
                <a:gd name="connsiteX21" fmla="*/ 1369112 w 1395436"/>
                <a:gd name="connsiteY21" fmla="*/ 817009 h 1359020"/>
                <a:gd name="connsiteX22" fmla="*/ 1271480 w 1395436"/>
                <a:gd name="connsiteY22" fmla="*/ 924165 h 1359020"/>
                <a:gd name="connsiteX23" fmla="*/ 1214330 w 1395436"/>
                <a:gd name="connsiteY23" fmla="*/ 1057515 h 1359020"/>
                <a:gd name="connsiteX24" fmla="*/ 1152418 w 1395436"/>
                <a:gd name="connsiteY24" fmla="*/ 1128953 h 1359020"/>
                <a:gd name="connsiteX25" fmla="*/ 1133368 w 1395436"/>
                <a:gd name="connsiteY25" fmla="*/ 1155146 h 1359020"/>
                <a:gd name="connsiteX26" fmla="*/ 1097649 w 1395436"/>
                <a:gd name="connsiteY26" fmla="*/ 1183722 h 1359020"/>
                <a:gd name="connsiteX27" fmla="*/ 1088121 w 1395436"/>
                <a:gd name="connsiteY27" fmla="*/ 1250396 h 1359020"/>
                <a:gd name="connsiteX28" fmla="*/ 1047644 w 1395436"/>
                <a:gd name="connsiteY28" fmla="*/ 1355172 h 1359020"/>
                <a:gd name="connsiteX29" fmla="*/ 909530 w 1395436"/>
                <a:gd name="connsiteY29" fmla="*/ 1331359 h 1359020"/>
                <a:gd name="connsiteX30" fmla="*/ 747606 w 1395436"/>
                <a:gd name="connsiteY30" fmla="*/ 1283734 h 1359020"/>
                <a:gd name="connsiteX31" fmla="*/ 657118 w 1395436"/>
                <a:gd name="connsiteY31" fmla="*/ 1252777 h 1359020"/>
                <a:gd name="connsiteX32" fmla="*/ 559486 w 1395436"/>
                <a:gd name="connsiteY32" fmla="*/ 1214678 h 1359020"/>
                <a:gd name="connsiteX33" fmla="*/ 404705 w 1395436"/>
                <a:gd name="connsiteY33" fmla="*/ 1143240 h 1359020"/>
                <a:gd name="connsiteX34" fmla="*/ 276118 w 1395436"/>
                <a:gd name="connsiteY34" fmla="*/ 1078947 h 1359020"/>
                <a:gd name="connsiteX35" fmla="*/ 114193 w 1395436"/>
                <a:gd name="connsiteY35" fmla="*/ 988459 h 1359020"/>
                <a:gd name="connsiteX36" fmla="*/ 2274 w 1395436"/>
                <a:gd name="connsiteY36" fmla="*/ 907496 h 1359020"/>
                <a:gd name="connsiteX0" fmla="*/ 2274 w 1395436"/>
                <a:gd name="connsiteY0" fmla="*/ 907496 h 1359020"/>
                <a:gd name="connsiteX1" fmla="*/ 45137 w 1395436"/>
                <a:gd name="connsiteY1" fmla="*/ 769384 h 1359020"/>
                <a:gd name="connsiteX2" fmla="*/ 118955 w 1395436"/>
                <a:gd name="connsiteY2" fmla="*/ 607458 h 1359020"/>
                <a:gd name="connsiteX3" fmla="*/ 238018 w 1395436"/>
                <a:gd name="connsiteY3" fmla="*/ 407434 h 1359020"/>
                <a:gd name="connsiteX4" fmla="*/ 340412 w 1395436"/>
                <a:gd name="connsiteY4" fmla="*/ 264558 h 1359020"/>
                <a:gd name="connsiteX5" fmla="*/ 445187 w 1395436"/>
                <a:gd name="connsiteY5" fmla="*/ 143115 h 1359020"/>
                <a:gd name="connsiteX6" fmla="*/ 545199 w 1395436"/>
                <a:gd name="connsiteY6" fmla="*/ 43103 h 1359020"/>
                <a:gd name="connsiteX7" fmla="*/ 602349 w 1395436"/>
                <a:gd name="connsiteY7" fmla="*/ 240 h 1359020"/>
                <a:gd name="connsiteX8" fmla="*/ 704744 w 1395436"/>
                <a:gd name="connsiteY8" fmla="*/ 59771 h 1359020"/>
                <a:gd name="connsiteX9" fmla="*/ 828568 w 1395436"/>
                <a:gd name="connsiteY9" fmla="*/ 152641 h 1359020"/>
                <a:gd name="connsiteX10" fmla="*/ 926198 w 1395436"/>
                <a:gd name="connsiteY10" fmla="*/ 233603 h 1359020"/>
                <a:gd name="connsiteX11" fmla="*/ 1050024 w 1395436"/>
                <a:gd name="connsiteY11" fmla="*/ 345522 h 1359020"/>
                <a:gd name="connsiteX12" fmla="*/ 1164324 w 1395436"/>
                <a:gd name="connsiteY12" fmla="*/ 457440 h 1359020"/>
                <a:gd name="connsiteX13" fmla="*/ 1238142 w 1395436"/>
                <a:gd name="connsiteY13" fmla="*/ 536021 h 1359020"/>
                <a:gd name="connsiteX14" fmla="*/ 1354824 w 1395436"/>
                <a:gd name="connsiteY14" fmla="*/ 700328 h 1359020"/>
                <a:gd name="connsiteX15" fmla="*/ 1154799 w 1395436"/>
                <a:gd name="connsiteY15" fmla="*/ 557453 h 1359020"/>
                <a:gd name="connsiteX16" fmla="*/ 1059549 w 1395436"/>
                <a:gd name="connsiteY16" fmla="*/ 676515 h 1359020"/>
                <a:gd name="connsiteX17" fmla="*/ 1173849 w 1395436"/>
                <a:gd name="connsiteY17" fmla="*/ 681278 h 1359020"/>
                <a:gd name="connsiteX18" fmla="*/ 1297674 w 1395436"/>
                <a:gd name="connsiteY18" fmla="*/ 738428 h 1359020"/>
                <a:gd name="connsiteX19" fmla="*/ 1361968 w 1395436"/>
                <a:gd name="connsiteY19" fmla="*/ 781290 h 1359020"/>
                <a:gd name="connsiteX20" fmla="*/ 1395305 w 1395436"/>
                <a:gd name="connsiteY20" fmla="*/ 840821 h 1359020"/>
                <a:gd name="connsiteX21" fmla="*/ 1369112 w 1395436"/>
                <a:gd name="connsiteY21" fmla="*/ 817009 h 1359020"/>
                <a:gd name="connsiteX22" fmla="*/ 1271480 w 1395436"/>
                <a:gd name="connsiteY22" fmla="*/ 924165 h 1359020"/>
                <a:gd name="connsiteX23" fmla="*/ 1214330 w 1395436"/>
                <a:gd name="connsiteY23" fmla="*/ 1057515 h 1359020"/>
                <a:gd name="connsiteX24" fmla="*/ 1152418 w 1395436"/>
                <a:gd name="connsiteY24" fmla="*/ 1128953 h 1359020"/>
                <a:gd name="connsiteX25" fmla="*/ 1133368 w 1395436"/>
                <a:gd name="connsiteY25" fmla="*/ 1155146 h 1359020"/>
                <a:gd name="connsiteX26" fmla="*/ 1128605 w 1395436"/>
                <a:gd name="connsiteY26" fmla="*/ 1169435 h 1359020"/>
                <a:gd name="connsiteX27" fmla="*/ 1088121 w 1395436"/>
                <a:gd name="connsiteY27" fmla="*/ 1250396 h 1359020"/>
                <a:gd name="connsiteX28" fmla="*/ 1047644 w 1395436"/>
                <a:gd name="connsiteY28" fmla="*/ 1355172 h 1359020"/>
                <a:gd name="connsiteX29" fmla="*/ 909530 w 1395436"/>
                <a:gd name="connsiteY29" fmla="*/ 1331359 h 1359020"/>
                <a:gd name="connsiteX30" fmla="*/ 747606 w 1395436"/>
                <a:gd name="connsiteY30" fmla="*/ 1283734 h 1359020"/>
                <a:gd name="connsiteX31" fmla="*/ 657118 w 1395436"/>
                <a:gd name="connsiteY31" fmla="*/ 1252777 h 1359020"/>
                <a:gd name="connsiteX32" fmla="*/ 559486 w 1395436"/>
                <a:gd name="connsiteY32" fmla="*/ 1214678 h 1359020"/>
                <a:gd name="connsiteX33" fmla="*/ 404705 w 1395436"/>
                <a:gd name="connsiteY33" fmla="*/ 1143240 h 1359020"/>
                <a:gd name="connsiteX34" fmla="*/ 276118 w 1395436"/>
                <a:gd name="connsiteY34" fmla="*/ 1078947 h 1359020"/>
                <a:gd name="connsiteX35" fmla="*/ 114193 w 1395436"/>
                <a:gd name="connsiteY35" fmla="*/ 988459 h 1359020"/>
                <a:gd name="connsiteX36" fmla="*/ 2274 w 1395436"/>
                <a:gd name="connsiteY36" fmla="*/ 907496 h 1359020"/>
                <a:gd name="connsiteX0" fmla="*/ 2274 w 1395436"/>
                <a:gd name="connsiteY0" fmla="*/ 907496 h 1359020"/>
                <a:gd name="connsiteX1" fmla="*/ 45137 w 1395436"/>
                <a:gd name="connsiteY1" fmla="*/ 769384 h 1359020"/>
                <a:gd name="connsiteX2" fmla="*/ 118955 w 1395436"/>
                <a:gd name="connsiteY2" fmla="*/ 607458 h 1359020"/>
                <a:gd name="connsiteX3" fmla="*/ 238018 w 1395436"/>
                <a:gd name="connsiteY3" fmla="*/ 407434 h 1359020"/>
                <a:gd name="connsiteX4" fmla="*/ 340412 w 1395436"/>
                <a:gd name="connsiteY4" fmla="*/ 264558 h 1359020"/>
                <a:gd name="connsiteX5" fmla="*/ 445187 w 1395436"/>
                <a:gd name="connsiteY5" fmla="*/ 143115 h 1359020"/>
                <a:gd name="connsiteX6" fmla="*/ 545199 w 1395436"/>
                <a:gd name="connsiteY6" fmla="*/ 43103 h 1359020"/>
                <a:gd name="connsiteX7" fmla="*/ 602349 w 1395436"/>
                <a:gd name="connsiteY7" fmla="*/ 240 h 1359020"/>
                <a:gd name="connsiteX8" fmla="*/ 704744 w 1395436"/>
                <a:gd name="connsiteY8" fmla="*/ 59771 h 1359020"/>
                <a:gd name="connsiteX9" fmla="*/ 828568 w 1395436"/>
                <a:gd name="connsiteY9" fmla="*/ 152641 h 1359020"/>
                <a:gd name="connsiteX10" fmla="*/ 926198 w 1395436"/>
                <a:gd name="connsiteY10" fmla="*/ 233603 h 1359020"/>
                <a:gd name="connsiteX11" fmla="*/ 1050024 w 1395436"/>
                <a:gd name="connsiteY11" fmla="*/ 345522 h 1359020"/>
                <a:gd name="connsiteX12" fmla="*/ 1164324 w 1395436"/>
                <a:gd name="connsiteY12" fmla="*/ 457440 h 1359020"/>
                <a:gd name="connsiteX13" fmla="*/ 1238142 w 1395436"/>
                <a:gd name="connsiteY13" fmla="*/ 536021 h 1359020"/>
                <a:gd name="connsiteX14" fmla="*/ 1354824 w 1395436"/>
                <a:gd name="connsiteY14" fmla="*/ 700328 h 1359020"/>
                <a:gd name="connsiteX15" fmla="*/ 1154799 w 1395436"/>
                <a:gd name="connsiteY15" fmla="*/ 557453 h 1359020"/>
                <a:gd name="connsiteX16" fmla="*/ 1173849 w 1395436"/>
                <a:gd name="connsiteY16" fmla="*/ 681278 h 1359020"/>
                <a:gd name="connsiteX17" fmla="*/ 1297674 w 1395436"/>
                <a:gd name="connsiteY17" fmla="*/ 738428 h 1359020"/>
                <a:gd name="connsiteX18" fmla="*/ 1361968 w 1395436"/>
                <a:gd name="connsiteY18" fmla="*/ 781290 h 1359020"/>
                <a:gd name="connsiteX19" fmla="*/ 1395305 w 1395436"/>
                <a:gd name="connsiteY19" fmla="*/ 840821 h 1359020"/>
                <a:gd name="connsiteX20" fmla="*/ 1369112 w 1395436"/>
                <a:gd name="connsiteY20" fmla="*/ 817009 h 1359020"/>
                <a:gd name="connsiteX21" fmla="*/ 1271480 w 1395436"/>
                <a:gd name="connsiteY21" fmla="*/ 924165 h 1359020"/>
                <a:gd name="connsiteX22" fmla="*/ 1214330 w 1395436"/>
                <a:gd name="connsiteY22" fmla="*/ 1057515 h 1359020"/>
                <a:gd name="connsiteX23" fmla="*/ 1152418 w 1395436"/>
                <a:gd name="connsiteY23" fmla="*/ 1128953 h 1359020"/>
                <a:gd name="connsiteX24" fmla="*/ 1133368 w 1395436"/>
                <a:gd name="connsiteY24" fmla="*/ 1155146 h 1359020"/>
                <a:gd name="connsiteX25" fmla="*/ 1128605 w 1395436"/>
                <a:gd name="connsiteY25" fmla="*/ 1169435 h 1359020"/>
                <a:gd name="connsiteX26" fmla="*/ 1088121 w 1395436"/>
                <a:gd name="connsiteY26" fmla="*/ 1250396 h 1359020"/>
                <a:gd name="connsiteX27" fmla="*/ 1047644 w 1395436"/>
                <a:gd name="connsiteY27" fmla="*/ 1355172 h 1359020"/>
                <a:gd name="connsiteX28" fmla="*/ 909530 w 1395436"/>
                <a:gd name="connsiteY28" fmla="*/ 1331359 h 1359020"/>
                <a:gd name="connsiteX29" fmla="*/ 747606 w 1395436"/>
                <a:gd name="connsiteY29" fmla="*/ 1283734 h 1359020"/>
                <a:gd name="connsiteX30" fmla="*/ 657118 w 1395436"/>
                <a:gd name="connsiteY30" fmla="*/ 1252777 h 1359020"/>
                <a:gd name="connsiteX31" fmla="*/ 559486 w 1395436"/>
                <a:gd name="connsiteY31" fmla="*/ 1214678 h 1359020"/>
                <a:gd name="connsiteX32" fmla="*/ 404705 w 1395436"/>
                <a:gd name="connsiteY32" fmla="*/ 1143240 h 1359020"/>
                <a:gd name="connsiteX33" fmla="*/ 276118 w 1395436"/>
                <a:gd name="connsiteY33" fmla="*/ 1078947 h 1359020"/>
                <a:gd name="connsiteX34" fmla="*/ 114193 w 1395436"/>
                <a:gd name="connsiteY34" fmla="*/ 988459 h 1359020"/>
                <a:gd name="connsiteX35" fmla="*/ 2274 w 1395436"/>
                <a:gd name="connsiteY35" fmla="*/ 907496 h 1359020"/>
                <a:gd name="connsiteX0" fmla="*/ 2274 w 1395436"/>
                <a:gd name="connsiteY0" fmla="*/ 907496 h 1359020"/>
                <a:gd name="connsiteX1" fmla="*/ 45137 w 1395436"/>
                <a:gd name="connsiteY1" fmla="*/ 769384 h 1359020"/>
                <a:gd name="connsiteX2" fmla="*/ 118955 w 1395436"/>
                <a:gd name="connsiteY2" fmla="*/ 607458 h 1359020"/>
                <a:gd name="connsiteX3" fmla="*/ 238018 w 1395436"/>
                <a:gd name="connsiteY3" fmla="*/ 407434 h 1359020"/>
                <a:gd name="connsiteX4" fmla="*/ 340412 w 1395436"/>
                <a:gd name="connsiteY4" fmla="*/ 264558 h 1359020"/>
                <a:gd name="connsiteX5" fmla="*/ 445187 w 1395436"/>
                <a:gd name="connsiteY5" fmla="*/ 143115 h 1359020"/>
                <a:gd name="connsiteX6" fmla="*/ 545199 w 1395436"/>
                <a:gd name="connsiteY6" fmla="*/ 43103 h 1359020"/>
                <a:gd name="connsiteX7" fmla="*/ 602349 w 1395436"/>
                <a:gd name="connsiteY7" fmla="*/ 240 h 1359020"/>
                <a:gd name="connsiteX8" fmla="*/ 704744 w 1395436"/>
                <a:gd name="connsiteY8" fmla="*/ 59771 h 1359020"/>
                <a:gd name="connsiteX9" fmla="*/ 828568 w 1395436"/>
                <a:gd name="connsiteY9" fmla="*/ 152641 h 1359020"/>
                <a:gd name="connsiteX10" fmla="*/ 926198 w 1395436"/>
                <a:gd name="connsiteY10" fmla="*/ 233603 h 1359020"/>
                <a:gd name="connsiteX11" fmla="*/ 1050024 w 1395436"/>
                <a:gd name="connsiteY11" fmla="*/ 345522 h 1359020"/>
                <a:gd name="connsiteX12" fmla="*/ 1164324 w 1395436"/>
                <a:gd name="connsiteY12" fmla="*/ 457440 h 1359020"/>
                <a:gd name="connsiteX13" fmla="*/ 1238142 w 1395436"/>
                <a:gd name="connsiteY13" fmla="*/ 536021 h 1359020"/>
                <a:gd name="connsiteX14" fmla="*/ 1354824 w 1395436"/>
                <a:gd name="connsiteY14" fmla="*/ 700328 h 1359020"/>
                <a:gd name="connsiteX15" fmla="*/ 1173849 w 1395436"/>
                <a:gd name="connsiteY15" fmla="*/ 681278 h 1359020"/>
                <a:gd name="connsiteX16" fmla="*/ 1297674 w 1395436"/>
                <a:gd name="connsiteY16" fmla="*/ 738428 h 1359020"/>
                <a:gd name="connsiteX17" fmla="*/ 1361968 w 1395436"/>
                <a:gd name="connsiteY17" fmla="*/ 781290 h 1359020"/>
                <a:gd name="connsiteX18" fmla="*/ 1395305 w 1395436"/>
                <a:gd name="connsiteY18" fmla="*/ 840821 h 1359020"/>
                <a:gd name="connsiteX19" fmla="*/ 1369112 w 1395436"/>
                <a:gd name="connsiteY19" fmla="*/ 817009 h 1359020"/>
                <a:gd name="connsiteX20" fmla="*/ 1271480 w 1395436"/>
                <a:gd name="connsiteY20" fmla="*/ 924165 h 1359020"/>
                <a:gd name="connsiteX21" fmla="*/ 1214330 w 1395436"/>
                <a:gd name="connsiteY21" fmla="*/ 1057515 h 1359020"/>
                <a:gd name="connsiteX22" fmla="*/ 1152418 w 1395436"/>
                <a:gd name="connsiteY22" fmla="*/ 1128953 h 1359020"/>
                <a:gd name="connsiteX23" fmla="*/ 1133368 w 1395436"/>
                <a:gd name="connsiteY23" fmla="*/ 1155146 h 1359020"/>
                <a:gd name="connsiteX24" fmla="*/ 1128605 w 1395436"/>
                <a:gd name="connsiteY24" fmla="*/ 1169435 h 1359020"/>
                <a:gd name="connsiteX25" fmla="*/ 1088121 w 1395436"/>
                <a:gd name="connsiteY25" fmla="*/ 1250396 h 1359020"/>
                <a:gd name="connsiteX26" fmla="*/ 1047644 w 1395436"/>
                <a:gd name="connsiteY26" fmla="*/ 1355172 h 1359020"/>
                <a:gd name="connsiteX27" fmla="*/ 909530 w 1395436"/>
                <a:gd name="connsiteY27" fmla="*/ 1331359 h 1359020"/>
                <a:gd name="connsiteX28" fmla="*/ 747606 w 1395436"/>
                <a:gd name="connsiteY28" fmla="*/ 1283734 h 1359020"/>
                <a:gd name="connsiteX29" fmla="*/ 657118 w 1395436"/>
                <a:gd name="connsiteY29" fmla="*/ 1252777 h 1359020"/>
                <a:gd name="connsiteX30" fmla="*/ 559486 w 1395436"/>
                <a:gd name="connsiteY30" fmla="*/ 1214678 h 1359020"/>
                <a:gd name="connsiteX31" fmla="*/ 404705 w 1395436"/>
                <a:gd name="connsiteY31" fmla="*/ 1143240 h 1359020"/>
                <a:gd name="connsiteX32" fmla="*/ 276118 w 1395436"/>
                <a:gd name="connsiteY32" fmla="*/ 1078947 h 1359020"/>
                <a:gd name="connsiteX33" fmla="*/ 114193 w 1395436"/>
                <a:gd name="connsiteY33" fmla="*/ 988459 h 1359020"/>
                <a:gd name="connsiteX34" fmla="*/ 2274 w 1395436"/>
                <a:gd name="connsiteY34" fmla="*/ 907496 h 1359020"/>
                <a:gd name="connsiteX0" fmla="*/ 2274 w 1395436"/>
                <a:gd name="connsiteY0" fmla="*/ 907496 h 1359020"/>
                <a:gd name="connsiteX1" fmla="*/ 45137 w 1395436"/>
                <a:gd name="connsiteY1" fmla="*/ 769384 h 1359020"/>
                <a:gd name="connsiteX2" fmla="*/ 118955 w 1395436"/>
                <a:gd name="connsiteY2" fmla="*/ 607458 h 1359020"/>
                <a:gd name="connsiteX3" fmla="*/ 238018 w 1395436"/>
                <a:gd name="connsiteY3" fmla="*/ 407434 h 1359020"/>
                <a:gd name="connsiteX4" fmla="*/ 340412 w 1395436"/>
                <a:gd name="connsiteY4" fmla="*/ 264558 h 1359020"/>
                <a:gd name="connsiteX5" fmla="*/ 445187 w 1395436"/>
                <a:gd name="connsiteY5" fmla="*/ 143115 h 1359020"/>
                <a:gd name="connsiteX6" fmla="*/ 545199 w 1395436"/>
                <a:gd name="connsiteY6" fmla="*/ 43103 h 1359020"/>
                <a:gd name="connsiteX7" fmla="*/ 602349 w 1395436"/>
                <a:gd name="connsiteY7" fmla="*/ 240 h 1359020"/>
                <a:gd name="connsiteX8" fmla="*/ 704744 w 1395436"/>
                <a:gd name="connsiteY8" fmla="*/ 59771 h 1359020"/>
                <a:gd name="connsiteX9" fmla="*/ 828568 w 1395436"/>
                <a:gd name="connsiteY9" fmla="*/ 152641 h 1359020"/>
                <a:gd name="connsiteX10" fmla="*/ 926198 w 1395436"/>
                <a:gd name="connsiteY10" fmla="*/ 233603 h 1359020"/>
                <a:gd name="connsiteX11" fmla="*/ 1050024 w 1395436"/>
                <a:gd name="connsiteY11" fmla="*/ 345522 h 1359020"/>
                <a:gd name="connsiteX12" fmla="*/ 1164324 w 1395436"/>
                <a:gd name="connsiteY12" fmla="*/ 457440 h 1359020"/>
                <a:gd name="connsiteX13" fmla="*/ 1238142 w 1395436"/>
                <a:gd name="connsiteY13" fmla="*/ 536021 h 1359020"/>
                <a:gd name="connsiteX14" fmla="*/ 1354824 w 1395436"/>
                <a:gd name="connsiteY14" fmla="*/ 700328 h 1359020"/>
                <a:gd name="connsiteX15" fmla="*/ 1297674 w 1395436"/>
                <a:gd name="connsiteY15" fmla="*/ 738428 h 1359020"/>
                <a:gd name="connsiteX16" fmla="*/ 1361968 w 1395436"/>
                <a:gd name="connsiteY16" fmla="*/ 781290 h 1359020"/>
                <a:gd name="connsiteX17" fmla="*/ 1395305 w 1395436"/>
                <a:gd name="connsiteY17" fmla="*/ 840821 h 1359020"/>
                <a:gd name="connsiteX18" fmla="*/ 1369112 w 1395436"/>
                <a:gd name="connsiteY18" fmla="*/ 817009 h 1359020"/>
                <a:gd name="connsiteX19" fmla="*/ 1271480 w 1395436"/>
                <a:gd name="connsiteY19" fmla="*/ 924165 h 1359020"/>
                <a:gd name="connsiteX20" fmla="*/ 1214330 w 1395436"/>
                <a:gd name="connsiteY20" fmla="*/ 1057515 h 1359020"/>
                <a:gd name="connsiteX21" fmla="*/ 1152418 w 1395436"/>
                <a:gd name="connsiteY21" fmla="*/ 1128953 h 1359020"/>
                <a:gd name="connsiteX22" fmla="*/ 1133368 w 1395436"/>
                <a:gd name="connsiteY22" fmla="*/ 1155146 h 1359020"/>
                <a:gd name="connsiteX23" fmla="*/ 1128605 w 1395436"/>
                <a:gd name="connsiteY23" fmla="*/ 1169435 h 1359020"/>
                <a:gd name="connsiteX24" fmla="*/ 1088121 w 1395436"/>
                <a:gd name="connsiteY24" fmla="*/ 1250396 h 1359020"/>
                <a:gd name="connsiteX25" fmla="*/ 1047644 w 1395436"/>
                <a:gd name="connsiteY25" fmla="*/ 1355172 h 1359020"/>
                <a:gd name="connsiteX26" fmla="*/ 909530 w 1395436"/>
                <a:gd name="connsiteY26" fmla="*/ 1331359 h 1359020"/>
                <a:gd name="connsiteX27" fmla="*/ 747606 w 1395436"/>
                <a:gd name="connsiteY27" fmla="*/ 1283734 h 1359020"/>
                <a:gd name="connsiteX28" fmla="*/ 657118 w 1395436"/>
                <a:gd name="connsiteY28" fmla="*/ 1252777 h 1359020"/>
                <a:gd name="connsiteX29" fmla="*/ 559486 w 1395436"/>
                <a:gd name="connsiteY29" fmla="*/ 1214678 h 1359020"/>
                <a:gd name="connsiteX30" fmla="*/ 404705 w 1395436"/>
                <a:gd name="connsiteY30" fmla="*/ 1143240 h 1359020"/>
                <a:gd name="connsiteX31" fmla="*/ 276118 w 1395436"/>
                <a:gd name="connsiteY31" fmla="*/ 1078947 h 1359020"/>
                <a:gd name="connsiteX32" fmla="*/ 114193 w 1395436"/>
                <a:gd name="connsiteY32" fmla="*/ 988459 h 1359020"/>
                <a:gd name="connsiteX33" fmla="*/ 2274 w 1395436"/>
                <a:gd name="connsiteY33" fmla="*/ 907496 h 1359020"/>
                <a:gd name="connsiteX0" fmla="*/ 2274 w 1395436"/>
                <a:gd name="connsiteY0" fmla="*/ 907496 h 1359020"/>
                <a:gd name="connsiteX1" fmla="*/ 45137 w 1395436"/>
                <a:gd name="connsiteY1" fmla="*/ 769384 h 1359020"/>
                <a:gd name="connsiteX2" fmla="*/ 118955 w 1395436"/>
                <a:gd name="connsiteY2" fmla="*/ 607458 h 1359020"/>
                <a:gd name="connsiteX3" fmla="*/ 238018 w 1395436"/>
                <a:gd name="connsiteY3" fmla="*/ 407434 h 1359020"/>
                <a:gd name="connsiteX4" fmla="*/ 340412 w 1395436"/>
                <a:gd name="connsiteY4" fmla="*/ 264558 h 1359020"/>
                <a:gd name="connsiteX5" fmla="*/ 445187 w 1395436"/>
                <a:gd name="connsiteY5" fmla="*/ 143115 h 1359020"/>
                <a:gd name="connsiteX6" fmla="*/ 545199 w 1395436"/>
                <a:gd name="connsiteY6" fmla="*/ 43103 h 1359020"/>
                <a:gd name="connsiteX7" fmla="*/ 602349 w 1395436"/>
                <a:gd name="connsiteY7" fmla="*/ 240 h 1359020"/>
                <a:gd name="connsiteX8" fmla="*/ 704744 w 1395436"/>
                <a:gd name="connsiteY8" fmla="*/ 59771 h 1359020"/>
                <a:gd name="connsiteX9" fmla="*/ 828568 w 1395436"/>
                <a:gd name="connsiteY9" fmla="*/ 152641 h 1359020"/>
                <a:gd name="connsiteX10" fmla="*/ 926198 w 1395436"/>
                <a:gd name="connsiteY10" fmla="*/ 233603 h 1359020"/>
                <a:gd name="connsiteX11" fmla="*/ 1050024 w 1395436"/>
                <a:gd name="connsiteY11" fmla="*/ 345522 h 1359020"/>
                <a:gd name="connsiteX12" fmla="*/ 1164324 w 1395436"/>
                <a:gd name="connsiteY12" fmla="*/ 457440 h 1359020"/>
                <a:gd name="connsiteX13" fmla="*/ 1238142 w 1395436"/>
                <a:gd name="connsiteY13" fmla="*/ 536021 h 1359020"/>
                <a:gd name="connsiteX14" fmla="*/ 1354824 w 1395436"/>
                <a:gd name="connsiteY14" fmla="*/ 700328 h 1359020"/>
                <a:gd name="connsiteX15" fmla="*/ 1361968 w 1395436"/>
                <a:gd name="connsiteY15" fmla="*/ 781290 h 1359020"/>
                <a:gd name="connsiteX16" fmla="*/ 1395305 w 1395436"/>
                <a:gd name="connsiteY16" fmla="*/ 840821 h 1359020"/>
                <a:gd name="connsiteX17" fmla="*/ 1369112 w 1395436"/>
                <a:gd name="connsiteY17" fmla="*/ 817009 h 1359020"/>
                <a:gd name="connsiteX18" fmla="*/ 1271480 w 1395436"/>
                <a:gd name="connsiteY18" fmla="*/ 924165 h 1359020"/>
                <a:gd name="connsiteX19" fmla="*/ 1214330 w 1395436"/>
                <a:gd name="connsiteY19" fmla="*/ 1057515 h 1359020"/>
                <a:gd name="connsiteX20" fmla="*/ 1152418 w 1395436"/>
                <a:gd name="connsiteY20" fmla="*/ 1128953 h 1359020"/>
                <a:gd name="connsiteX21" fmla="*/ 1133368 w 1395436"/>
                <a:gd name="connsiteY21" fmla="*/ 1155146 h 1359020"/>
                <a:gd name="connsiteX22" fmla="*/ 1128605 w 1395436"/>
                <a:gd name="connsiteY22" fmla="*/ 1169435 h 1359020"/>
                <a:gd name="connsiteX23" fmla="*/ 1088121 w 1395436"/>
                <a:gd name="connsiteY23" fmla="*/ 1250396 h 1359020"/>
                <a:gd name="connsiteX24" fmla="*/ 1047644 w 1395436"/>
                <a:gd name="connsiteY24" fmla="*/ 1355172 h 1359020"/>
                <a:gd name="connsiteX25" fmla="*/ 909530 w 1395436"/>
                <a:gd name="connsiteY25" fmla="*/ 1331359 h 1359020"/>
                <a:gd name="connsiteX26" fmla="*/ 747606 w 1395436"/>
                <a:gd name="connsiteY26" fmla="*/ 1283734 h 1359020"/>
                <a:gd name="connsiteX27" fmla="*/ 657118 w 1395436"/>
                <a:gd name="connsiteY27" fmla="*/ 1252777 h 1359020"/>
                <a:gd name="connsiteX28" fmla="*/ 559486 w 1395436"/>
                <a:gd name="connsiteY28" fmla="*/ 1214678 h 1359020"/>
                <a:gd name="connsiteX29" fmla="*/ 404705 w 1395436"/>
                <a:gd name="connsiteY29" fmla="*/ 1143240 h 1359020"/>
                <a:gd name="connsiteX30" fmla="*/ 276118 w 1395436"/>
                <a:gd name="connsiteY30" fmla="*/ 1078947 h 1359020"/>
                <a:gd name="connsiteX31" fmla="*/ 114193 w 1395436"/>
                <a:gd name="connsiteY31" fmla="*/ 988459 h 1359020"/>
                <a:gd name="connsiteX32" fmla="*/ 2274 w 1395436"/>
                <a:gd name="connsiteY32" fmla="*/ 907496 h 1359020"/>
                <a:gd name="connsiteX0" fmla="*/ 2274 w 1395713"/>
                <a:gd name="connsiteY0" fmla="*/ 907496 h 1359020"/>
                <a:gd name="connsiteX1" fmla="*/ 45137 w 1395713"/>
                <a:gd name="connsiteY1" fmla="*/ 769384 h 1359020"/>
                <a:gd name="connsiteX2" fmla="*/ 118955 w 1395713"/>
                <a:gd name="connsiteY2" fmla="*/ 607458 h 1359020"/>
                <a:gd name="connsiteX3" fmla="*/ 238018 w 1395713"/>
                <a:gd name="connsiteY3" fmla="*/ 407434 h 1359020"/>
                <a:gd name="connsiteX4" fmla="*/ 340412 w 1395713"/>
                <a:gd name="connsiteY4" fmla="*/ 264558 h 1359020"/>
                <a:gd name="connsiteX5" fmla="*/ 445187 w 1395713"/>
                <a:gd name="connsiteY5" fmla="*/ 143115 h 1359020"/>
                <a:gd name="connsiteX6" fmla="*/ 545199 w 1395713"/>
                <a:gd name="connsiteY6" fmla="*/ 43103 h 1359020"/>
                <a:gd name="connsiteX7" fmla="*/ 602349 w 1395713"/>
                <a:gd name="connsiteY7" fmla="*/ 240 h 1359020"/>
                <a:gd name="connsiteX8" fmla="*/ 704744 w 1395713"/>
                <a:gd name="connsiteY8" fmla="*/ 59771 h 1359020"/>
                <a:gd name="connsiteX9" fmla="*/ 828568 w 1395713"/>
                <a:gd name="connsiteY9" fmla="*/ 152641 h 1359020"/>
                <a:gd name="connsiteX10" fmla="*/ 926198 w 1395713"/>
                <a:gd name="connsiteY10" fmla="*/ 233603 h 1359020"/>
                <a:gd name="connsiteX11" fmla="*/ 1050024 w 1395713"/>
                <a:gd name="connsiteY11" fmla="*/ 345522 h 1359020"/>
                <a:gd name="connsiteX12" fmla="*/ 1164324 w 1395713"/>
                <a:gd name="connsiteY12" fmla="*/ 457440 h 1359020"/>
                <a:gd name="connsiteX13" fmla="*/ 1238142 w 1395713"/>
                <a:gd name="connsiteY13" fmla="*/ 536021 h 1359020"/>
                <a:gd name="connsiteX14" fmla="*/ 1354824 w 1395713"/>
                <a:gd name="connsiteY14" fmla="*/ 700328 h 1359020"/>
                <a:gd name="connsiteX15" fmla="*/ 1395305 w 1395713"/>
                <a:gd name="connsiteY15" fmla="*/ 840821 h 1359020"/>
                <a:gd name="connsiteX16" fmla="*/ 1369112 w 1395713"/>
                <a:gd name="connsiteY16" fmla="*/ 817009 h 1359020"/>
                <a:gd name="connsiteX17" fmla="*/ 1271480 w 1395713"/>
                <a:gd name="connsiteY17" fmla="*/ 924165 h 1359020"/>
                <a:gd name="connsiteX18" fmla="*/ 1214330 w 1395713"/>
                <a:gd name="connsiteY18" fmla="*/ 1057515 h 1359020"/>
                <a:gd name="connsiteX19" fmla="*/ 1152418 w 1395713"/>
                <a:gd name="connsiteY19" fmla="*/ 1128953 h 1359020"/>
                <a:gd name="connsiteX20" fmla="*/ 1133368 w 1395713"/>
                <a:gd name="connsiteY20" fmla="*/ 1155146 h 1359020"/>
                <a:gd name="connsiteX21" fmla="*/ 1128605 w 1395713"/>
                <a:gd name="connsiteY21" fmla="*/ 1169435 h 1359020"/>
                <a:gd name="connsiteX22" fmla="*/ 1088121 w 1395713"/>
                <a:gd name="connsiteY22" fmla="*/ 1250396 h 1359020"/>
                <a:gd name="connsiteX23" fmla="*/ 1047644 w 1395713"/>
                <a:gd name="connsiteY23" fmla="*/ 1355172 h 1359020"/>
                <a:gd name="connsiteX24" fmla="*/ 909530 w 1395713"/>
                <a:gd name="connsiteY24" fmla="*/ 1331359 h 1359020"/>
                <a:gd name="connsiteX25" fmla="*/ 747606 w 1395713"/>
                <a:gd name="connsiteY25" fmla="*/ 1283734 h 1359020"/>
                <a:gd name="connsiteX26" fmla="*/ 657118 w 1395713"/>
                <a:gd name="connsiteY26" fmla="*/ 1252777 h 1359020"/>
                <a:gd name="connsiteX27" fmla="*/ 559486 w 1395713"/>
                <a:gd name="connsiteY27" fmla="*/ 1214678 h 1359020"/>
                <a:gd name="connsiteX28" fmla="*/ 404705 w 1395713"/>
                <a:gd name="connsiteY28" fmla="*/ 1143240 h 1359020"/>
                <a:gd name="connsiteX29" fmla="*/ 276118 w 1395713"/>
                <a:gd name="connsiteY29" fmla="*/ 1078947 h 1359020"/>
                <a:gd name="connsiteX30" fmla="*/ 114193 w 1395713"/>
                <a:gd name="connsiteY30" fmla="*/ 988459 h 1359020"/>
                <a:gd name="connsiteX31" fmla="*/ 2274 w 1395713"/>
                <a:gd name="connsiteY31" fmla="*/ 907496 h 1359020"/>
                <a:gd name="connsiteX0" fmla="*/ 2274 w 1438260"/>
                <a:gd name="connsiteY0" fmla="*/ 907496 h 1359020"/>
                <a:gd name="connsiteX1" fmla="*/ 45137 w 1438260"/>
                <a:gd name="connsiteY1" fmla="*/ 769384 h 1359020"/>
                <a:gd name="connsiteX2" fmla="*/ 118955 w 1438260"/>
                <a:gd name="connsiteY2" fmla="*/ 607458 h 1359020"/>
                <a:gd name="connsiteX3" fmla="*/ 238018 w 1438260"/>
                <a:gd name="connsiteY3" fmla="*/ 407434 h 1359020"/>
                <a:gd name="connsiteX4" fmla="*/ 340412 w 1438260"/>
                <a:gd name="connsiteY4" fmla="*/ 264558 h 1359020"/>
                <a:gd name="connsiteX5" fmla="*/ 445187 w 1438260"/>
                <a:gd name="connsiteY5" fmla="*/ 143115 h 1359020"/>
                <a:gd name="connsiteX6" fmla="*/ 545199 w 1438260"/>
                <a:gd name="connsiteY6" fmla="*/ 43103 h 1359020"/>
                <a:gd name="connsiteX7" fmla="*/ 602349 w 1438260"/>
                <a:gd name="connsiteY7" fmla="*/ 240 h 1359020"/>
                <a:gd name="connsiteX8" fmla="*/ 704744 w 1438260"/>
                <a:gd name="connsiteY8" fmla="*/ 59771 h 1359020"/>
                <a:gd name="connsiteX9" fmla="*/ 828568 w 1438260"/>
                <a:gd name="connsiteY9" fmla="*/ 152641 h 1359020"/>
                <a:gd name="connsiteX10" fmla="*/ 926198 w 1438260"/>
                <a:gd name="connsiteY10" fmla="*/ 233603 h 1359020"/>
                <a:gd name="connsiteX11" fmla="*/ 1050024 w 1438260"/>
                <a:gd name="connsiteY11" fmla="*/ 345522 h 1359020"/>
                <a:gd name="connsiteX12" fmla="*/ 1164324 w 1438260"/>
                <a:gd name="connsiteY12" fmla="*/ 457440 h 1359020"/>
                <a:gd name="connsiteX13" fmla="*/ 1238142 w 1438260"/>
                <a:gd name="connsiteY13" fmla="*/ 536021 h 1359020"/>
                <a:gd name="connsiteX14" fmla="*/ 1354824 w 1438260"/>
                <a:gd name="connsiteY14" fmla="*/ 700328 h 1359020"/>
                <a:gd name="connsiteX15" fmla="*/ 1438167 w 1438260"/>
                <a:gd name="connsiteY15" fmla="*/ 788433 h 1359020"/>
                <a:gd name="connsiteX16" fmla="*/ 1369112 w 1438260"/>
                <a:gd name="connsiteY16" fmla="*/ 817009 h 1359020"/>
                <a:gd name="connsiteX17" fmla="*/ 1271480 w 1438260"/>
                <a:gd name="connsiteY17" fmla="*/ 924165 h 1359020"/>
                <a:gd name="connsiteX18" fmla="*/ 1214330 w 1438260"/>
                <a:gd name="connsiteY18" fmla="*/ 1057515 h 1359020"/>
                <a:gd name="connsiteX19" fmla="*/ 1152418 w 1438260"/>
                <a:gd name="connsiteY19" fmla="*/ 1128953 h 1359020"/>
                <a:gd name="connsiteX20" fmla="*/ 1133368 w 1438260"/>
                <a:gd name="connsiteY20" fmla="*/ 1155146 h 1359020"/>
                <a:gd name="connsiteX21" fmla="*/ 1128605 w 1438260"/>
                <a:gd name="connsiteY21" fmla="*/ 1169435 h 1359020"/>
                <a:gd name="connsiteX22" fmla="*/ 1088121 w 1438260"/>
                <a:gd name="connsiteY22" fmla="*/ 1250396 h 1359020"/>
                <a:gd name="connsiteX23" fmla="*/ 1047644 w 1438260"/>
                <a:gd name="connsiteY23" fmla="*/ 1355172 h 1359020"/>
                <a:gd name="connsiteX24" fmla="*/ 909530 w 1438260"/>
                <a:gd name="connsiteY24" fmla="*/ 1331359 h 1359020"/>
                <a:gd name="connsiteX25" fmla="*/ 747606 w 1438260"/>
                <a:gd name="connsiteY25" fmla="*/ 1283734 h 1359020"/>
                <a:gd name="connsiteX26" fmla="*/ 657118 w 1438260"/>
                <a:gd name="connsiteY26" fmla="*/ 1252777 h 1359020"/>
                <a:gd name="connsiteX27" fmla="*/ 559486 w 1438260"/>
                <a:gd name="connsiteY27" fmla="*/ 1214678 h 1359020"/>
                <a:gd name="connsiteX28" fmla="*/ 404705 w 1438260"/>
                <a:gd name="connsiteY28" fmla="*/ 1143240 h 1359020"/>
                <a:gd name="connsiteX29" fmla="*/ 276118 w 1438260"/>
                <a:gd name="connsiteY29" fmla="*/ 1078947 h 1359020"/>
                <a:gd name="connsiteX30" fmla="*/ 114193 w 1438260"/>
                <a:gd name="connsiteY30" fmla="*/ 988459 h 1359020"/>
                <a:gd name="connsiteX31" fmla="*/ 2274 w 1438260"/>
                <a:gd name="connsiteY31" fmla="*/ 907496 h 1359020"/>
                <a:gd name="connsiteX0" fmla="*/ 2274 w 1438191"/>
                <a:gd name="connsiteY0" fmla="*/ 907496 h 1359020"/>
                <a:gd name="connsiteX1" fmla="*/ 45137 w 1438191"/>
                <a:gd name="connsiteY1" fmla="*/ 769384 h 1359020"/>
                <a:gd name="connsiteX2" fmla="*/ 118955 w 1438191"/>
                <a:gd name="connsiteY2" fmla="*/ 607458 h 1359020"/>
                <a:gd name="connsiteX3" fmla="*/ 238018 w 1438191"/>
                <a:gd name="connsiteY3" fmla="*/ 407434 h 1359020"/>
                <a:gd name="connsiteX4" fmla="*/ 340412 w 1438191"/>
                <a:gd name="connsiteY4" fmla="*/ 264558 h 1359020"/>
                <a:gd name="connsiteX5" fmla="*/ 445187 w 1438191"/>
                <a:gd name="connsiteY5" fmla="*/ 143115 h 1359020"/>
                <a:gd name="connsiteX6" fmla="*/ 545199 w 1438191"/>
                <a:gd name="connsiteY6" fmla="*/ 43103 h 1359020"/>
                <a:gd name="connsiteX7" fmla="*/ 602349 w 1438191"/>
                <a:gd name="connsiteY7" fmla="*/ 240 h 1359020"/>
                <a:gd name="connsiteX8" fmla="*/ 704744 w 1438191"/>
                <a:gd name="connsiteY8" fmla="*/ 59771 h 1359020"/>
                <a:gd name="connsiteX9" fmla="*/ 828568 w 1438191"/>
                <a:gd name="connsiteY9" fmla="*/ 152641 h 1359020"/>
                <a:gd name="connsiteX10" fmla="*/ 926198 w 1438191"/>
                <a:gd name="connsiteY10" fmla="*/ 233603 h 1359020"/>
                <a:gd name="connsiteX11" fmla="*/ 1050024 w 1438191"/>
                <a:gd name="connsiteY11" fmla="*/ 345522 h 1359020"/>
                <a:gd name="connsiteX12" fmla="*/ 1164324 w 1438191"/>
                <a:gd name="connsiteY12" fmla="*/ 457440 h 1359020"/>
                <a:gd name="connsiteX13" fmla="*/ 1238142 w 1438191"/>
                <a:gd name="connsiteY13" fmla="*/ 536021 h 1359020"/>
                <a:gd name="connsiteX14" fmla="*/ 1361968 w 1438191"/>
                <a:gd name="connsiteY14" fmla="*/ 683659 h 1359020"/>
                <a:gd name="connsiteX15" fmla="*/ 1438167 w 1438191"/>
                <a:gd name="connsiteY15" fmla="*/ 788433 h 1359020"/>
                <a:gd name="connsiteX16" fmla="*/ 1369112 w 1438191"/>
                <a:gd name="connsiteY16" fmla="*/ 817009 h 1359020"/>
                <a:gd name="connsiteX17" fmla="*/ 1271480 w 1438191"/>
                <a:gd name="connsiteY17" fmla="*/ 924165 h 1359020"/>
                <a:gd name="connsiteX18" fmla="*/ 1214330 w 1438191"/>
                <a:gd name="connsiteY18" fmla="*/ 1057515 h 1359020"/>
                <a:gd name="connsiteX19" fmla="*/ 1152418 w 1438191"/>
                <a:gd name="connsiteY19" fmla="*/ 1128953 h 1359020"/>
                <a:gd name="connsiteX20" fmla="*/ 1133368 w 1438191"/>
                <a:gd name="connsiteY20" fmla="*/ 1155146 h 1359020"/>
                <a:gd name="connsiteX21" fmla="*/ 1128605 w 1438191"/>
                <a:gd name="connsiteY21" fmla="*/ 1169435 h 1359020"/>
                <a:gd name="connsiteX22" fmla="*/ 1088121 w 1438191"/>
                <a:gd name="connsiteY22" fmla="*/ 1250396 h 1359020"/>
                <a:gd name="connsiteX23" fmla="*/ 1047644 w 1438191"/>
                <a:gd name="connsiteY23" fmla="*/ 1355172 h 1359020"/>
                <a:gd name="connsiteX24" fmla="*/ 909530 w 1438191"/>
                <a:gd name="connsiteY24" fmla="*/ 1331359 h 1359020"/>
                <a:gd name="connsiteX25" fmla="*/ 747606 w 1438191"/>
                <a:gd name="connsiteY25" fmla="*/ 1283734 h 1359020"/>
                <a:gd name="connsiteX26" fmla="*/ 657118 w 1438191"/>
                <a:gd name="connsiteY26" fmla="*/ 1252777 h 1359020"/>
                <a:gd name="connsiteX27" fmla="*/ 559486 w 1438191"/>
                <a:gd name="connsiteY27" fmla="*/ 1214678 h 1359020"/>
                <a:gd name="connsiteX28" fmla="*/ 404705 w 1438191"/>
                <a:gd name="connsiteY28" fmla="*/ 1143240 h 1359020"/>
                <a:gd name="connsiteX29" fmla="*/ 276118 w 1438191"/>
                <a:gd name="connsiteY29" fmla="*/ 1078947 h 1359020"/>
                <a:gd name="connsiteX30" fmla="*/ 114193 w 1438191"/>
                <a:gd name="connsiteY30" fmla="*/ 988459 h 1359020"/>
                <a:gd name="connsiteX31" fmla="*/ 2274 w 1438191"/>
                <a:gd name="connsiteY31" fmla="*/ 907496 h 1359020"/>
                <a:gd name="connsiteX0" fmla="*/ 2274 w 1438191"/>
                <a:gd name="connsiteY0" fmla="*/ 907496 h 1359020"/>
                <a:gd name="connsiteX1" fmla="*/ 45137 w 1438191"/>
                <a:gd name="connsiteY1" fmla="*/ 769384 h 1359020"/>
                <a:gd name="connsiteX2" fmla="*/ 118955 w 1438191"/>
                <a:gd name="connsiteY2" fmla="*/ 607458 h 1359020"/>
                <a:gd name="connsiteX3" fmla="*/ 238018 w 1438191"/>
                <a:gd name="connsiteY3" fmla="*/ 407434 h 1359020"/>
                <a:gd name="connsiteX4" fmla="*/ 340412 w 1438191"/>
                <a:gd name="connsiteY4" fmla="*/ 264558 h 1359020"/>
                <a:gd name="connsiteX5" fmla="*/ 445187 w 1438191"/>
                <a:gd name="connsiteY5" fmla="*/ 143115 h 1359020"/>
                <a:gd name="connsiteX6" fmla="*/ 545199 w 1438191"/>
                <a:gd name="connsiteY6" fmla="*/ 43103 h 1359020"/>
                <a:gd name="connsiteX7" fmla="*/ 602349 w 1438191"/>
                <a:gd name="connsiteY7" fmla="*/ 240 h 1359020"/>
                <a:gd name="connsiteX8" fmla="*/ 704744 w 1438191"/>
                <a:gd name="connsiteY8" fmla="*/ 59771 h 1359020"/>
                <a:gd name="connsiteX9" fmla="*/ 828568 w 1438191"/>
                <a:gd name="connsiteY9" fmla="*/ 152641 h 1359020"/>
                <a:gd name="connsiteX10" fmla="*/ 926198 w 1438191"/>
                <a:gd name="connsiteY10" fmla="*/ 233603 h 1359020"/>
                <a:gd name="connsiteX11" fmla="*/ 1050024 w 1438191"/>
                <a:gd name="connsiteY11" fmla="*/ 345522 h 1359020"/>
                <a:gd name="connsiteX12" fmla="*/ 1164324 w 1438191"/>
                <a:gd name="connsiteY12" fmla="*/ 457440 h 1359020"/>
                <a:gd name="connsiteX13" fmla="*/ 1238142 w 1438191"/>
                <a:gd name="connsiteY13" fmla="*/ 536021 h 1359020"/>
                <a:gd name="connsiteX14" fmla="*/ 1361968 w 1438191"/>
                <a:gd name="connsiteY14" fmla="*/ 683659 h 1359020"/>
                <a:gd name="connsiteX15" fmla="*/ 1438167 w 1438191"/>
                <a:gd name="connsiteY15" fmla="*/ 788433 h 1359020"/>
                <a:gd name="connsiteX16" fmla="*/ 1369112 w 1438191"/>
                <a:gd name="connsiteY16" fmla="*/ 817009 h 1359020"/>
                <a:gd name="connsiteX17" fmla="*/ 1271480 w 1438191"/>
                <a:gd name="connsiteY17" fmla="*/ 924165 h 1359020"/>
                <a:gd name="connsiteX18" fmla="*/ 1152418 w 1438191"/>
                <a:gd name="connsiteY18" fmla="*/ 1128953 h 1359020"/>
                <a:gd name="connsiteX19" fmla="*/ 1133368 w 1438191"/>
                <a:gd name="connsiteY19" fmla="*/ 1155146 h 1359020"/>
                <a:gd name="connsiteX20" fmla="*/ 1128605 w 1438191"/>
                <a:gd name="connsiteY20" fmla="*/ 1169435 h 1359020"/>
                <a:gd name="connsiteX21" fmla="*/ 1088121 w 1438191"/>
                <a:gd name="connsiteY21" fmla="*/ 1250396 h 1359020"/>
                <a:gd name="connsiteX22" fmla="*/ 1047644 w 1438191"/>
                <a:gd name="connsiteY22" fmla="*/ 1355172 h 1359020"/>
                <a:gd name="connsiteX23" fmla="*/ 909530 w 1438191"/>
                <a:gd name="connsiteY23" fmla="*/ 1331359 h 1359020"/>
                <a:gd name="connsiteX24" fmla="*/ 747606 w 1438191"/>
                <a:gd name="connsiteY24" fmla="*/ 1283734 h 1359020"/>
                <a:gd name="connsiteX25" fmla="*/ 657118 w 1438191"/>
                <a:gd name="connsiteY25" fmla="*/ 1252777 h 1359020"/>
                <a:gd name="connsiteX26" fmla="*/ 559486 w 1438191"/>
                <a:gd name="connsiteY26" fmla="*/ 1214678 h 1359020"/>
                <a:gd name="connsiteX27" fmla="*/ 404705 w 1438191"/>
                <a:gd name="connsiteY27" fmla="*/ 1143240 h 1359020"/>
                <a:gd name="connsiteX28" fmla="*/ 276118 w 1438191"/>
                <a:gd name="connsiteY28" fmla="*/ 1078947 h 1359020"/>
                <a:gd name="connsiteX29" fmla="*/ 114193 w 1438191"/>
                <a:gd name="connsiteY29" fmla="*/ 988459 h 1359020"/>
                <a:gd name="connsiteX30" fmla="*/ 2274 w 1438191"/>
                <a:gd name="connsiteY30" fmla="*/ 907496 h 1359020"/>
                <a:gd name="connsiteX0" fmla="*/ 2274 w 1438191"/>
                <a:gd name="connsiteY0" fmla="*/ 907496 h 1359020"/>
                <a:gd name="connsiteX1" fmla="*/ 45137 w 1438191"/>
                <a:gd name="connsiteY1" fmla="*/ 769384 h 1359020"/>
                <a:gd name="connsiteX2" fmla="*/ 118955 w 1438191"/>
                <a:gd name="connsiteY2" fmla="*/ 607458 h 1359020"/>
                <a:gd name="connsiteX3" fmla="*/ 238018 w 1438191"/>
                <a:gd name="connsiteY3" fmla="*/ 407434 h 1359020"/>
                <a:gd name="connsiteX4" fmla="*/ 340412 w 1438191"/>
                <a:gd name="connsiteY4" fmla="*/ 264558 h 1359020"/>
                <a:gd name="connsiteX5" fmla="*/ 445187 w 1438191"/>
                <a:gd name="connsiteY5" fmla="*/ 143115 h 1359020"/>
                <a:gd name="connsiteX6" fmla="*/ 545199 w 1438191"/>
                <a:gd name="connsiteY6" fmla="*/ 43103 h 1359020"/>
                <a:gd name="connsiteX7" fmla="*/ 602349 w 1438191"/>
                <a:gd name="connsiteY7" fmla="*/ 240 h 1359020"/>
                <a:gd name="connsiteX8" fmla="*/ 704744 w 1438191"/>
                <a:gd name="connsiteY8" fmla="*/ 59771 h 1359020"/>
                <a:gd name="connsiteX9" fmla="*/ 828568 w 1438191"/>
                <a:gd name="connsiteY9" fmla="*/ 152641 h 1359020"/>
                <a:gd name="connsiteX10" fmla="*/ 926198 w 1438191"/>
                <a:gd name="connsiteY10" fmla="*/ 233603 h 1359020"/>
                <a:gd name="connsiteX11" fmla="*/ 1050024 w 1438191"/>
                <a:gd name="connsiteY11" fmla="*/ 345522 h 1359020"/>
                <a:gd name="connsiteX12" fmla="*/ 1164324 w 1438191"/>
                <a:gd name="connsiteY12" fmla="*/ 457440 h 1359020"/>
                <a:gd name="connsiteX13" fmla="*/ 1238142 w 1438191"/>
                <a:gd name="connsiteY13" fmla="*/ 536021 h 1359020"/>
                <a:gd name="connsiteX14" fmla="*/ 1361968 w 1438191"/>
                <a:gd name="connsiteY14" fmla="*/ 683659 h 1359020"/>
                <a:gd name="connsiteX15" fmla="*/ 1438167 w 1438191"/>
                <a:gd name="connsiteY15" fmla="*/ 788433 h 1359020"/>
                <a:gd name="connsiteX16" fmla="*/ 1369112 w 1438191"/>
                <a:gd name="connsiteY16" fmla="*/ 817009 h 1359020"/>
                <a:gd name="connsiteX17" fmla="*/ 1271480 w 1438191"/>
                <a:gd name="connsiteY17" fmla="*/ 924165 h 1359020"/>
                <a:gd name="connsiteX18" fmla="*/ 1152418 w 1438191"/>
                <a:gd name="connsiteY18" fmla="*/ 1128953 h 1359020"/>
                <a:gd name="connsiteX19" fmla="*/ 1128605 w 1438191"/>
                <a:gd name="connsiteY19" fmla="*/ 1169435 h 1359020"/>
                <a:gd name="connsiteX20" fmla="*/ 1088121 w 1438191"/>
                <a:gd name="connsiteY20" fmla="*/ 1250396 h 1359020"/>
                <a:gd name="connsiteX21" fmla="*/ 1047644 w 1438191"/>
                <a:gd name="connsiteY21" fmla="*/ 1355172 h 1359020"/>
                <a:gd name="connsiteX22" fmla="*/ 909530 w 1438191"/>
                <a:gd name="connsiteY22" fmla="*/ 1331359 h 1359020"/>
                <a:gd name="connsiteX23" fmla="*/ 747606 w 1438191"/>
                <a:gd name="connsiteY23" fmla="*/ 1283734 h 1359020"/>
                <a:gd name="connsiteX24" fmla="*/ 657118 w 1438191"/>
                <a:gd name="connsiteY24" fmla="*/ 1252777 h 1359020"/>
                <a:gd name="connsiteX25" fmla="*/ 559486 w 1438191"/>
                <a:gd name="connsiteY25" fmla="*/ 1214678 h 1359020"/>
                <a:gd name="connsiteX26" fmla="*/ 404705 w 1438191"/>
                <a:gd name="connsiteY26" fmla="*/ 1143240 h 1359020"/>
                <a:gd name="connsiteX27" fmla="*/ 276118 w 1438191"/>
                <a:gd name="connsiteY27" fmla="*/ 1078947 h 1359020"/>
                <a:gd name="connsiteX28" fmla="*/ 114193 w 1438191"/>
                <a:gd name="connsiteY28" fmla="*/ 988459 h 1359020"/>
                <a:gd name="connsiteX29" fmla="*/ 2274 w 1438191"/>
                <a:gd name="connsiteY29" fmla="*/ 907496 h 1359020"/>
                <a:gd name="connsiteX0" fmla="*/ 2274 w 1438191"/>
                <a:gd name="connsiteY0" fmla="*/ 907496 h 1359020"/>
                <a:gd name="connsiteX1" fmla="*/ 45137 w 1438191"/>
                <a:gd name="connsiteY1" fmla="*/ 769384 h 1359020"/>
                <a:gd name="connsiteX2" fmla="*/ 118955 w 1438191"/>
                <a:gd name="connsiteY2" fmla="*/ 607458 h 1359020"/>
                <a:gd name="connsiteX3" fmla="*/ 238018 w 1438191"/>
                <a:gd name="connsiteY3" fmla="*/ 407434 h 1359020"/>
                <a:gd name="connsiteX4" fmla="*/ 340412 w 1438191"/>
                <a:gd name="connsiteY4" fmla="*/ 264558 h 1359020"/>
                <a:gd name="connsiteX5" fmla="*/ 445187 w 1438191"/>
                <a:gd name="connsiteY5" fmla="*/ 143115 h 1359020"/>
                <a:gd name="connsiteX6" fmla="*/ 545199 w 1438191"/>
                <a:gd name="connsiteY6" fmla="*/ 43103 h 1359020"/>
                <a:gd name="connsiteX7" fmla="*/ 602349 w 1438191"/>
                <a:gd name="connsiteY7" fmla="*/ 240 h 1359020"/>
                <a:gd name="connsiteX8" fmla="*/ 704744 w 1438191"/>
                <a:gd name="connsiteY8" fmla="*/ 59771 h 1359020"/>
                <a:gd name="connsiteX9" fmla="*/ 828568 w 1438191"/>
                <a:gd name="connsiteY9" fmla="*/ 152641 h 1359020"/>
                <a:gd name="connsiteX10" fmla="*/ 926198 w 1438191"/>
                <a:gd name="connsiteY10" fmla="*/ 233603 h 1359020"/>
                <a:gd name="connsiteX11" fmla="*/ 1050024 w 1438191"/>
                <a:gd name="connsiteY11" fmla="*/ 345522 h 1359020"/>
                <a:gd name="connsiteX12" fmla="*/ 1164324 w 1438191"/>
                <a:gd name="connsiteY12" fmla="*/ 457440 h 1359020"/>
                <a:gd name="connsiteX13" fmla="*/ 1238142 w 1438191"/>
                <a:gd name="connsiteY13" fmla="*/ 536021 h 1359020"/>
                <a:gd name="connsiteX14" fmla="*/ 1361968 w 1438191"/>
                <a:gd name="connsiteY14" fmla="*/ 683659 h 1359020"/>
                <a:gd name="connsiteX15" fmla="*/ 1438167 w 1438191"/>
                <a:gd name="connsiteY15" fmla="*/ 788433 h 1359020"/>
                <a:gd name="connsiteX16" fmla="*/ 1369112 w 1438191"/>
                <a:gd name="connsiteY16" fmla="*/ 817009 h 1359020"/>
                <a:gd name="connsiteX17" fmla="*/ 1271480 w 1438191"/>
                <a:gd name="connsiteY17" fmla="*/ 924165 h 1359020"/>
                <a:gd name="connsiteX18" fmla="*/ 1152418 w 1438191"/>
                <a:gd name="connsiteY18" fmla="*/ 1128953 h 1359020"/>
                <a:gd name="connsiteX19" fmla="*/ 1088121 w 1438191"/>
                <a:gd name="connsiteY19" fmla="*/ 1250396 h 1359020"/>
                <a:gd name="connsiteX20" fmla="*/ 1047644 w 1438191"/>
                <a:gd name="connsiteY20" fmla="*/ 1355172 h 1359020"/>
                <a:gd name="connsiteX21" fmla="*/ 909530 w 1438191"/>
                <a:gd name="connsiteY21" fmla="*/ 1331359 h 1359020"/>
                <a:gd name="connsiteX22" fmla="*/ 747606 w 1438191"/>
                <a:gd name="connsiteY22" fmla="*/ 1283734 h 1359020"/>
                <a:gd name="connsiteX23" fmla="*/ 657118 w 1438191"/>
                <a:gd name="connsiteY23" fmla="*/ 1252777 h 1359020"/>
                <a:gd name="connsiteX24" fmla="*/ 559486 w 1438191"/>
                <a:gd name="connsiteY24" fmla="*/ 1214678 h 1359020"/>
                <a:gd name="connsiteX25" fmla="*/ 404705 w 1438191"/>
                <a:gd name="connsiteY25" fmla="*/ 1143240 h 1359020"/>
                <a:gd name="connsiteX26" fmla="*/ 276118 w 1438191"/>
                <a:gd name="connsiteY26" fmla="*/ 1078947 h 1359020"/>
                <a:gd name="connsiteX27" fmla="*/ 114193 w 1438191"/>
                <a:gd name="connsiteY27" fmla="*/ 988459 h 1359020"/>
                <a:gd name="connsiteX28" fmla="*/ 2274 w 1438191"/>
                <a:gd name="connsiteY28" fmla="*/ 907496 h 1359020"/>
                <a:gd name="connsiteX0" fmla="*/ 2274 w 1438191"/>
                <a:gd name="connsiteY0" fmla="*/ 907496 h 1359020"/>
                <a:gd name="connsiteX1" fmla="*/ 45137 w 1438191"/>
                <a:gd name="connsiteY1" fmla="*/ 769384 h 1359020"/>
                <a:gd name="connsiteX2" fmla="*/ 118955 w 1438191"/>
                <a:gd name="connsiteY2" fmla="*/ 607458 h 1359020"/>
                <a:gd name="connsiteX3" fmla="*/ 238018 w 1438191"/>
                <a:gd name="connsiteY3" fmla="*/ 407434 h 1359020"/>
                <a:gd name="connsiteX4" fmla="*/ 340412 w 1438191"/>
                <a:gd name="connsiteY4" fmla="*/ 264558 h 1359020"/>
                <a:gd name="connsiteX5" fmla="*/ 445187 w 1438191"/>
                <a:gd name="connsiteY5" fmla="*/ 143115 h 1359020"/>
                <a:gd name="connsiteX6" fmla="*/ 545199 w 1438191"/>
                <a:gd name="connsiteY6" fmla="*/ 43103 h 1359020"/>
                <a:gd name="connsiteX7" fmla="*/ 602349 w 1438191"/>
                <a:gd name="connsiteY7" fmla="*/ 240 h 1359020"/>
                <a:gd name="connsiteX8" fmla="*/ 704744 w 1438191"/>
                <a:gd name="connsiteY8" fmla="*/ 59771 h 1359020"/>
                <a:gd name="connsiteX9" fmla="*/ 828568 w 1438191"/>
                <a:gd name="connsiteY9" fmla="*/ 152641 h 1359020"/>
                <a:gd name="connsiteX10" fmla="*/ 926198 w 1438191"/>
                <a:gd name="connsiteY10" fmla="*/ 233603 h 1359020"/>
                <a:gd name="connsiteX11" fmla="*/ 1050024 w 1438191"/>
                <a:gd name="connsiteY11" fmla="*/ 345522 h 1359020"/>
                <a:gd name="connsiteX12" fmla="*/ 1164324 w 1438191"/>
                <a:gd name="connsiteY12" fmla="*/ 457440 h 1359020"/>
                <a:gd name="connsiteX13" fmla="*/ 1238142 w 1438191"/>
                <a:gd name="connsiteY13" fmla="*/ 536021 h 1359020"/>
                <a:gd name="connsiteX14" fmla="*/ 1361968 w 1438191"/>
                <a:gd name="connsiteY14" fmla="*/ 683659 h 1359020"/>
                <a:gd name="connsiteX15" fmla="*/ 1438167 w 1438191"/>
                <a:gd name="connsiteY15" fmla="*/ 788433 h 1359020"/>
                <a:gd name="connsiteX16" fmla="*/ 1369112 w 1438191"/>
                <a:gd name="connsiteY16" fmla="*/ 817009 h 1359020"/>
                <a:gd name="connsiteX17" fmla="*/ 1271480 w 1438191"/>
                <a:gd name="connsiteY17" fmla="*/ 924165 h 1359020"/>
                <a:gd name="connsiteX18" fmla="*/ 1142893 w 1438191"/>
                <a:gd name="connsiteY18" fmla="*/ 1128953 h 1359020"/>
                <a:gd name="connsiteX19" fmla="*/ 1088121 w 1438191"/>
                <a:gd name="connsiteY19" fmla="*/ 1250396 h 1359020"/>
                <a:gd name="connsiteX20" fmla="*/ 1047644 w 1438191"/>
                <a:gd name="connsiteY20" fmla="*/ 1355172 h 1359020"/>
                <a:gd name="connsiteX21" fmla="*/ 909530 w 1438191"/>
                <a:gd name="connsiteY21" fmla="*/ 1331359 h 1359020"/>
                <a:gd name="connsiteX22" fmla="*/ 747606 w 1438191"/>
                <a:gd name="connsiteY22" fmla="*/ 1283734 h 1359020"/>
                <a:gd name="connsiteX23" fmla="*/ 657118 w 1438191"/>
                <a:gd name="connsiteY23" fmla="*/ 1252777 h 1359020"/>
                <a:gd name="connsiteX24" fmla="*/ 559486 w 1438191"/>
                <a:gd name="connsiteY24" fmla="*/ 1214678 h 1359020"/>
                <a:gd name="connsiteX25" fmla="*/ 404705 w 1438191"/>
                <a:gd name="connsiteY25" fmla="*/ 1143240 h 1359020"/>
                <a:gd name="connsiteX26" fmla="*/ 276118 w 1438191"/>
                <a:gd name="connsiteY26" fmla="*/ 1078947 h 1359020"/>
                <a:gd name="connsiteX27" fmla="*/ 114193 w 1438191"/>
                <a:gd name="connsiteY27" fmla="*/ 988459 h 1359020"/>
                <a:gd name="connsiteX28" fmla="*/ 2274 w 1438191"/>
                <a:gd name="connsiteY28" fmla="*/ 907496 h 1359020"/>
                <a:gd name="connsiteX0" fmla="*/ 2274 w 1438240"/>
                <a:gd name="connsiteY0" fmla="*/ 907496 h 1359020"/>
                <a:gd name="connsiteX1" fmla="*/ 45137 w 1438240"/>
                <a:gd name="connsiteY1" fmla="*/ 769384 h 1359020"/>
                <a:gd name="connsiteX2" fmla="*/ 118955 w 1438240"/>
                <a:gd name="connsiteY2" fmla="*/ 607458 h 1359020"/>
                <a:gd name="connsiteX3" fmla="*/ 238018 w 1438240"/>
                <a:gd name="connsiteY3" fmla="*/ 407434 h 1359020"/>
                <a:gd name="connsiteX4" fmla="*/ 340412 w 1438240"/>
                <a:gd name="connsiteY4" fmla="*/ 264558 h 1359020"/>
                <a:gd name="connsiteX5" fmla="*/ 445187 w 1438240"/>
                <a:gd name="connsiteY5" fmla="*/ 143115 h 1359020"/>
                <a:gd name="connsiteX6" fmla="*/ 545199 w 1438240"/>
                <a:gd name="connsiteY6" fmla="*/ 43103 h 1359020"/>
                <a:gd name="connsiteX7" fmla="*/ 602349 w 1438240"/>
                <a:gd name="connsiteY7" fmla="*/ 240 h 1359020"/>
                <a:gd name="connsiteX8" fmla="*/ 704744 w 1438240"/>
                <a:gd name="connsiteY8" fmla="*/ 59771 h 1359020"/>
                <a:gd name="connsiteX9" fmla="*/ 828568 w 1438240"/>
                <a:gd name="connsiteY9" fmla="*/ 152641 h 1359020"/>
                <a:gd name="connsiteX10" fmla="*/ 926198 w 1438240"/>
                <a:gd name="connsiteY10" fmla="*/ 233603 h 1359020"/>
                <a:gd name="connsiteX11" fmla="*/ 1050024 w 1438240"/>
                <a:gd name="connsiteY11" fmla="*/ 345522 h 1359020"/>
                <a:gd name="connsiteX12" fmla="*/ 1164324 w 1438240"/>
                <a:gd name="connsiteY12" fmla="*/ 457440 h 1359020"/>
                <a:gd name="connsiteX13" fmla="*/ 1238142 w 1438240"/>
                <a:gd name="connsiteY13" fmla="*/ 536021 h 1359020"/>
                <a:gd name="connsiteX14" fmla="*/ 1361968 w 1438240"/>
                <a:gd name="connsiteY14" fmla="*/ 683659 h 1359020"/>
                <a:gd name="connsiteX15" fmla="*/ 1438167 w 1438240"/>
                <a:gd name="connsiteY15" fmla="*/ 788433 h 1359020"/>
                <a:gd name="connsiteX16" fmla="*/ 1373874 w 1438240"/>
                <a:gd name="connsiteY16" fmla="*/ 833678 h 1359020"/>
                <a:gd name="connsiteX17" fmla="*/ 1271480 w 1438240"/>
                <a:gd name="connsiteY17" fmla="*/ 924165 h 1359020"/>
                <a:gd name="connsiteX18" fmla="*/ 1142893 w 1438240"/>
                <a:gd name="connsiteY18" fmla="*/ 1128953 h 1359020"/>
                <a:gd name="connsiteX19" fmla="*/ 1088121 w 1438240"/>
                <a:gd name="connsiteY19" fmla="*/ 1250396 h 1359020"/>
                <a:gd name="connsiteX20" fmla="*/ 1047644 w 1438240"/>
                <a:gd name="connsiteY20" fmla="*/ 1355172 h 1359020"/>
                <a:gd name="connsiteX21" fmla="*/ 909530 w 1438240"/>
                <a:gd name="connsiteY21" fmla="*/ 1331359 h 1359020"/>
                <a:gd name="connsiteX22" fmla="*/ 747606 w 1438240"/>
                <a:gd name="connsiteY22" fmla="*/ 1283734 h 1359020"/>
                <a:gd name="connsiteX23" fmla="*/ 657118 w 1438240"/>
                <a:gd name="connsiteY23" fmla="*/ 1252777 h 1359020"/>
                <a:gd name="connsiteX24" fmla="*/ 559486 w 1438240"/>
                <a:gd name="connsiteY24" fmla="*/ 1214678 h 1359020"/>
                <a:gd name="connsiteX25" fmla="*/ 404705 w 1438240"/>
                <a:gd name="connsiteY25" fmla="*/ 1143240 h 1359020"/>
                <a:gd name="connsiteX26" fmla="*/ 276118 w 1438240"/>
                <a:gd name="connsiteY26" fmla="*/ 1078947 h 1359020"/>
                <a:gd name="connsiteX27" fmla="*/ 114193 w 1438240"/>
                <a:gd name="connsiteY27" fmla="*/ 988459 h 1359020"/>
                <a:gd name="connsiteX28" fmla="*/ 2274 w 1438240"/>
                <a:gd name="connsiteY28" fmla="*/ 907496 h 1359020"/>
                <a:gd name="connsiteX0" fmla="*/ 2274 w 1438246"/>
                <a:gd name="connsiteY0" fmla="*/ 907496 h 1359020"/>
                <a:gd name="connsiteX1" fmla="*/ 45137 w 1438246"/>
                <a:gd name="connsiteY1" fmla="*/ 769384 h 1359020"/>
                <a:gd name="connsiteX2" fmla="*/ 118955 w 1438246"/>
                <a:gd name="connsiteY2" fmla="*/ 607458 h 1359020"/>
                <a:gd name="connsiteX3" fmla="*/ 238018 w 1438246"/>
                <a:gd name="connsiteY3" fmla="*/ 407434 h 1359020"/>
                <a:gd name="connsiteX4" fmla="*/ 340412 w 1438246"/>
                <a:gd name="connsiteY4" fmla="*/ 264558 h 1359020"/>
                <a:gd name="connsiteX5" fmla="*/ 445187 w 1438246"/>
                <a:gd name="connsiteY5" fmla="*/ 143115 h 1359020"/>
                <a:gd name="connsiteX6" fmla="*/ 545199 w 1438246"/>
                <a:gd name="connsiteY6" fmla="*/ 43103 h 1359020"/>
                <a:gd name="connsiteX7" fmla="*/ 602349 w 1438246"/>
                <a:gd name="connsiteY7" fmla="*/ 240 h 1359020"/>
                <a:gd name="connsiteX8" fmla="*/ 704744 w 1438246"/>
                <a:gd name="connsiteY8" fmla="*/ 59771 h 1359020"/>
                <a:gd name="connsiteX9" fmla="*/ 828568 w 1438246"/>
                <a:gd name="connsiteY9" fmla="*/ 152641 h 1359020"/>
                <a:gd name="connsiteX10" fmla="*/ 926198 w 1438246"/>
                <a:gd name="connsiteY10" fmla="*/ 233603 h 1359020"/>
                <a:gd name="connsiteX11" fmla="*/ 1050024 w 1438246"/>
                <a:gd name="connsiteY11" fmla="*/ 345522 h 1359020"/>
                <a:gd name="connsiteX12" fmla="*/ 1164324 w 1438246"/>
                <a:gd name="connsiteY12" fmla="*/ 457440 h 1359020"/>
                <a:gd name="connsiteX13" fmla="*/ 1238142 w 1438246"/>
                <a:gd name="connsiteY13" fmla="*/ 536021 h 1359020"/>
                <a:gd name="connsiteX14" fmla="*/ 1361968 w 1438246"/>
                <a:gd name="connsiteY14" fmla="*/ 683659 h 1359020"/>
                <a:gd name="connsiteX15" fmla="*/ 1438167 w 1438246"/>
                <a:gd name="connsiteY15" fmla="*/ 788433 h 1359020"/>
                <a:gd name="connsiteX16" fmla="*/ 1373874 w 1438246"/>
                <a:gd name="connsiteY16" fmla="*/ 833678 h 1359020"/>
                <a:gd name="connsiteX17" fmla="*/ 1252430 w 1438246"/>
                <a:gd name="connsiteY17" fmla="*/ 957503 h 1359020"/>
                <a:gd name="connsiteX18" fmla="*/ 1142893 w 1438246"/>
                <a:gd name="connsiteY18" fmla="*/ 1128953 h 1359020"/>
                <a:gd name="connsiteX19" fmla="*/ 1088121 w 1438246"/>
                <a:gd name="connsiteY19" fmla="*/ 1250396 h 1359020"/>
                <a:gd name="connsiteX20" fmla="*/ 1047644 w 1438246"/>
                <a:gd name="connsiteY20" fmla="*/ 1355172 h 1359020"/>
                <a:gd name="connsiteX21" fmla="*/ 909530 w 1438246"/>
                <a:gd name="connsiteY21" fmla="*/ 1331359 h 1359020"/>
                <a:gd name="connsiteX22" fmla="*/ 747606 w 1438246"/>
                <a:gd name="connsiteY22" fmla="*/ 1283734 h 1359020"/>
                <a:gd name="connsiteX23" fmla="*/ 657118 w 1438246"/>
                <a:gd name="connsiteY23" fmla="*/ 1252777 h 1359020"/>
                <a:gd name="connsiteX24" fmla="*/ 559486 w 1438246"/>
                <a:gd name="connsiteY24" fmla="*/ 1214678 h 1359020"/>
                <a:gd name="connsiteX25" fmla="*/ 404705 w 1438246"/>
                <a:gd name="connsiteY25" fmla="*/ 1143240 h 1359020"/>
                <a:gd name="connsiteX26" fmla="*/ 276118 w 1438246"/>
                <a:gd name="connsiteY26" fmla="*/ 1078947 h 1359020"/>
                <a:gd name="connsiteX27" fmla="*/ 114193 w 1438246"/>
                <a:gd name="connsiteY27" fmla="*/ 988459 h 1359020"/>
                <a:gd name="connsiteX28" fmla="*/ 2274 w 1438246"/>
                <a:gd name="connsiteY28" fmla="*/ 907496 h 1359020"/>
                <a:gd name="connsiteX0" fmla="*/ 2274 w 1426368"/>
                <a:gd name="connsiteY0" fmla="*/ 907496 h 1359020"/>
                <a:gd name="connsiteX1" fmla="*/ 45137 w 1426368"/>
                <a:gd name="connsiteY1" fmla="*/ 769384 h 1359020"/>
                <a:gd name="connsiteX2" fmla="*/ 118955 w 1426368"/>
                <a:gd name="connsiteY2" fmla="*/ 607458 h 1359020"/>
                <a:gd name="connsiteX3" fmla="*/ 238018 w 1426368"/>
                <a:gd name="connsiteY3" fmla="*/ 407434 h 1359020"/>
                <a:gd name="connsiteX4" fmla="*/ 340412 w 1426368"/>
                <a:gd name="connsiteY4" fmla="*/ 264558 h 1359020"/>
                <a:gd name="connsiteX5" fmla="*/ 445187 w 1426368"/>
                <a:gd name="connsiteY5" fmla="*/ 143115 h 1359020"/>
                <a:gd name="connsiteX6" fmla="*/ 545199 w 1426368"/>
                <a:gd name="connsiteY6" fmla="*/ 43103 h 1359020"/>
                <a:gd name="connsiteX7" fmla="*/ 602349 w 1426368"/>
                <a:gd name="connsiteY7" fmla="*/ 240 h 1359020"/>
                <a:gd name="connsiteX8" fmla="*/ 704744 w 1426368"/>
                <a:gd name="connsiteY8" fmla="*/ 59771 h 1359020"/>
                <a:gd name="connsiteX9" fmla="*/ 828568 w 1426368"/>
                <a:gd name="connsiteY9" fmla="*/ 152641 h 1359020"/>
                <a:gd name="connsiteX10" fmla="*/ 926198 w 1426368"/>
                <a:gd name="connsiteY10" fmla="*/ 233603 h 1359020"/>
                <a:gd name="connsiteX11" fmla="*/ 1050024 w 1426368"/>
                <a:gd name="connsiteY11" fmla="*/ 345522 h 1359020"/>
                <a:gd name="connsiteX12" fmla="*/ 1164324 w 1426368"/>
                <a:gd name="connsiteY12" fmla="*/ 457440 h 1359020"/>
                <a:gd name="connsiteX13" fmla="*/ 1238142 w 1426368"/>
                <a:gd name="connsiteY13" fmla="*/ 536021 h 1359020"/>
                <a:gd name="connsiteX14" fmla="*/ 1361968 w 1426368"/>
                <a:gd name="connsiteY14" fmla="*/ 683659 h 1359020"/>
                <a:gd name="connsiteX15" fmla="*/ 1426260 w 1426368"/>
                <a:gd name="connsiteY15" fmla="*/ 776526 h 1359020"/>
                <a:gd name="connsiteX16" fmla="*/ 1373874 w 1426368"/>
                <a:gd name="connsiteY16" fmla="*/ 833678 h 1359020"/>
                <a:gd name="connsiteX17" fmla="*/ 1252430 w 1426368"/>
                <a:gd name="connsiteY17" fmla="*/ 957503 h 1359020"/>
                <a:gd name="connsiteX18" fmla="*/ 1142893 w 1426368"/>
                <a:gd name="connsiteY18" fmla="*/ 1128953 h 1359020"/>
                <a:gd name="connsiteX19" fmla="*/ 1088121 w 1426368"/>
                <a:gd name="connsiteY19" fmla="*/ 1250396 h 1359020"/>
                <a:gd name="connsiteX20" fmla="*/ 1047644 w 1426368"/>
                <a:gd name="connsiteY20" fmla="*/ 1355172 h 1359020"/>
                <a:gd name="connsiteX21" fmla="*/ 909530 w 1426368"/>
                <a:gd name="connsiteY21" fmla="*/ 1331359 h 1359020"/>
                <a:gd name="connsiteX22" fmla="*/ 747606 w 1426368"/>
                <a:gd name="connsiteY22" fmla="*/ 1283734 h 1359020"/>
                <a:gd name="connsiteX23" fmla="*/ 657118 w 1426368"/>
                <a:gd name="connsiteY23" fmla="*/ 1252777 h 1359020"/>
                <a:gd name="connsiteX24" fmla="*/ 559486 w 1426368"/>
                <a:gd name="connsiteY24" fmla="*/ 1214678 h 1359020"/>
                <a:gd name="connsiteX25" fmla="*/ 404705 w 1426368"/>
                <a:gd name="connsiteY25" fmla="*/ 1143240 h 1359020"/>
                <a:gd name="connsiteX26" fmla="*/ 276118 w 1426368"/>
                <a:gd name="connsiteY26" fmla="*/ 1078947 h 1359020"/>
                <a:gd name="connsiteX27" fmla="*/ 114193 w 1426368"/>
                <a:gd name="connsiteY27" fmla="*/ 988459 h 1359020"/>
                <a:gd name="connsiteX28" fmla="*/ 2274 w 1426368"/>
                <a:gd name="connsiteY28" fmla="*/ 907496 h 1359020"/>
                <a:gd name="connsiteX0" fmla="*/ 2274 w 1430045"/>
                <a:gd name="connsiteY0" fmla="*/ 907496 h 1359020"/>
                <a:gd name="connsiteX1" fmla="*/ 45137 w 1430045"/>
                <a:gd name="connsiteY1" fmla="*/ 769384 h 1359020"/>
                <a:gd name="connsiteX2" fmla="*/ 118955 w 1430045"/>
                <a:gd name="connsiteY2" fmla="*/ 607458 h 1359020"/>
                <a:gd name="connsiteX3" fmla="*/ 238018 w 1430045"/>
                <a:gd name="connsiteY3" fmla="*/ 407434 h 1359020"/>
                <a:gd name="connsiteX4" fmla="*/ 340412 w 1430045"/>
                <a:gd name="connsiteY4" fmla="*/ 264558 h 1359020"/>
                <a:gd name="connsiteX5" fmla="*/ 445187 w 1430045"/>
                <a:gd name="connsiteY5" fmla="*/ 143115 h 1359020"/>
                <a:gd name="connsiteX6" fmla="*/ 545199 w 1430045"/>
                <a:gd name="connsiteY6" fmla="*/ 43103 h 1359020"/>
                <a:gd name="connsiteX7" fmla="*/ 602349 w 1430045"/>
                <a:gd name="connsiteY7" fmla="*/ 240 h 1359020"/>
                <a:gd name="connsiteX8" fmla="*/ 704744 w 1430045"/>
                <a:gd name="connsiteY8" fmla="*/ 59771 h 1359020"/>
                <a:gd name="connsiteX9" fmla="*/ 828568 w 1430045"/>
                <a:gd name="connsiteY9" fmla="*/ 152641 h 1359020"/>
                <a:gd name="connsiteX10" fmla="*/ 926198 w 1430045"/>
                <a:gd name="connsiteY10" fmla="*/ 233603 h 1359020"/>
                <a:gd name="connsiteX11" fmla="*/ 1050024 w 1430045"/>
                <a:gd name="connsiteY11" fmla="*/ 345522 h 1359020"/>
                <a:gd name="connsiteX12" fmla="*/ 1164324 w 1430045"/>
                <a:gd name="connsiteY12" fmla="*/ 457440 h 1359020"/>
                <a:gd name="connsiteX13" fmla="*/ 1238142 w 1430045"/>
                <a:gd name="connsiteY13" fmla="*/ 536021 h 1359020"/>
                <a:gd name="connsiteX14" fmla="*/ 1361968 w 1430045"/>
                <a:gd name="connsiteY14" fmla="*/ 683659 h 1359020"/>
                <a:gd name="connsiteX15" fmla="*/ 1426260 w 1430045"/>
                <a:gd name="connsiteY15" fmla="*/ 776526 h 1359020"/>
                <a:gd name="connsiteX16" fmla="*/ 1373874 w 1430045"/>
                <a:gd name="connsiteY16" fmla="*/ 833678 h 1359020"/>
                <a:gd name="connsiteX17" fmla="*/ 1252430 w 1430045"/>
                <a:gd name="connsiteY17" fmla="*/ 957503 h 1359020"/>
                <a:gd name="connsiteX18" fmla="*/ 1142893 w 1430045"/>
                <a:gd name="connsiteY18" fmla="*/ 1128953 h 1359020"/>
                <a:gd name="connsiteX19" fmla="*/ 1088121 w 1430045"/>
                <a:gd name="connsiteY19" fmla="*/ 1250396 h 1359020"/>
                <a:gd name="connsiteX20" fmla="*/ 1047644 w 1430045"/>
                <a:gd name="connsiteY20" fmla="*/ 1355172 h 1359020"/>
                <a:gd name="connsiteX21" fmla="*/ 909530 w 1430045"/>
                <a:gd name="connsiteY21" fmla="*/ 1331359 h 1359020"/>
                <a:gd name="connsiteX22" fmla="*/ 747606 w 1430045"/>
                <a:gd name="connsiteY22" fmla="*/ 1283734 h 1359020"/>
                <a:gd name="connsiteX23" fmla="*/ 657118 w 1430045"/>
                <a:gd name="connsiteY23" fmla="*/ 1252777 h 1359020"/>
                <a:gd name="connsiteX24" fmla="*/ 559486 w 1430045"/>
                <a:gd name="connsiteY24" fmla="*/ 1214678 h 1359020"/>
                <a:gd name="connsiteX25" fmla="*/ 404705 w 1430045"/>
                <a:gd name="connsiteY25" fmla="*/ 1143240 h 1359020"/>
                <a:gd name="connsiteX26" fmla="*/ 276118 w 1430045"/>
                <a:gd name="connsiteY26" fmla="*/ 1078947 h 1359020"/>
                <a:gd name="connsiteX27" fmla="*/ 114193 w 1430045"/>
                <a:gd name="connsiteY27" fmla="*/ 988459 h 1359020"/>
                <a:gd name="connsiteX28" fmla="*/ 2274 w 1430045"/>
                <a:gd name="connsiteY28" fmla="*/ 907496 h 1359020"/>
                <a:gd name="connsiteX0" fmla="*/ 2274 w 1425582"/>
                <a:gd name="connsiteY0" fmla="*/ 907496 h 1359020"/>
                <a:gd name="connsiteX1" fmla="*/ 45137 w 1425582"/>
                <a:gd name="connsiteY1" fmla="*/ 769384 h 1359020"/>
                <a:gd name="connsiteX2" fmla="*/ 118955 w 1425582"/>
                <a:gd name="connsiteY2" fmla="*/ 607458 h 1359020"/>
                <a:gd name="connsiteX3" fmla="*/ 238018 w 1425582"/>
                <a:gd name="connsiteY3" fmla="*/ 407434 h 1359020"/>
                <a:gd name="connsiteX4" fmla="*/ 340412 w 1425582"/>
                <a:gd name="connsiteY4" fmla="*/ 264558 h 1359020"/>
                <a:gd name="connsiteX5" fmla="*/ 445187 w 1425582"/>
                <a:gd name="connsiteY5" fmla="*/ 143115 h 1359020"/>
                <a:gd name="connsiteX6" fmla="*/ 545199 w 1425582"/>
                <a:gd name="connsiteY6" fmla="*/ 43103 h 1359020"/>
                <a:gd name="connsiteX7" fmla="*/ 602349 w 1425582"/>
                <a:gd name="connsiteY7" fmla="*/ 240 h 1359020"/>
                <a:gd name="connsiteX8" fmla="*/ 704744 w 1425582"/>
                <a:gd name="connsiteY8" fmla="*/ 59771 h 1359020"/>
                <a:gd name="connsiteX9" fmla="*/ 828568 w 1425582"/>
                <a:gd name="connsiteY9" fmla="*/ 152641 h 1359020"/>
                <a:gd name="connsiteX10" fmla="*/ 926198 w 1425582"/>
                <a:gd name="connsiteY10" fmla="*/ 233603 h 1359020"/>
                <a:gd name="connsiteX11" fmla="*/ 1050024 w 1425582"/>
                <a:gd name="connsiteY11" fmla="*/ 345522 h 1359020"/>
                <a:gd name="connsiteX12" fmla="*/ 1164324 w 1425582"/>
                <a:gd name="connsiteY12" fmla="*/ 457440 h 1359020"/>
                <a:gd name="connsiteX13" fmla="*/ 1238142 w 1425582"/>
                <a:gd name="connsiteY13" fmla="*/ 536021 h 1359020"/>
                <a:gd name="connsiteX14" fmla="*/ 1361968 w 1425582"/>
                <a:gd name="connsiteY14" fmla="*/ 683659 h 1359020"/>
                <a:gd name="connsiteX15" fmla="*/ 1421497 w 1425582"/>
                <a:gd name="connsiteY15" fmla="*/ 762239 h 1359020"/>
                <a:gd name="connsiteX16" fmla="*/ 1373874 w 1425582"/>
                <a:gd name="connsiteY16" fmla="*/ 833678 h 1359020"/>
                <a:gd name="connsiteX17" fmla="*/ 1252430 w 1425582"/>
                <a:gd name="connsiteY17" fmla="*/ 957503 h 1359020"/>
                <a:gd name="connsiteX18" fmla="*/ 1142893 w 1425582"/>
                <a:gd name="connsiteY18" fmla="*/ 1128953 h 1359020"/>
                <a:gd name="connsiteX19" fmla="*/ 1088121 w 1425582"/>
                <a:gd name="connsiteY19" fmla="*/ 1250396 h 1359020"/>
                <a:gd name="connsiteX20" fmla="*/ 1047644 w 1425582"/>
                <a:gd name="connsiteY20" fmla="*/ 1355172 h 1359020"/>
                <a:gd name="connsiteX21" fmla="*/ 909530 w 1425582"/>
                <a:gd name="connsiteY21" fmla="*/ 1331359 h 1359020"/>
                <a:gd name="connsiteX22" fmla="*/ 747606 w 1425582"/>
                <a:gd name="connsiteY22" fmla="*/ 1283734 h 1359020"/>
                <a:gd name="connsiteX23" fmla="*/ 657118 w 1425582"/>
                <a:gd name="connsiteY23" fmla="*/ 1252777 h 1359020"/>
                <a:gd name="connsiteX24" fmla="*/ 559486 w 1425582"/>
                <a:gd name="connsiteY24" fmla="*/ 1214678 h 1359020"/>
                <a:gd name="connsiteX25" fmla="*/ 404705 w 1425582"/>
                <a:gd name="connsiteY25" fmla="*/ 1143240 h 1359020"/>
                <a:gd name="connsiteX26" fmla="*/ 276118 w 1425582"/>
                <a:gd name="connsiteY26" fmla="*/ 1078947 h 1359020"/>
                <a:gd name="connsiteX27" fmla="*/ 114193 w 1425582"/>
                <a:gd name="connsiteY27" fmla="*/ 988459 h 1359020"/>
                <a:gd name="connsiteX28" fmla="*/ 2274 w 1425582"/>
                <a:gd name="connsiteY28" fmla="*/ 907496 h 1359020"/>
                <a:gd name="connsiteX0" fmla="*/ 2274 w 1421537"/>
                <a:gd name="connsiteY0" fmla="*/ 907496 h 1359020"/>
                <a:gd name="connsiteX1" fmla="*/ 45137 w 1421537"/>
                <a:gd name="connsiteY1" fmla="*/ 769384 h 1359020"/>
                <a:gd name="connsiteX2" fmla="*/ 118955 w 1421537"/>
                <a:gd name="connsiteY2" fmla="*/ 607458 h 1359020"/>
                <a:gd name="connsiteX3" fmla="*/ 238018 w 1421537"/>
                <a:gd name="connsiteY3" fmla="*/ 407434 h 1359020"/>
                <a:gd name="connsiteX4" fmla="*/ 340412 w 1421537"/>
                <a:gd name="connsiteY4" fmla="*/ 264558 h 1359020"/>
                <a:gd name="connsiteX5" fmla="*/ 445187 w 1421537"/>
                <a:gd name="connsiteY5" fmla="*/ 143115 h 1359020"/>
                <a:gd name="connsiteX6" fmla="*/ 545199 w 1421537"/>
                <a:gd name="connsiteY6" fmla="*/ 43103 h 1359020"/>
                <a:gd name="connsiteX7" fmla="*/ 602349 w 1421537"/>
                <a:gd name="connsiteY7" fmla="*/ 240 h 1359020"/>
                <a:gd name="connsiteX8" fmla="*/ 704744 w 1421537"/>
                <a:gd name="connsiteY8" fmla="*/ 59771 h 1359020"/>
                <a:gd name="connsiteX9" fmla="*/ 828568 w 1421537"/>
                <a:gd name="connsiteY9" fmla="*/ 152641 h 1359020"/>
                <a:gd name="connsiteX10" fmla="*/ 926198 w 1421537"/>
                <a:gd name="connsiteY10" fmla="*/ 233603 h 1359020"/>
                <a:gd name="connsiteX11" fmla="*/ 1050024 w 1421537"/>
                <a:gd name="connsiteY11" fmla="*/ 345522 h 1359020"/>
                <a:gd name="connsiteX12" fmla="*/ 1164324 w 1421537"/>
                <a:gd name="connsiteY12" fmla="*/ 457440 h 1359020"/>
                <a:gd name="connsiteX13" fmla="*/ 1238142 w 1421537"/>
                <a:gd name="connsiteY13" fmla="*/ 536021 h 1359020"/>
                <a:gd name="connsiteX14" fmla="*/ 1361968 w 1421537"/>
                <a:gd name="connsiteY14" fmla="*/ 683659 h 1359020"/>
                <a:gd name="connsiteX15" fmla="*/ 1421497 w 1421537"/>
                <a:gd name="connsiteY15" fmla="*/ 762239 h 1359020"/>
                <a:gd name="connsiteX16" fmla="*/ 1369112 w 1421537"/>
                <a:gd name="connsiteY16" fmla="*/ 831297 h 1359020"/>
                <a:gd name="connsiteX17" fmla="*/ 1252430 w 1421537"/>
                <a:gd name="connsiteY17" fmla="*/ 957503 h 1359020"/>
                <a:gd name="connsiteX18" fmla="*/ 1142893 w 1421537"/>
                <a:gd name="connsiteY18" fmla="*/ 1128953 h 1359020"/>
                <a:gd name="connsiteX19" fmla="*/ 1088121 w 1421537"/>
                <a:gd name="connsiteY19" fmla="*/ 1250396 h 1359020"/>
                <a:gd name="connsiteX20" fmla="*/ 1047644 w 1421537"/>
                <a:gd name="connsiteY20" fmla="*/ 1355172 h 1359020"/>
                <a:gd name="connsiteX21" fmla="*/ 909530 w 1421537"/>
                <a:gd name="connsiteY21" fmla="*/ 1331359 h 1359020"/>
                <a:gd name="connsiteX22" fmla="*/ 747606 w 1421537"/>
                <a:gd name="connsiteY22" fmla="*/ 1283734 h 1359020"/>
                <a:gd name="connsiteX23" fmla="*/ 657118 w 1421537"/>
                <a:gd name="connsiteY23" fmla="*/ 1252777 h 1359020"/>
                <a:gd name="connsiteX24" fmla="*/ 559486 w 1421537"/>
                <a:gd name="connsiteY24" fmla="*/ 1214678 h 1359020"/>
                <a:gd name="connsiteX25" fmla="*/ 404705 w 1421537"/>
                <a:gd name="connsiteY25" fmla="*/ 1143240 h 1359020"/>
                <a:gd name="connsiteX26" fmla="*/ 276118 w 1421537"/>
                <a:gd name="connsiteY26" fmla="*/ 1078947 h 1359020"/>
                <a:gd name="connsiteX27" fmla="*/ 114193 w 1421537"/>
                <a:gd name="connsiteY27" fmla="*/ 988459 h 1359020"/>
                <a:gd name="connsiteX28" fmla="*/ 2274 w 1421537"/>
                <a:gd name="connsiteY28" fmla="*/ 907496 h 1359020"/>
                <a:gd name="connsiteX0" fmla="*/ 2274 w 1423915"/>
                <a:gd name="connsiteY0" fmla="*/ 907496 h 1359020"/>
                <a:gd name="connsiteX1" fmla="*/ 45137 w 1423915"/>
                <a:gd name="connsiteY1" fmla="*/ 769384 h 1359020"/>
                <a:gd name="connsiteX2" fmla="*/ 118955 w 1423915"/>
                <a:gd name="connsiteY2" fmla="*/ 607458 h 1359020"/>
                <a:gd name="connsiteX3" fmla="*/ 238018 w 1423915"/>
                <a:gd name="connsiteY3" fmla="*/ 407434 h 1359020"/>
                <a:gd name="connsiteX4" fmla="*/ 340412 w 1423915"/>
                <a:gd name="connsiteY4" fmla="*/ 264558 h 1359020"/>
                <a:gd name="connsiteX5" fmla="*/ 445187 w 1423915"/>
                <a:gd name="connsiteY5" fmla="*/ 143115 h 1359020"/>
                <a:gd name="connsiteX6" fmla="*/ 545199 w 1423915"/>
                <a:gd name="connsiteY6" fmla="*/ 43103 h 1359020"/>
                <a:gd name="connsiteX7" fmla="*/ 602349 w 1423915"/>
                <a:gd name="connsiteY7" fmla="*/ 240 h 1359020"/>
                <a:gd name="connsiteX8" fmla="*/ 704744 w 1423915"/>
                <a:gd name="connsiteY8" fmla="*/ 59771 h 1359020"/>
                <a:gd name="connsiteX9" fmla="*/ 828568 w 1423915"/>
                <a:gd name="connsiteY9" fmla="*/ 152641 h 1359020"/>
                <a:gd name="connsiteX10" fmla="*/ 926198 w 1423915"/>
                <a:gd name="connsiteY10" fmla="*/ 233603 h 1359020"/>
                <a:gd name="connsiteX11" fmla="*/ 1050024 w 1423915"/>
                <a:gd name="connsiteY11" fmla="*/ 345522 h 1359020"/>
                <a:gd name="connsiteX12" fmla="*/ 1164324 w 1423915"/>
                <a:gd name="connsiteY12" fmla="*/ 457440 h 1359020"/>
                <a:gd name="connsiteX13" fmla="*/ 1238142 w 1423915"/>
                <a:gd name="connsiteY13" fmla="*/ 536021 h 1359020"/>
                <a:gd name="connsiteX14" fmla="*/ 1361968 w 1423915"/>
                <a:gd name="connsiteY14" fmla="*/ 683659 h 1359020"/>
                <a:gd name="connsiteX15" fmla="*/ 1423878 w 1423915"/>
                <a:gd name="connsiteY15" fmla="*/ 769383 h 1359020"/>
                <a:gd name="connsiteX16" fmla="*/ 1369112 w 1423915"/>
                <a:gd name="connsiteY16" fmla="*/ 831297 h 1359020"/>
                <a:gd name="connsiteX17" fmla="*/ 1252430 w 1423915"/>
                <a:gd name="connsiteY17" fmla="*/ 957503 h 1359020"/>
                <a:gd name="connsiteX18" fmla="*/ 1142893 w 1423915"/>
                <a:gd name="connsiteY18" fmla="*/ 1128953 h 1359020"/>
                <a:gd name="connsiteX19" fmla="*/ 1088121 w 1423915"/>
                <a:gd name="connsiteY19" fmla="*/ 1250396 h 1359020"/>
                <a:gd name="connsiteX20" fmla="*/ 1047644 w 1423915"/>
                <a:gd name="connsiteY20" fmla="*/ 1355172 h 1359020"/>
                <a:gd name="connsiteX21" fmla="*/ 909530 w 1423915"/>
                <a:gd name="connsiteY21" fmla="*/ 1331359 h 1359020"/>
                <a:gd name="connsiteX22" fmla="*/ 747606 w 1423915"/>
                <a:gd name="connsiteY22" fmla="*/ 1283734 h 1359020"/>
                <a:gd name="connsiteX23" fmla="*/ 657118 w 1423915"/>
                <a:gd name="connsiteY23" fmla="*/ 1252777 h 1359020"/>
                <a:gd name="connsiteX24" fmla="*/ 559486 w 1423915"/>
                <a:gd name="connsiteY24" fmla="*/ 1214678 h 1359020"/>
                <a:gd name="connsiteX25" fmla="*/ 404705 w 1423915"/>
                <a:gd name="connsiteY25" fmla="*/ 1143240 h 1359020"/>
                <a:gd name="connsiteX26" fmla="*/ 276118 w 1423915"/>
                <a:gd name="connsiteY26" fmla="*/ 1078947 h 1359020"/>
                <a:gd name="connsiteX27" fmla="*/ 114193 w 1423915"/>
                <a:gd name="connsiteY27" fmla="*/ 988459 h 1359020"/>
                <a:gd name="connsiteX28" fmla="*/ 2274 w 1423915"/>
                <a:gd name="connsiteY28" fmla="*/ 907496 h 1359020"/>
                <a:gd name="connsiteX0" fmla="*/ 2274 w 1426473"/>
                <a:gd name="connsiteY0" fmla="*/ 907496 h 1359020"/>
                <a:gd name="connsiteX1" fmla="*/ 45137 w 1426473"/>
                <a:gd name="connsiteY1" fmla="*/ 769384 h 1359020"/>
                <a:gd name="connsiteX2" fmla="*/ 118955 w 1426473"/>
                <a:gd name="connsiteY2" fmla="*/ 607458 h 1359020"/>
                <a:gd name="connsiteX3" fmla="*/ 238018 w 1426473"/>
                <a:gd name="connsiteY3" fmla="*/ 407434 h 1359020"/>
                <a:gd name="connsiteX4" fmla="*/ 340412 w 1426473"/>
                <a:gd name="connsiteY4" fmla="*/ 264558 h 1359020"/>
                <a:gd name="connsiteX5" fmla="*/ 445187 w 1426473"/>
                <a:gd name="connsiteY5" fmla="*/ 143115 h 1359020"/>
                <a:gd name="connsiteX6" fmla="*/ 545199 w 1426473"/>
                <a:gd name="connsiteY6" fmla="*/ 43103 h 1359020"/>
                <a:gd name="connsiteX7" fmla="*/ 602349 w 1426473"/>
                <a:gd name="connsiteY7" fmla="*/ 240 h 1359020"/>
                <a:gd name="connsiteX8" fmla="*/ 704744 w 1426473"/>
                <a:gd name="connsiteY8" fmla="*/ 59771 h 1359020"/>
                <a:gd name="connsiteX9" fmla="*/ 828568 w 1426473"/>
                <a:gd name="connsiteY9" fmla="*/ 152641 h 1359020"/>
                <a:gd name="connsiteX10" fmla="*/ 926198 w 1426473"/>
                <a:gd name="connsiteY10" fmla="*/ 233603 h 1359020"/>
                <a:gd name="connsiteX11" fmla="*/ 1050024 w 1426473"/>
                <a:gd name="connsiteY11" fmla="*/ 345522 h 1359020"/>
                <a:gd name="connsiteX12" fmla="*/ 1164324 w 1426473"/>
                <a:gd name="connsiteY12" fmla="*/ 457440 h 1359020"/>
                <a:gd name="connsiteX13" fmla="*/ 1238142 w 1426473"/>
                <a:gd name="connsiteY13" fmla="*/ 536021 h 1359020"/>
                <a:gd name="connsiteX14" fmla="*/ 1361968 w 1426473"/>
                <a:gd name="connsiteY14" fmla="*/ 683659 h 1359020"/>
                <a:gd name="connsiteX15" fmla="*/ 1423878 w 1426473"/>
                <a:gd name="connsiteY15" fmla="*/ 769383 h 1359020"/>
                <a:gd name="connsiteX16" fmla="*/ 1369112 w 1426473"/>
                <a:gd name="connsiteY16" fmla="*/ 831297 h 1359020"/>
                <a:gd name="connsiteX17" fmla="*/ 1252430 w 1426473"/>
                <a:gd name="connsiteY17" fmla="*/ 957503 h 1359020"/>
                <a:gd name="connsiteX18" fmla="*/ 1142893 w 1426473"/>
                <a:gd name="connsiteY18" fmla="*/ 1128953 h 1359020"/>
                <a:gd name="connsiteX19" fmla="*/ 1088121 w 1426473"/>
                <a:gd name="connsiteY19" fmla="*/ 1250396 h 1359020"/>
                <a:gd name="connsiteX20" fmla="*/ 1047644 w 1426473"/>
                <a:gd name="connsiteY20" fmla="*/ 1355172 h 1359020"/>
                <a:gd name="connsiteX21" fmla="*/ 909530 w 1426473"/>
                <a:gd name="connsiteY21" fmla="*/ 1331359 h 1359020"/>
                <a:gd name="connsiteX22" fmla="*/ 747606 w 1426473"/>
                <a:gd name="connsiteY22" fmla="*/ 1283734 h 1359020"/>
                <a:gd name="connsiteX23" fmla="*/ 657118 w 1426473"/>
                <a:gd name="connsiteY23" fmla="*/ 1252777 h 1359020"/>
                <a:gd name="connsiteX24" fmla="*/ 559486 w 1426473"/>
                <a:gd name="connsiteY24" fmla="*/ 1214678 h 1359020"/>
                <a:gd name="connsiteX25" fmla="*/ 404705 w 1426473"/>
                <a:gd name="connsiteY25" fmla="*/ 1143240 h 1359020"/>
                <a:gd name="connsiteX26" fmla="*/ 276118 w 1426473"/>
                <a:gd name="connsiteY26" fmla="*/ 1078947 h 1359020"/>
                <a:gd name="connsiteX27" fmla="*/ 114193 w 1426473"/>
                <a:gd name="connsiteY27" fmla="*/ 988459 h 1359020"/>
                <a:gd name="connsiteX28" fmla="*/ 2274 w 1426473"/>
                <a:gd name="connsiteY28" fmla="*/ 907496 h 1359020"/>
                <a:gd name="connsiteX0" fmla="*/ 2274 w 1426473"/>
                <a:gd name="connsiteY0" fmla="*/ 907496 h 1359020"/>
                <a:gd name="connsiteX1" fmla="*/ 45137 w 1426473"/>
                <a:gd name="connsiteY1" fmla="*/ 769384 h 1359020"/>
                <a:gd name="connsiteX2" fmla="*/ 118955 w 1426473"/>
                <a:gd name="connsiteY2" fmla="*/ 607458 h 1359020"/>
                <a:gd name="connsiteX3" fmla="*/ 238018 w 1426473"/>
                <a:gd name="connsiteY3" fmla="*/ 407434 h 1359020"/>
                <a:gd name="connsiteX4" fmla="*/ 340412 w 1426473"/>
                <a:gd name="connsiteY4" fmla="*/ 264558 h 1359020"/>
                <a:gd name="connsiteX5" fmla="*/ 445187 w 1426473"/>
                <a:gd name="connsiteY5" fmla="*/ 143115 h 1359020"/>
                <a:gd name="connsiteX6" fmla="*/ 545199 w 1426473"/>
                <a:gd name="connsiteY6" fmla="*/ 43103 h 1359020"/>
                <a:gd name="connsiteX7" fmla="*/ 602349 w 1426473"/>
                <a:gd name="connsiteY7" fmla="*/ 240 h 1359020"/>
                <a:gd name="connsiteX8" fmla="*/ 704744 w 1426473"/>
                <a:gd name="connsiteY8" fmla="*/ 59771 h 1359020"/>
                <a:gd name="connsiteX9" fmla="*/ 828568 w 1426473"/>
                <a:gd name="connsiteY9" fmla="*/ 152641 h 1359020"/>
                <a:gd name="connsiteX10" fmla="*/ 926198 w 1426473"/>
                <a:gd name="connsiteY10" fmla="*/ 233603 h 1359020"/>
                <a:gd name="connsiteX11" fmla="*/ 1050024 w 1426473"/>
                <a:gd name="connsiteY11" fmla="*/ 345522 h 1359020"/>
                <a:gd name="connsiteX12" fmla="*/ 1164324 w 1426473"/>
                <a:gd name="connsiteY12" fmla="*/ 457440 h 1359020"/>
                <a:gd name="connsiteX13" fmla="*/ 1238142 w 1426473"/>
                <a:gd name="connsiteY13" fmla="*/ 536021 h 1359020"/>
                <a:gd name="connsiteX14" fmla="*/ 1361968 w 1426473"/>
                <a:gd name="connsiteY14" fmla="*/ 683659 h 1359020"/>
                <a:gd name="connsiteX15" fmla="*/ 1423878 w 1426473"/>
                <a:gd name="connsiteY15" fmla="*/ 769383 h 1359020"/>
                <a:gd name="connsiteX16" fmla="*/ 1369112 w 1426473"/>
                <a:gd name="connsiteY16" fmla="*/ 831297 h 1359020"/>
                <a:gd name="connsiteX17" fmla="*/ 1252430 w 1426473"/>
                <a:gd name="connsiteY17" fmla="*/ 957503 h 1359020"/>
                <a:gd name="connsiteX18" fmla="*/ 1142893 w 1426473"/>
                <a:gd name="connsiteY18" fmla="*/ 1128953 h 1359020"/>
                <a:gd name="connsiteX19" fmla="*/ 1088121 w 1426473"/>
                <a:gd name="connsiteY19" fmla="*/ 1250396 h 1359020"/>
                <a:gd name="connsiteX20" fmla="*/ 1047644 w 1426473"/>
                <a:gd name="connsiteY20" fmla="*/ 1355172 h 1359020"/>
                <a:gd name="connsiteX21" fmla="*/ 909530 w 1426473"/>
                <a:gd name="connsiteY21" fmla="*/ 1331359 h 1359020"/>
                <a:gd name="connsiteX22" fmla="*/ 747606 w 1426473"/>
                <a:gd name="connsiteY22" fmla="*/ 1283734 h 1359020"/>
                <a:gd name="connsiteX23" fmla="*/ 657118 w 1426473"/>
                <a:gd name="connsiteY23" fmla="*/ 1252777 h 1359020"/>
                <a:gd name="connsiteX24" fmla="*/ 559486 w 1426473"/>
                <a:gd name="connsiteY24" fmla="*/ 1214678 h 1359020"/>
                <a:gd name="connsiteX25" fmla="*/ 404705 w 1426473"/>
                <a:gd name="connsiteY25" fmla="*/ 1143240 h 1359020"/>
                <a:gd name="connsiteX26" fmla="*/ 276118 w 1426473"/>
                <a:gd name="connsiteY26" fmla="*/ 1078947 h 1359020"/>
                <a:gd name="connsiteX27" fmla="*/ 114193 w 1426473"/>
                <a:gd name="connsiteY27" fmla="*/ 988459 h 1359020"/>
                <a:gd name="connsiteX28" fmla="*/ 2274 w 1426473"/>
                <a:gd name="connsiteY28" fmla="*/ 907496 h 1359020"/>
                <a:gd name="connsiteX0" fmla="*/ 2274 w 1426473"/>
                <a:gd name="connsiteY0" fmla="*/ 907496 h 1359020"/>
                <a:gd name="connsiteX1" fmla="*/ 45137 w 1426473"/>
                <a:gd name="connsiteY1" fmla="*/ 769384 h 1359020"/>
                <a:gd name="connsiteX2" fmla="*/ 118955 w 1426473"/>
                <a:gd name="connsiteY2" fmla="*/ 607458 h 1359020"/>
                <a:gd name="connsiteX3" fmla="*/ 238018 w 1426473"/>
                <a:gd name="connsiteY3" fmla="*/ 407434 h 1359020"/>
                <a:gd name="connsiteX4" fmla="*/ 340412 w 1426473"/>
                <a:gd name="connsiteY4" fmla="*/ 264558 h 1359020"/>
                <a:gd name="connsiteX5" fmla="*/ 445187 w 1426473"/>
                <a:gd name="connsiteY5" fmla="*/ 143115 h 1359020"/>
                <a:gd name="connsiteX6" fmla="*/ 545199 w 1426473"/>
                <a:gd name="connsiteY6" fmla="*/ 43103 h 1359020"/>
                <a:gd name="connsiteX7" fmla="*/ 602349 w 1426473"/>
                <a:gd name="connsiteY7" fmla="*/ 240 h 1359020"/>
                <a:gd name="connsiteX8" fmla="*/ 704744 w 1426473"/>
                <a:gd name="connsiteY8" fmla="*/ 59771 h 1359020"/>
                <a:gd name="connsiteX9" fmla="*/ 828568 w 1426473"/>
                <a:gd name="connsiteY9" fmla="*/ 152641 h 1359020"/>
                <a:gd name="connsiteX10" fmla="*/ 926198 w 1426473"/>
                <a:gd name="connsiteY10" fmla="*/ 233603 h 1359020"/>
                <a:gd name="connsiteX11" fmla="*/ 1050024 w 1426473"/>
                <a:gd name="connsiteY11" fmla="*/ 345522 h 1359020"/>
                <a:gd name="connsiteX12" fmla="*/ 1164324 w 1426473"/>
                <a:gd name="connsiteY12" fmla="*/ 457440 h 1359020"/>
                <a:gd name="connsiteX13" fmla="*/ 1238142 w 1426473"/>
                <a:gd name="connsiteY13" fmla="*/ 536021 h 1359020"/>
                <a:gd name="connsiteX14" fmla="*/ 1361968 w 1426473"/>
                <a:gd name="connsiteY14" fmla="*/ 683659 h 1359020"/>
                <a:gd name="connsiteX15" fmla="*/ 1423878 w 1426473"/>
                <a:gd name="connsiteY15" fmla="*/ 769383 h 1359020"/>
                <a:gd name="connsiteX16" fmla="*/ 1369112 w 1426473"/>
                <a:gd name="connsiteY16" fmla="*/ 831297 h 1359020"/>
                <a:gd name="connsiteX17" fmla="*/ 1252430 w 1426473"/>
                <a:gd name="connsiteY17" fmla="*/ 957503 h 1359020"/>
                <a:gd name="connsiteX18" fmla="*/ 1142893 w 1426473"/>
                <a:gd name="connsiteY18" fmla="*/ 1128953 h 1359020"/>
                <a:gd name="connsiteX19" fmla="*/ 1088121 w 1426473"/>
                <a:gd name="connsiteY19" fmla="*/ 1250396 h 1359020"/>
                <a:gd name="connsiteX20" fmla="*/ 1047644 w 1426473"/>
                <a:gd name="connsiteY20" fmla="*/ 1355172 h 1359020"/>
                <a:gd name="connsiteX21" fmla="*/ 909530 w 1426473"/>
                <a:gd name="connsiteY21" fmla="*/ 1331359 h 1359020"/>
                <a:gd name="connsiteX22" fmla="*/ 747606 w 1426473"/>
                <a:gd name="connsiteY22" fmla="*/ 1283734 h 1359020"/>
                <a:gd name="connsiteX23" fmla="*/ 657118 w 1426473"/>
                <a:gd name="connsiteY23" fmla="*/ 1252777 h 1359020"/>
                <a:gd name="connsiteX24" fmla="*/ 559486 w 1426473"/>
                <a:gd name="connsiteY24" fmla="*/ 1214678 h 1359020"/>
                <a:gd name="connsiteX25" fmla="*/ 404705 w 1426473"/>
                <a:gd name="connsiteY25" fmla="*/ 1143240 h 1359020"/>
                <a:gd name="connsiteX26" fmla="*/ 276118 w 1426473"/>
                <a:gd name="connsiteY26" fmla="*/ 1078947 h 1359020"/>
                <a:gd name="connsiteX27" fmla="*/ 114193 w 1426473"/>
                <a:gd name="connsiteY27" fmla="*/ 988459 h 1359020"/>
                <a:gd name="connsiteX28" fmla="*/ 2274 w 1426473"/>
                <a:gd name="connsiteY28" fmla="*/ 907496 h 1359020"/>
                <a:gd name="connsiteX0" fmla="*/ 2274 w 1426473"/>
                <a:gd name="connsiteY0" fmla="*/ 907496 h 1359020"/>
                <a:gd name="connsiteX1" fmla="*/ 45137 w 1426473"/>
                <a:gd name="connsiteY1" fmla="*/ 769384 h 1359020"/>
                <a:gd name="connsiteX2" fmla="*/ 118955 w 1426473"/>
                <a:gd name="connsiteY2" fmla="*/ 607458 h 1359020"/>
                <a:gd name="connsiteX3" fmla="*/ 238018 w 1426473"/>
                <a:gd name="connsiteY3" fmla="*/ 407434 h 1359020"/>
                <a:gd name="connsiteX4" fmla="*/ 340412 w 1426473"/>
                <a:gd name="connsiteY4" fmla="*/ 264558 h 1359020"/>
                <a:gd name="connsiteX5" fmla="*/ 445187 w 1426473"/>
                <a:gd name="connsiteY5" fmla="*/ 143115 h 1359020"/>
                <a:gd name="connsiteX6" fmla="*/ 545199 w 1426473"/>
                <a:gd name="connsiteY6" fmla="*/ 43103 h 1359020"/>
                <a:gd name="connsiteX7" fmla="*/ 602349 w 1426473"/>
                <a:gd name="connsiteY7" fmla="*/ 240 h 1359020"/>
                <a:gd name="connsiteX8" fmla="*/ 704744 w 1426473"/>
                <a:gd name="connsiteY8" fmla="*/ 59771 h 1359020"/>
                <a:gd name="connsiteX9" fmla="*/ 828568 w 1426473"/>
                <a:gd name="connsiteY9" fmla="*/ 152641 h 1359020"/>
                <a:gd name="connsiteX10" fmla="*/ 926198 w 1426473"/>
                <a:gd name="connsiteY10" fmla="*/ 233603 h 1359020"/>
                <a:gd name="connsiteX11" fmla="*/ 1050024 w 1426473"/>
                <a:gd name="connsiteY11" fmla="*/ 345522 h 1359020"/>
                <a:gd name="connsiteX12" fmla="*/ 1164324 w 1426473"/>
                <a:gd name="connsiteY12" fmla="*/ 457440 h 1359020"/>
                <a:gd name="connsiteX13" fmla="*/ 1238142 w 1426473"/>
                <a:gd name="connsiteY13" fmla="*/ 536021 h 1359020"/>
                <a:gd name="connsiteX14" fmla="*/ 1361968 w 1426473"/>
                <a:gd name="connsiteY14" fmla="*/ 683659 h 1359020"/>
                <a:gd name="connsiteX15" fmla="*/ 1423878 w 1426473"/>
                <a:gd name="connsiteY15" fmla="*/ 769383 h 1359020"/>
                <a:gd name="connsiteX16" fmla="*/ 1369112 w 1426473"/>
                <a:gd name="connsiteY16" fmla="*/ 831297 h 1359020"/>
                <a:gd name="connsiteX17" fmla="*/ 1252430 w 1426473"/>
                <a:gd name="connsiteY17" fmla="*/ 957503 h 1359020"/>
                <a:gd name="connsiteX18" fmla="*/ 1142893 w 1426473"/>
                <a:gd name="connsiteY18" fmla="*/ 1128953 h 1359020"/>
                <a:gd name="connsiteX19" fmla="*/ 1088121 w 1426473"/>
                <a:gd name="connsiteY19" fmla="*/ 1250396 h 1359020"/>
                <a:gd name="connsiteX20" fmla="*/ 1047644 w 1426473"/>
                <a:gd name="connsiteY20" fmla="*/ 1355172 h 1359020"/>
                <a:gd name="connsiteX21" fmla="*/ 909530 w 1426473"/>
                <a:gd name="connsiteY21" fmla="*/ 1331359 h 1359020"/>
                <a:gd name="connsiteX22" fmla="*/ 747606 w 1426473"/>
                <a:gd name="connsiteY22" fmla="*/ 1283734 h 1359020"/>
                <a:gd name="connsiteX23" fmla="*/ 657118 w 1426473"/>
                <a:gd name="connsiteY23" fmla="*/ 1252777 h 1359020"/>
                <a:gd name="connsiteX24" fmla="*/ 559486 w 1426473"/>
                <a:gd name="connsiteY24" fmla="*/ 1214678 h 1359020"/>
                <a:gd name="connsiteX25" fmla="*/ 404705 w 1426473"/>
                <a:gd name="connsiteY25" fmla="*/ 1143240 h 1359020"/>
                <a:gd name="connsiteX26" fmla="*/ 276118 w 1426473"/>
                <a:gd name="connsiteY26" fmla="*/ 1078947 h 1359020"/>
                <a:gd name="connsiteX27" fmla="*/ 114193 w 1426473"/>
                <a:gd name="connsiteY27" fmla="*/ 988459 h 1359020"/>
                <a:gd name="connsiteX28" fmla="*/ 2274 w 1426473"/>
                <a:gd name="connsiteY28" fmla="*/ 907496 h 1359020"/>
                <a:gd name="connsiteX0" fmla="*/ 2274 w 1426473"/>
                <a:gd name="connsiteY0" fmla="*/ 907496 h 1363402"/>
                <a:gd name="connsiteX1" fmla="*/ 45137 w 1426473"/>
                <a:gd name="connsiteY1" fmla="*/ 769384 h 1363402"/>
                <a:gd name="connsiteX2" fmla="*/ 118955 w 1426473"/>
                <a:gd name="connsiteY2" fmla="*/ 607458 h 1363402"/>
                <a:gd name="connsiteX3" fmla="*/ 238018 w 1426473"/>
                <a:gd name="connsiteY3" fmla="*/ 407434 h 1363402"/>
                <a:gd name="connsiteX4" fmla="*/ 340412 w 1426473"/>
                <a:gd name="connsiteY4" fmla="*/ 264558 h 1363402"/>
                <a:gd name="connsiteX5" fmla="*/ 445187 w 1426473"/>
                <a:gd name="connsiteY5" fmla="*/ 143115 h 1363402"/>
                <a:gd name="connsiteX6" fmla="*/ 545199 w 1426473"/>
                <a:gd name="connsiteY6" fmla="*/ 43103 h 1363402"/>
                <a:gd name="connsiteX7" fmla="*/ 602349 w 1426473"/>
                <a:gd name="connsiteY7" fmla="*/ 240 h 1363402"/>
                <a:gd name="connsiteX8" fmla="*/ 704744 w 1426473"/>
                <a:gd name="connsiteY8" fmla="*/ 59771 h 1363402"/>
                <a:gd name="connsiteX9" fmla="*/ 828568 w 1426473"/>
                <a:gd name="connsiteY9" fmla="*/ 152641 h 1363402"/>
                <a:gd name="connsiteX10" fmla="*/ 926198 w 1426473"/>
                <a:gd name="connsiteY10" fmla="*/ 233603 h 1363402"/>
                <a:gd name="connsiteX11" fmla="*/ 1050024 w 1426473"/>
                <a:gd name="connsiteY11" fmla="*/ 345522 h 1363402"/>
                <a:gd name="connsiteX12" fmla="*/ 1164324 w 1426473"/>
                <a:gd name="connsiteY12" fmla="*/ 457440 h 1363402"/>
                <a:gd name="connsiteX13" fmla="*/ 1238142 w 1426473"/>
                <a:gd name="connsiteY13" fmla="*/ 536021 h 1363402"/>
                <a:gd name="connsiteX14" fmla="*/ 1361968 w 1426473"/>
                <a:gd name="connsiteY14" fmla="*/ 683659 h 1363402"/>
                <a:gd name="connsiteX15" fmla="*/ 1423878 w 1426473"/>
                <a:gd name="connsiteY15" fmla="*/ 769383 h 1363402"/>
                <a:gd name="connsiteX16" fmla="*/ 1369112 w 1426473"/>
                <a:gd name="connsiteY16" fmla="*/ 831297 h 1363402"/>
                <a:gd name="connsiteX17" fmla="*/ 1252430 w 1426473"/>
                <a:gd name="connsiteY17" fmla="*/ 957503 h 1363402"/>
                <a:gd name="connsiteX18" fmla="*/ 1142893 w 1426473"/>
                <a:gd name="connsiteY18" fmla="*/ 1128953 h 1363402"/>
                <a:gd name="connsiteX19" fmla="*/ 1088121 w 1426473"/>
                <a:gd name="connsiteY19" fmla="*/ 1250396 h 1363402"/>
                <a:gd name="connsiteX20" fmla="*/ 1052406 w 1426473"/>
                <a:gd name="connsiteY20" fmla="*/ 1359935 h 1363402"/>
                <a:gd name="connsiteX21" fmla="*/ 909530 w 1426473"/>
                <a:gd name="connsiteY21" fmla="*/ 1331359 h 1363402"/>
                <a:gd name="connsiteX22" fmla="*/ 747606 w 1426473"/>
                <a:gd name="connsiteY22" fmla="*/ 1283734 h 1363402"/>
                <a:gd name="connsiteX23" fmla="*/ 657118 w 1426473"/>
                <a:gd name="connsiteY23" fmla="*/ 1252777 h 1363402"/>
                <a:gd name="connsiteX24" fmla="*/ 559486 w 1426473"/>
                <a:gd name="connsiteY24" fmla="*/ 1214678 h 1363402"/>
                <a:gd name="connsiteX25" fmla="*/ 404705 w 1426473"/>
                <a:gd name="connsiteY25" fmla="*/ 1143240 h 1363402"/>
                <a:gd name="connsiteX26" fmla="*/ 276118 w 1426473"/>
                <a:gd name="connsiteY26" fmla="*/ 1078947 h 1363402"/>
                <a:gd name="connsiteX27" fmla="*/ 114193 w 1426473"/>
                <a:gd name="connsiteY27" fmla="*/ 988459 h 1363402"/>
                <a:gd name="connsiteX28" fmla="*/ 2274 w 1426473"/>
                <a:gd name="connsiteY28" fmla="*/ 907496 h 1363402"/>
                <a:gd name="connsiteX0" fmla="*/ 2274 w 1426473"/>
                <a:gd name="connsiteY0" fmla="*/ 907496 h 1363402"/>
                <a:gd name="connsiteX1" fmla="*/ 45137 w 1426473"/>
                <a:gd name="connsiteY1" fmla="*/ 769384 h 1363402"/>
                <a:gd name="connsiteX2" fmla="*/ 118955 w 1426473"/>
                <a:gd name="connsiteY2" fmla="*/ 607458 h 1363402"/>
                <a:gd name="connsiteX3" fmla="*/ 228493 w 1426473"/>
                <a:gd name="connsiteY3" fmla="*/ 416959 h 1363402"/>
                <a:gd name="connsiteX4" fmla="*/ 340412 w 1426473"/>
                <a:gd name="connsiteY4" fmla="*/ 264558 h 1363402"/>
                <a:gd name="connsiteX5" fmla="*/ 445187 w 1426473"/>
                <a:gd name="connsiteY5" fmla="*/ 143115 h 1363402"/>
                <a:gd name="connsiteX6" fmla="*/ 545199 w 1426473"/>
                <a:gd name="connsiteY6" fmla="*/ 43103 h 1363402"/>
                <a:gd name="connsiteX7" fmla="*/ 602349 w 1426473"/>
                <a:gd name="connsiteY7" fmla="*/ 240 h 1363402"/>
                <a:gd name="connsiteX8" fmla="*/ 704744 w 1426473"/>
                <a:gd name="connsiteY8" fmla="*/ 59771 h 1363402"/>
                <a:gd name="connsiteX9" fmla="*/ 828568 w 1426473"/>
                <a:gd name="connsiteY9" fmla="*/ 152641 h 1363402"/>
                <a:gd name="connsiteX10" fmla="*/ 926198 w 1426473"/>
                <a:gd name="connsiteY10" fmla="*/ 233603 h 1363402"/>
                <a:gd name="connsiteX11" fmla="*/ 1050024 w 1426473"/>
                <a:gd name="connsiteY11" fmla="*/ 345522 h 1363402"/>
                <a:gd name="connsiteX12" fmla="*/ 1164324 w 1426473"/>
                <a:gd name="connsiteY12" fmla="*/ 457440 h 1363402"/>
                <a:gd name="connsiteX13" fmla="*/ 1238142 w 1426473"/>
                <a:gd name="connsiteY13" fmla="*/ 536021 h 1363402"/>
                <a:gd name="connsiteX14" fmla="*/ 1361968 w 1426473"/>
                <a:gd name="connsiteY14" fmla="*/ 683659 h 1363402"/>
                <a:gd name="connsiteX15" fmla="*/ 1423878 w 1426473"/>
                <a:gd name="connsiteY15" fmla="*/ 769383 h 1363402"/>
                <a:gd name="connsiteX16" fmla="*/ 1369112 w 1426473"/>
                <a:gd name="connsiteY16" fmla="*/ 831297 h 1363402"/>
                <a:gd name="connsiteX17" fmla="*/ 1252430 w 1426473"/>
                <a:gd name="connsiteY17" fmla="*/ 957503 h 1363402"/>
                <a:gd name="connsiteX18" fmla="*/ 1142893 w 1426473"/>
                <a:gd name="connsiteY18" fmla="*/ 1128953 h 1363402"/>
                <a:gd name="connsiteX19" fmla="*/ 1088121 w 1426473"/>
                <a:gd name="connsiteY19" fmla="*/ 1250396 h 1363402"/>
                <a:gd name="connsiteX20" fmla="*/ 1052406 w 1426473"/>
                <a:gd name="connsiteY20" fmla="*/ 1359935 h 1363402"/>
                <a:gd name="connsiteX21" fmla="*/ 909530 w 1426473"/>
                <a:gd name="connsiteY21" fmla="*/ 1331359 h 1363402"/>
                <a:gd name="connsiteX22" fmla="*/ 747606 w 1426473"/>
                <a:gd name="connsiteY22" fmla="*/ 1283734 h 1363402"/>
                <a:gd name="connsiteX23" fmla="*/ 657118 w 1426473"/>
                <a:gd name="connsiteY23" fmla="*/ 1252777 h 1363402"/>
                <a:gd name="connsiteX24" fmla="*/ 559486 w 1426473"/>
                <a:gd name="connsiteY24" fmla="*/ 1214678 h 1363402"/>
                <a:gd name="connsiteX25" fmla="*/ 404705 w 1426473"/>
                <a:gd name="connsiteY25" fmla="*/ 1143240 h 1363402"/>
                <a:gd name="connsiteX26" fmla="*/ 276118 w 1426473"/>
                <a:gd name="connsiteY26" fmla="*/ 1078947 h 1363402"/>
                <a:gd name="connsiteX27" fmla="*/ 114193 w 1426473"/>
                <a:gd name="connsiteY27" fmla="*/ 988459 h 1363402"/>
                <a:gd name="connsiteX28" fmla="*/ 2274 w 1426473"/>
                <a:gd name="connsiteY28" fmla="*/ 907496 h 1363402"/>
                <a:gd name="connsiteX0" fmla="*/ 2274 w 1426473"/>
                <a:gd name="connsiteY0" fmla="*/ 907496 h 1363402"/>
                <a:gd name="connsiteX1" fmla="*/ 45137 w 1426473"/>
                <a:gd name="connsiteY1" fmla="*/ 769384 h 1363402"/>
                <a:gd name="connsiteX2" fmla="*/ 118955 w 1426473"/>
                <a:gd name="connsiteY2" fmla="*/ 607458 h 1363402"/>
                <a:gd name="connsiteX3" fmla="*/ 228493 w 1426473"/>
                <a:gd name="connsiteY3" fmla="*/ 416959 h 1363402"/>
                <a:gd name="connsiteX4" fmla="*/ 340412 w 1426473"/>
                <a:gd name="connsiteY4" fmla="*/ 264558 h 1363402"/>
                <a:gd name="connsiteX5" fmla="*/ 445187 w 1426473"/>
                <a:gd name="connsiteY5" fmla="*/ 143115 h 1363402"/>
                <a:gd name="connsiteX6" fmla="*/ 545199 w 1426473"/>
                <a:gd name="connsiteY6" fmla="*/ 43103 h 1363402"/>
                <a:gd name="connsiteX7" fmla="*/ 602349 w 1426473"/>
                <a:gd name="connsiteY7" fmla="*/ 240 h 1363402"/>
                <a:gd name="connsiteX8" fmla="*/ 704744 w 1426473"/>
                <a:gd name="connsiteY8" fmla="*/ 59771 h 1363402"/>
                <a:gd name="connsiteX9" fmla="*/ 828568 w 1426473"/>
                <a:gd name="connsiteY9" fmla="*/ 152641 h 1363402"/>
                <a:gd name="connsiteX10" fmla="*/ 926198 w 1426473"/>
                <a:gd name="connsiteY10" fmla="*/ 233603 h 1363402"/>
                <a:gd name="connsiteX11" fmla="*/ 1050024 w 1426473"/>
                <a:gd name="connsiteY11" fmla="*/ 345522 h 1363402"/>
                <a:gd name="connsiteX12" fmla="*/ 1164324 w 1426473"/>
                <a:gd name="connsiteY12" fmla="*/ 457440 h 1363402"/>
                <a:gd name="connsiteX13" fmla="*/ 1238142 w 1426473"/>
                <a:gd name="connsiteY13" fmla="*/ 536021 h 1363402"/>
                <a:gd name="connsiteX14" fmla="*/ 1361968 w 1426473"/>
                <a:gd name="connsiteY14" fmla="*/ 683659 h 1363402"/>
                <a:gd name="connsiteX15" fmla="*/ 1423878 w 1426473"/>
                <a:gd name="connsiteY15" fmla="*/ 769383 h 1363402"/>
                <a:gd name="connsiteX16" fmla="*/ 1369112 w 1426473"/>
                <a:gd name="connsiteY16" fmla="*/ 831297 h 1363402"/>
                <a:gd name="connsiteX17" fmla="*/ 1252430 w 1426473"/>
                <a:gd name="connsiteY17" fmla="*/ 957503 h 1363402"/>
                <a:gd name="connsiteX18" fmla="*/ 1142893 w 1426473"/>
                <a:gd name="connsiteY18" fmla="*/ 1128953 h 1363402"/>
                <a:gd name="connsiteX19" fmla="*/ 1088121 w 1426473"/>
                <a:gd name="connsiteY19" fmla="*/ 1250396 h 1363402"/>
                <a:gd name="connsiteX20" fmla="*/ 1052406 w 1426473"/>
                <a:gd name="connsiteY20" fmla="*/ 1359935 h 1363402"/>
                <a:gd name="connsiteX21" fmla="*/ 909530 w 1426473"/>
                <a:gd name="connsiteY21" fmla="*/ 1331359 h 1363402"/>
                <a:gd name="connsiteX22" fmla="*/ 747606 w 1426473"/>
                <a:gd name="connsiteY22" fmla="*/ 1283734 h 1363402"/>
                <a:gd name="connsiteX23" fmla="*/ 657118 w 1426473"/>
                <a:gd name="connsiteY23" fmla="*/ 1252777 h 1363402"/>
                <a:gd name="connsiteX24" fmla="*/ 559486 w 1426473"/>
                <a:gd name="connsiteY24" fmla="*/ 1214678 h 1363402"/>
                <a:gd name="connsiteX25" fmla="*/ 404705 w 1426473"/>
                <a:gd name="connsiteY25" fmla="*/ 1143240 h 1363402"/>
                <a:gd name="connsiteX26" fmla="*/ 276118 w 1426473"/>
                <a:gd name="connsiteY26" fmla="*/ 1078947 h 1363402"/>
                <a:gd name="connsiteX27" fmla="*/ 114193 w 1426473"/>
                <a:gd name="connsiteY27" fmla="*/ 988459 h 1363402"/>
                <a:gd name="connsiteX28" fmla="*/ 2274 w 1426473"/>
                <a:gd name="connsiteY28" fmla="*/ 907496 h 1363402"/>
                <a:gd name="connsiteX0" fmla="*/ 2274 w 1426862"/>
                <a:gd name="connsiteY0" fmla="*/ 907496 h 1363402"/>
                <a:gd name="connsiteX1" fmla="*/ 45137 w 1426862"/>
                <a:gd name="connsiteY1" fmla="*/ 769384 h 1363402"/>
                <a:gd name="connsiteX2" fmla="*/ 118955 w 1426862"/>
                <a:gd name="connsiteY2" fmla="*/ 607458 h 1363402"/>
                <a:gd name="connsiteX3" fmla="*/ 228493 w 1426862"/>
                <a:gd name="connsiteY3" fmla="*/ 416959 h 1363402"/>
                <a:gd name="connsiteX4" fmla="*/ 340412 w 1426862"/>
                <a:gd name="connsiteY4" fmla="*/ 264558 h 1363402"/>
                <a:gd name="connsiteX5" fmla="*/ 445187 w 1426862"/>
                <a:gd name="connsiteY5" fmla="*/ 143115 h 1363402"/>
                <a:gd name="connsiteX6" fmla="*/ 545199 w 1426862"/>
                <a:gd name="connsiteY6" fmla="*/ 43103 h 1363402"/>
                <a:gd name="connsiteX7" fmla="*/ 602349 w 1426862"/>
                <a:gd name="connsiteY7" fmla="*/ 240 h 1363402"/>
                <a:gd name="connsiteX8" fmla="*/ 704744 w 1426862"/>
                <a:gd name="connsiteY8" fmla="*/ 59771 h 1363402"/>
                <a:gd name="connsiteX9" fmla="*/ 828568 w 1426862"/>
                <a:gd name="connsiteY9" fmla="*/ 152641 h 1363402"/>
                <a:gd name="connsiteX10" fmla="*/ 926198 w 1426862"/>
                <a:gd name="connsiteY10" fmla="*/ 233603 h 1363402"/>
                <a:gd name="connsiteX11" fmla="*/ 1050024 w 1426862"/>
                <a:gd name="connsiteY11" fmla="*/ 345522 h 1363402"/>
                <a:gd name="connsiteX12" fmla="*/ 1164324 w 1426862"/>
                <a:gd name="connsiteY12" fmla="*/ 457440 h 1363402"/>
                <a:gd name="connsiteX13" fmla="*/ 1238142 w 1426862"/>
                <a:gd name="connsiteY13" fmla="*/ 536021 h 1363402"/>
                <a:gd name="connsiteX14" fmla="*/ 1361968 w 1426862"/>
                <a:gd name="connsiteY14" fmla="*/ 683659 h 1363402"/>
                <a:gd name="connsiteX15" fmla="*/ 1423878 w 1426862"/>
                <a:gd name="connsiteY15" fmla="*/ 769383 h 1363402"/>
                <a:gd name="connsiteX16" fmla="*/ 1369112 w 1426862"/>
                <a:gd name="connsiteY16" fmla="*/ 831297 h 1363402"/>
                <a:gd name="connsiteX17" fmla="*/ 1252430 w 1426862"/>
                <a:gd name="connsiteY17" fmla="*/ 957503 h 1363402"/>
                <a:gd name="connsiteX18" fmla="*/ 1142893 w 1426862"/>
                <a:gd name="connsiteY18" fmla="*/ 1128953 h 1363402"/>
                <a:gd name="connsiteX19" fmla="*/ 1088121 w 1426862"/>
                <a:gd name="connsiteY19" fmla="*/ 1250396 h 1363402"/>
                <a:gd name="connsiteX20" fmla="*/ 1052406 w 1426862"/>
                <a:gd name="connsiteY20" fmla="*/ 1359935 h 1363402"/>
                <a:gd name="connsiteX21" fmla="*/ 909530 w 1426862"/>
                <a:gd name="connsiteY21" fmla="*/ 1331359 h 1363402"/>
                <a:gd name="connsiteX22" fmla="*/ 747606 w 1426862"/>
                <a:gd name="connsiteY22" fmla="*/ 1283734 h 1363402"/>
                <a:gd name="connsiteX23" fmla="*/ 657118 w 1426862"/>
                <a:gd name="connsiteY23" fmla="*/ 1252777 h 1363402"/>
                <a:gd name="connsiteX24" fmla="*/ 559486 w 1426862"/>
                <a:gd name="connsiteY24" fmla="*/ 1214678 h 1363402"/>
                <a:gd name="connsiteX25" fmla="*/ 404705 w 1426862"/>
                <a:gd name="connsiteY25" fmla="*/ 1143240 h 1363402"/>
                <a:gd name="connsiteX26" fmla="*/ 276118 w 1426862"/>
                <a:gd name="connsiteY26" fmla="*/ 1078947 h 1363402"/>
                <a:gd name="connsiteX27" fmla="*/ 114193 w 1426862"/>
                <a:gd name="connsiteY27" fmla="*/ 988459 h 1363402"/>
                <a:gd name="connsiteX28" fmla="*/ 2274 w 1426862"/>
                <a:gd name="connsiteY28" fmla="*/ 907496 h 1363402"/>
                <a:gd name="connsiteX0" fmla="*/ 2274 w 1426473"/>
                <a:gd name="connsiteY0" fmla="*/ 907496 h 1363402"/>
                <a:gd name="connsiteX1" fmla="*/ 45137 w 1426473"/>
                <a:gd name="connsiteY1" fmla="*/ 769384 h 1363402"/>
                <a:gd name="connsiteX2" fmla="*/ 118955 w 1426473"/>
                <a:gd name="connsiteY2" fmla="*/ 607458 h 1363402"/>
                <a:gd name="connsiteX3" fmla="*/ 228493 w 1426473"/>
                <a:gd name="connsiteY3" fmla="*/ 416959 h 1363402"/>
                <a:gd name="connsiteX4" fmla="*/ 340412 w 1426473"/>
                <a:gd name="connsiteY4" fmla="*/ 264558 h 1363402"/>
                <a:gd name="connsiteX5" fmla="*/ 445187 w 1426473"/>
                <a:gd name="connsiteY5" fmla="*/ 143115 h 1363402"/>
                <a:gd name="connsiteX6" fmla="*/ 545199 w 1426473"/>
                <a:gd name="connsiteY6" fmla="*/ 43103 h 1363402"/>
                <a:gd name="connsiteX7" fmla="*/ 602349 w 1426473"/>
                <a:gd name="connsiteY7" fmla="*/ 240 h 1363402"/>
                <a:gd name="connsiteX8" fmla="*/ 704744 w 1426473"/>
                <a:gd name="connsiteY8" fmla="*/ 59771 h 1363402"/>
                <a:gd name="connsiteX9" fmla="*/ 828568 w 1426473"/>
                <a:gd name="connsiteY9" fmla="*/ 152641 h 1363402"/>
                <a:gd name="connsiteX10" fmla="*/ 926198 w 1426473"/>
                <a:gd name="connsiteY10" fmla="*/ 233603 h 1363402"/>
                <a:gd name="connsiteX11" fmla="*/ 1050024 w 1426473"/>
                <a:gd name="connsiteY11" fmla="*/ 345522 h 1363402"/>
                <a:gd name="connsiteX12" fmla="*/ 1164324 w 1426473"/>
                <a:gd name="connsiteY12" fmla="*/ 457440 h 1363402"/>
                <a:gd name="connsiteX13" fmla="*/ 1238142 w 1426473"/>
                <a:gd name="connsiteY13" fmla="*/ 536021 h 1363402"/>
                <a:gd name="connsiteX14" fmla="*/ 1361968 w 1426473"/>
                <a:gd name="connsiteY14" fmla="*/ 683659 h 1363402"/>
                <a:gd name="connsiteX15" fmla="*/ 1423878 w 1426473"/>
                <a:gd name="connsiteY15" fmla="*/ 769383 h 1363402"/>
                <a:gd name="connsiteX16" fmla="*/ 1369112 w 1426473"/>
                <a:gd name="connsiteY16" fmla="*/ 831297 h 1363402"/>
                <a:gd name="connsiteX17" fmla="*/ 1252430 w 1426473"/>
                <a:gd name="connsiteY17" fmla="*/ 957503 h 1363402"/>
                <a:gd name="connsiteX18" fmla="*/ 1142893 w 1426473"/>
                <a:gd name="connsiteY18" fmla="*/ 1128953 h 1363402"/>
                <a:gd name="connsiteX19" fmla="*/ 1088121 w 1426473"/>
                <a:gd name="connsiteY19" fmla="*/ 1250396 h 1363402"/>
                <a:gd name="connsiteX20" fmla="*/ 1052406 w 1426473"/>
                <a:gd name="connsiteY20" fmla="*/ 1359935 h 1363402"/>
                <a:gd name="connsiteX21" fmla="*/ 909530 w 1426473"/>
                <a:gd name="connsiteY21" fmla="*/ 1331359 h 1363402"/>
                <a:gd name="connsiteX22" fmla="*/ 747606 w 1426473"/>
                <a:gd name="connsiteY22" fmla="*/ 1283734 h 1363402"/>
                <a:gd name="connsiteX23" fmla="*/ 657118 w 1426473"/>
                <a:gd name="connsiteY23" fmla="*/ 1252777 h 1363402"/>
                <a:gd name="connsiteX24" fmla="*/ 559486 w 1426473"/>
                <a:gd name="connsiteY24" fmla="*/ 1214678 h 1363402"/>
                <a:gd name="connsiteX25" fmla="*/ 404705 w 1426473"/>
                <a:gd name="connsiteY25" fmla="*/ 1143240 h 1363402"/>
                <a:gd name="connsiteX26" fmla="*/ 276118 w 1426473"/>
                <a:gd name="connsiteY26" fmla="*/ 1078947 h 1363402"/>
                <a:gd name="connsiteX27" fmla="*/ 114193 w 1426473"/>
                <a:gd name="connsiteY27" fmla="*/ 988459 h 1363402"/>
                <a:gd name="connsiteX28" fmla="*/ 2274 w 1426473"/>
                <a:gd name="connsiteY28" fmla="*/ 907496 h 1363402"/>
                <a:gd name="connsiteX0" fmla="*/ 2274 w 1425142"/>
                <a:gd name="connsiteY0" fmla="*/ 907496 h 1363402"/>
                <a:gd name="connsiteX1" fmla="*/ 45137 w 1425142"/>
                <a:gd name="connsiteY1" fmla="*/ 769384 h 1363402"/>
                <a:gd name="connsiteX2" fmla="*/ 118955 w 1425142"/>
                <a:gd name="connsiteY2" fmla="*/ 607458 h 1363402"/>
                <a:gd name="connsiteX3" fmla="*/ 228493 w 1425142"/>
                <a:gd name="connsiteY3" fmla="*/ 416959 h 1363402"/>
                <a:gd name="connsiteX4" fmla="*/ 340412 w 1425142"/>
                <a:gd name="connsiteY4" fmla="*/ 264558 h 1363402"/>
                <a:gd name="connsiteX5" fmla="*/ 445187 w 1425142"/>
                <a:gd name="connsiteY5" fmla="*/ 143115 h 1363402"/>
                <a:gd name="connsiteX6" fmla="*/ 545199 w 1425142"/>
                <a:gd name="connsiteY6" fmla="*/ 43103 h 1363402"/>
                <a:gd name="connsiteX7" fmla="*/ 602349 w 1425142"/>
                <a:gd name="connsiteY7" fmla="*/ 240 h 1363402"/>
                <a:gd name="connsiteX8" fmla="*/ 704744 w 1425142"/>
                <a:gd name="connsiteY8" fmla="*/ 59771 h 1363402"/>
                <a:gd name="connsiteX9" fmla="*/ 828568 w 1425142"/>
                <a:gd name="connsiteY9" fmla="*/ 152641 h 1363402"/>
                <a:gd name="connsiteX10" fmla="*/ 926198 w 1425142"/>
                <a:gd name="connsiteY10" fmla="*/ 233603 h 1363402"/>
                <a:gd name="connsiteX11" fmla="*/ 1050024 w 1425142"/>
                <a:gd name="connsiteY11" fmla="*/ 345522 h 1363402"/>
                <a:gd name="connsiteX12" fmla="*/ 1164324 w 1425142"/>
                <a:gd name="connsiteY12" fmla="*/ 457440 h 1363402"/>
                <a:gd name="connsiteX13" fmla="*/ 1238142 w 1425142"/>
                <a:gd name="connsiteY13" fmla="*/ 536021 h 1363402"/>
                <a:gd name="connsiteX14" fmla="*/ 1361968 w 1425142"/>
                <a:gd name="connsiteY14" fmla="*/ 683659 h 1363402"/>
                <a:gd name="connsiteX15" fmla="*/ 1423878 w 1425142"/>
                <a:gd name="connsiteY15" fmla="*/ 769383 h 1363402"/>
                <a:gd name="connsiteX16" fmla="*/ 1369112 w 1425142"/>
                <a:gd name="connsiteY16" fmla="*/ 831297 h 1363402"/>
                <a:gd name="connsiteX17" fmla="*/ 1252430 w 1425142"/>
                <a:gd name="connsiteY17" fmla="*/ 957503 h 1363402"/>
                <a:gd name="connsiteX18" fmla="*/ 1142893 w 1425142"/>
                <a:gd name="connsiteY18" fmla="*/ 1128953 h 1363402"/>
                <a:gd name="connsiteX19" fmla="*/ 1088121 w 1425142"/>
                <a:gd name="connsiteY19" fmla="*/ 1250396 h 1363402"/>
                <a:gd name="connsiteX20" fmla="*/ 1052406 w 1425142"/>
                <a:gd name="connsiteY20" fmla="*/ 1359935 h 1363402"/>
                <a:gd name="connsiteX21" fmla="*/ 909530 w 1425142"/>
                <a:gd name="connsiteY21" fmla="*/ 1331359 h 1363402"/>
                <a:gd name="connsiteX22" fmla="*/ 747606 w 1425142"/>
                <a:gd name="connsiteY22" fmla="*/ 1283734 h 1363402"/>
                <a:gd name="connsiteX23" fmla="*/ 657118 w 1425142"/>
                <a:gd name="connsiteY23" fmla="*/ 1252777 h 1363402"/>
                <a:gd name="connsiteX24" fmla="*/ 559486 w 1425142"/>
                <a:gd name="connsiteY24" fmla="*/ 1214678 h 1363402"/>
                <a:gd name="connsiteX25" fmla="*/ 404705 w 1425142"/>
                <a:gd name="connsiteY25" fmla="*/ 1143240 h 1363402"/>
                <a:gd name="connsiteX26" fmla="*/ 276118 w 1425142"/>
                <a:gd name="connsiteY26" fmla="*/ 1078947 h 1363402"/>
                <a:gd name="connsiteX27" fmla="*/ 114193 w 1425142"/>
                <a:gd name="connsiteY27" fmla="*/ 988459 h 1363402"/>
                <a:gd name="connsiteX28" fmla="*/ 2274 w 1425142"/>
                <a:gd name="connsiteY28" fmla="*/ 907496 h 1363402"/>
                <a:gd name="connsiteX0" fmla="*/ 2274 w 1425142"/>
                <a:gd name="connsiteY0" fmla="*/ 907496 h 1363402"/>
                <a:gd name="connsiteX1" fmla="*/ 45137 w 1425142"/>
                <a:gd name="connsiteY1" fmla="*/ 769384 h 1363402"/>
                <a:gd name="connsiteX2" fmla="*/ 118955 w 1425142"/>
                <a:gd name="connsiteY2" fmla="*/ 607458 h 1363402"/>
                <a:gd name="connsiteX3" fmla="*/ 228493 w 1425142"/>
                <a:gd name="connsiteY3" fmla="*/ 416959 h 1363402"/>
                <a:gd name="connsiteX4" fmla="*/ 340412 w 1425142"/>
                <a:gd name="connsiteY4" fmla="*/ 264558 h 1363402"/>
                <a:gd name="connsiteX5" fmla="*/ 445187 w 1425142"/>
                <a:gd name="connsiteY5" fmla="*/ 143115 h 1363402"/>
                <a:gd name="connsiteX6" fmla="*/ 545199 w 1425142"/>
                <a:gd name="connsiteY6" fmla="*/ 43103 h 1363402"/>
                <a:gd name="connsiteX7" fmla="*/ 602349 w 1425142"/>
                <a:gd name="connsiteY7" fmla="*/ 240 h 1363402"/>
                <a:gd name="connsiteX8" fmla="*/ 704744 w 1425142"/>
                <a:gd name="connsiteY8" fmla="*/ 59771 h 1363402"/>
                <a:gd name="connsiteX9" fmla="*/ 828568 w 1425142"/>
                <a:gd name="connsiteY9" fmla="*/ 152641 h 1363402"/>
                <a:gd name="connsiteX10" fmla="*/ 926198 w 1425142"/>
                <a:gd name="connsiteY10" fmla="*/ 233603 h 1363402"/>
                <a:gd name="connsiteX11" fmla="*/ 1050024 w 1425142"/>
                <a:gd name="connsiteY11" fmla="*/ 345522 h 1363402"/>
                <a:gd name="connsiteX12" fmla="*/ 1164324 w 1425142"/>
                <a:gd name="connsiteY12" fmla="*/ 457440 h 1363402"/>
                <a:gd name="connsiteX13" fmla="*/ 1238142 w 1425142"/>
                <a:gd name="connsiteY13" fmla="*/ 536021 h 1363402"/>
                <a:gd name="connsiteX14" fmla="*/ 1361968 w 1425142"/>
                <a:gd name="connsiteY14" fmla="*/ 683659 h 1363402"/>
                <a:gd name="connsiteX15" fmla="*/ 1423878 w 1425142"/>
                <a:gd name="connsiteY15" fmla="*/ 769383 h 1363402"/>
                <a:gd name="connsiteX16" fmla="*/ 1369112 w 1425142"/>
                <a:gd name="connsiteY16" fmla="*/ 831297 h 1363402"/>
                <a:gd name="connsiteX17" fmla="*/ 1252430 w 1425142"/>
                <a:gd name="connsiteY17" fmla="*/ 957503 h 1363402"/>
                <a:gd name="connsiteX18" fmla="*/ 1142893 w 1425142"/>
                <a:gd name="connsiteY18" fmla="*/ 1128953 h 1363402"/>
                <a:gd name="connsiteX19" fmla="*/ 1088121 w 1425142"/>
                <a:gd name="connsiteY19" fmla="*/ 1250396 h 1363402"/>
                <a:gd name="connsiteX20" fmla="*/ 1052406 w 1425142"/>
                <a:gd name="connsiteY20" fmla="*/ 1359935 h 1363402"/>
                <a:gd name="connsiteX21" fmla="*/ 909530 w 1425142"/>
                <a:gd name="connsiteY21" fmla="*/ 1331359 h 1363402"/>
                <a:gd name="connsiteX22" fmla="*/ 747606 w 1425142"/>
                <a:gd name="connsiteY22" fmla="*/ 1283734 h 1363402"/>
                <a:gd name="connsiteX23" fmla="*/ 657118 w 1425142"/>
                <a:gd name="connsiteY23" fmla="*/ 1252777 h 1363402"/>
                <a:gd name="connsiteX24" fmla="*/ 559486 w 1425142"/>
                <a:gd name="connsiteY24" fmla="*/ 1214678 h 1363402"/>
                <a:gd name="connsiteX25" fmla="*/ 404705 w 1425142"/>
                <a:gd name="connsiteY25" fmla="*/ 1143240 h 1363402"/>
                <a:gd name="connsiteX26" fmla="*/ 276118 w 1425142"/>
                <a:gd name="connsiteY26" fmla="*/ 1078947 h 1363402"/>
                <a:gd name="connsiteX27" fmla="*/ 114193 w 1425142"/>
                <a:gd name="connsiteY27" fmla="*/ 988459 h 1363402"/>
                <a:gd name="connsiteX28" fmla="*/ 2274 w 1425142"/>
                <a:gd name="connsiteY28" fmla="*/ 907496 h 1363402"/>
                <a:gd name="connsiteX0" fmla="*/ 2274 w 1425142"/>
                <a:gd name="connsiteY0" fmla="*/ 907496 h 1363402"/>
                <a:gd name="connsiteX1" fmla="*/ 45137 w 1425142"/>
                <a:gd name="connsiteY1" fmla="*/ 769384 h 1363402"/>
                <a:gd name="connsiteX2" fmla="*/ 118955 w 1425142"/>
                <a:gd name="connsiteY2" fmla="*/ 607458 h 1363402"/>
                <a:gd name="connsiteX3" fmla="*/ 228493 w 1425142"/>
                <a:gd name="connsiteY3" fmla="*/ 416959 h 1363402"/>
                <a:gd name="connsiteX4" fmla="*/ 340412 w 1425142"/>
                <a:gd name="connsiteY4" fmla="*/ 264558 h 1363402"/>
                <a:gd name="connsiteX5" fmla="*/ 445187 w 1425142"/>
                <a:gd name="connsiteY5" fmla="*/ 143115 h 1363402"/>
                <a:gd name="connsiteX6" fmla="*/ 545199 w 1425142"/>
                <a:gd name="connsiteY6" fmla="*/ 43103 h 1363402"/>
                <a:gd name="connsiteX7" fmla="*/ 602349 w 1425142"/>
                <a:gd name="connsiteY7" fmla="*/ 240 h 1363402"/>
                <a:gd name="connsiteX8" fmla="*/ 704744 w 1425142"/>
                <a:gd name="connsiteY8" fmla="*/ 59771 h 1363402"/>
                <a:gd name="connsiteX9" fmla="*/ 828568 w 1425142"/>
                <a:gd name="connsiteY9" fmla="*/ 152641 h 1363402"/>
                <a:gd name="connsiteX10" fmla="*/ 926198 w 1425142"/>
                <a:gd name="connsiteY10" fmla="*/ 233603 h 1363402"/>
                <a:gd name="connsiteX11" fmla="*/ 1050024 w 1425142"/>
                <a:gd name="connsiteY11" fmla="*/ 345522 h 1363402"/>
                <a:gd name="connsiteX12" fmla="*/ 1164324 w 1425142"/>
                <a:gd name="connsiteY12" fmla="*/ 457440 h 1363402"/>
                <a:gd name="connsiteX13" fmla="*/ 1238142 w 1425142"/>
                <a:gd name="connsiteY13" fmla="*/ 536021 h 1363402"/>
                <a:gd name="connsiteX14" fmla="*/ 1361968 w 1425142"/>
                <a:gd name="connsiteY14" fmla="*/ 683659 h 1363402"/>
                <a:gd name="connsiteX15" fmla="*/ 1423878 w 1425142"/>
                <a:gd name="connsiteY15" fmla="*/ 769383 h 1363402"/>
                <a:gd name="connsiteX16" fmla="*/ 1369112 w 1425142"/>
                <a:gd name="connsiteY16" fmla="*/ 831297 h 1363402"/>
                <a:gd name="connsiteX17" fmla="*/ 1252430 w 1425142"/>
                <a:gd name="connsiteY17" fmla="*/ 957503 h 1363402"/>
                <a:gd name="connsiteX18" fmla="*/ 1142893 w 1425142"/>
                <a:gd name="connsiteY18" fmla="*/ 1128953 h 1363402"/>
                <a:gd name="connsiteX19" fmla="*/ 1088121 w 1425142"/>
                <a:gd name="connsiteY19" fmla="*/ 1250396 h 1363402"/>
                <a:gd name="connsiteX20" fmla="*/ 1052406 w 1425142"/>
                <a:gd name="connsiteY20" fmla="*/ 1359935 h 1363402"/>
                <a:gd name="connsiteX21" fmla="*/ 909530 w 1425142"/>
                <a:gd name="connsiteY21" fmla="*/ 1331359 h 1363402"/>
                <a:gd name="connsiteX22" fmla="*/ 747606 w 1425142"/>
                <a:gd name="connsiteY22" fmla="*/ 1283734 h 1363402"/>
                <a:gd name="connsiteX23" fmla="*/ 657118 w 1425142"/>
                <a:gd name="connsiteY23" fmla="*/ 1252777 h 1363402"/>
                <a:gd name="connsiteX24" fmla="*/ 559486 w 1425142"/>
                <a:gd name="connsiteY24" fmla="*/ 1214678 h 1363402"/>
                <a:gd name="connsiteX25" fmla="*/ 404705 w 1425142"/>
                <a:gd name="connsiteY25" fmla="*/ 1143240 h 1363402"/>
                <a:gd name="connsiteX26" fmla="*/ 276118 w 1425142"/>
                <a:gd name="connsiteY26" fmla="*/ 1078947 h 1363402"/>
                <a:gd name="connsiteX27" fmla="*/ 114193 w 1425142"/>
                <a:gd name="connsiteY27" fmla="*/ 988459 h 1363402"/>
                <a:gd name="connsiteX28" fmla="*/ 2274 w 1425142"/>
                <a:gd name="connsiteY28" fmla="*/ 907496 h 1363402"/>
                <a:gd name="connsiteX0" fmla="*/ 2274 w 1425142"/>
                <a:gd name="connsiteY0" fmla="*/ 907496 h 1363402"/>
                <a:gd name="connsiteX1" fmla="*/ 45137 w 1425142"/>
                <a:gd name="connsiteY1" fmla="*/ 769384 h 1363402"/>
                <a:gd name="connsiteX2" fmla="*/ 118955 w 1425142"/>
                <a:gd name="connsiteY2" fmla="*/ 607458 h 1363402"/>
                <a:gd name="connsiteX3" fmla="*/ 228493 w 1425142"/>
                <a:gd name="connsiteY3" fmla="*/ 416959 h 1363402"/>
                <a:gd name="connsiteX4" fmla="*/ 340412 w 1425142"/>
                <a:gd name="connsiteY4" fmla="*/ 264558 h 1363402"/>
                <a:gd name="connsiteX5" fmla="*/ 445187 w 1425142"/>
                <a:gd name="connsiteY5" fmla="*/ 143115 h 1363402"/>
                <a:gd name="connsiteX6" fmla="*/ 545199 w 1425142"/>
                <a:gd name="connsiteY6" fmla="*/ 43103 h 1363402"/>
                <a:gd name="connsiteX7" fmla="*/ 602349 w 1425142"/>
                <a:gd name="connsiteY7" fmla="*/ 240 h 1363402"/>
                <a:gd name="connsiteX8" fmla="*/ 704744 w 1425142"/>
                <a:gd name="connsiteY8" fmla="*/ 59771 h 1363402"/>
                <a:gd name="connsiteX9" fmla="*/ 828568 w 1425142"/>
                <a:gd name="connsiteY9" fmla="*/ 152641 h 1363402"/>
                <a:gd name="connsiteX10" fmla="*/ 926198 w 1425142"/>
                <a:gd name="connsiteY10" fmla="*/ 233603 h 1363402"/>
                <a:gd name="connsiteX11" fmla="*/ 1050024 w 1425142"/>
                <a:gd name="connsiteY11" fmla="*/ 345522 h 1363402"/>
                <a:gd name="connsiteX12" fmla="*/ 1164324 w 1425142"/>
                <a:gd name="connsiteY12" fmla="*/ 457440 h 1363402"/>
                <a:gd name="connsiteX13" fmla="*/ 1238142 w 1425142"/>
                <a:gd name="connsiteY13" fmla="*/ 536021 h 1363402"/>
                <a:gd name="connsiteX14" fmla="*/ 1361968 w 1425142"/>
                <a:gd name="connsiteY14" fmla="*/ 683659 h 1363402"/>
                <a:gd name="connsiteX15" fmla="*/ 1423878 w 1425142"/>
                <a:gd name="connsiteY15" fmla="*/ 769383 h 1363402"/>
                <a:gd name="connsiteX16" fmla="*/ 1369112 w 1425142"/>
                <a:gd name="connsiteY16" fmla="*/ 831297 h 1363402"/>
                <a:gd name="connsiteX17" fmla="*/ 1252430 w 1425142"/>
                <a:gd name="connsiteY17" fmla="*/ 957503 h 1363402"/>
                <a:gd name="connsiteX18" fmla="*/ 1142893 w 1425142"/>
                <a:gd name="connsiteY18" fmla="*/ 1128953 h 1363402"/>
                <a:gd name="connsiteX19" fmla="*/ 1088121 w 1425142"/>
                <a:gd name="connsiteY19" fmla="*/ 1250396 h 1363402"/>
                <a:gd name="connsiteX20" fmla="*/ 1052406 w 1425142"/>
                <a:gd name="connsiteY20" fmla="*/ 1359935 h 1363402"/>
                <a:gd name="connsiteX21" fmla="*/ 909530 w 1425142"/>
                <a:gd name="connsiteY21" fmla="*/ 1331359 h 1363402"/>
                <a:gd name="connsiteX22" fmla="*/ 747606 w 1425142"/>
                <a:gd name="connsiteY22" fmla="*/ 1283734 h 1363402"/>
                <a:gd name="connsiteX23" fmla="*/ 657118 w 1425142"/>
                <a:gd name="connsiteY23" fmla="*/ 1252777 h 1363402"/>
                <a:gd name="connsiteX24" fmla="*/ 559486 w 1425142"/>
                <a:gd name="connsiteY24" fmla="*/ 1214678 h 1363402"/>
                <a:gd name="connsiteX25" fmla="*/ 404705 w 1425142"/>
                <a:gd name="connsiteY25" fmla="*/ 1143240 h 1363402"/>
                <a:gd name="connsiteX26" fmla="*/ 276118 w 1425142"/>
                <a:gd name="connsiteY26" fmla="*/ 1078947 h 1363402"/>
                <a:gd name="connsiteX27" fmla="*/ 114193 w 1425142"/>
                <a:gd name="connsiteY27" fmla="*/ 988459 h 1363402"/>
                <a:gd name="connsiteX28" fmla="*/ 2274 w 1425142"/>
                <a:gd name="connsiteY28" fmla="*/ 907496 h 1363402"/>
                <a:gd name="connsiteX0" fmla="*/ 2274 w 1425142"/>
                <a:gd name="connsiteY0" fmla="*/ 907496 h 1369014"/>
                <a:gd name="connsiteX1" fmla="*/ 45137 w 1425142"/>
                <a:gd name="connsiteY1" fmla="*/ 769384 h 1369014"/>
                <a:gd name="connsiteX2" fmla="*/ 118955 w 1425142"/>
                <a:gd name="connsiteY2" fmla="*/ 607458 h 1369014"/>
                <a:gd name="connsiteX3" fmla="*/ 228493 w 1425142"/>
                <a:gd name="connsiteY3" fmla="*/ 416959 h 1369014"/>
                <a:gd name="connsiteX4" fmla="*/ 340412 w 1425142"/>
                <a:gd name="connsiteY4" fmla="*/ 264558 h 1369014"/>
                <a:gd name="connsiteX5" fmla="*/ 445187 w 1425142"/>
                <a:gd name="connsiteY5" fmla="*/ 143115 h 1369014"/>
                <a:gd name="connsiteX6" fmla="*/ 545199 w 1425142"/>
                <a:gd name="connsiteY6" fmla="*/ 43103 h 1369014"/>
                <a:gd name="connsiteX7" fmla="*/ 602349 w 1425142"/>
                <a:gd name="connsiteY7" fmla="*/ 240 h 1369014"/>
                <a:gd name="connsiteX8" fmla="*/ 704744 w 1425142"/>
                <a:gd name="connsiteY8" fmla="*/ 59771 h 1369014"/>
                <a:gd name="connsiteX9" fmla="*/ 828568 w 1425142"/>
                <a:gd name="connsiteY9" fmla="*/ 152641 h 1369014"/>
                <a:gd name="connsiteX10" fmla="*/ 926198 w 1425142"/>
                <a:gd name="connsiteY10" fmla="*/ 233603 h 1369014"/>
                <a:gd name="connsiteX11" fmla="*/ 1050024 w 1425142"/>
                <a:gd name="connsiteY11" fmla="*/ 345522 h 1369014"/>
                <a:gd name="connsiteX12" fmla="*/ 1164324 w 1425142"/>
                <a:gd name="connsiteY12" fmla="*/ 457440 h 1369014"/>
                <a:gd name="connsiteX13" fmla="*/ 1238142 w 1425142"/>
                <a:gd name="connsiteY13" fmla="*/ 536021 h 1369014"/>
                <a:gd name="connsiteX14" fmla="*/ 1361968 w 1425142"/>
                <a:gd name="connsiteY14" fmla="*/ 683659 h 1369014"/>
                <a:gd name="connsiteX15" fmla="*/ 1423878 w 1425142"/>
                <a:gd name="connsiteY15" fmla="*/ 769383 h 1369014"/>
                <a:gd name="connsiteX16" fmla="*/ 1369112 w 1425142"/>
                <a:gd name="connsiteY16" fmla="*/ 831297 h 1369014"/>
                <a:gd name="connsiteX17" fmla="*/ 1252430 w 1425142"/>
                <a:gd name="connsiteY17" fmla="*/ 957503 h 1369014"/>
                <a:gd name="connsiteX18" fmla="*/ 1142893 w 1425142"/>
                <a:gd name="connsiteY18" fmla="*/ 1128953 h 1369014"/>
                <a:gd name="connsiteX19" fmla="*/ 1059546 w 1425142"/>
                <a:gd name="connsiteY19" fmla="*/ 1164671 h 1369014"/>
                <a:gd name="connsiteX20" fmla="*/ 1052406 w 1425142"/>
                <a:gd name="connsiteY20" fmla="*/ 1359935 h 1369014"/>
                <a:gd name="connsiteX21" fmla="*/ 909530 w 1425142"/>
                <a:gd name="connsiteY21" fmla="*/ 1331359 h 1369014"/>
                <a:gd name="connsiteX22" fmla="*/ 747606 w 1425142"/>
                <a:gd name="connsiteY22" fmla="*/ 1283734 h 1369014"/>
                <a:gd name="connsiteX23" fmla="*/ 657118 w 1425142"/>
                <a:gd name="connsiteY23" fmla="*/ 1252777 h 1369014"/>
                <a:gd name="connsiteX24" fmla="*/ 559486 w 1425142"/>
                <a:gd name="connsiteY24" fmla="*/ 1214678 h 1369014"/>
                <a:gd name="connsiteX25" fmla="*/ 404705 w 1425142"/>
                <a:gd name="connsiteY25" fmla="*/ 1143240 h 1369014"/>
                <a:gd name="connsiteX26" fmla="*/ 276118 w 1425142"/>
                <a:gd name="connsiteY26" fmla="*/ 1078947 h 1369014"/>
                <a:gd name="connsiteX27" fmla="*/ 114193 w 1425142"/>
                <a:gd name="connsiteY27" fmla="*/ 988459 h 1369014"/>
                <a:gd name="connsiteX28" fmla="*/ 2274 w 1425142"/>
                <a:gd name="connsiteY28" fmla="*/ 907496 h 1369014"/>
                <a:gd name="connsiteX0" fmla="*/ 2274 w 1425142"/>
                <a:gd name="connsiteY0" fmla="*/ 907496 h 1371489"/>
                <a:gd name="connsiteX1" fmla="*/ 45137 w 1425142"/>
                <a:gd name="connsiteY1" fmla="*/ 769384 h 1371489"/>
                <a:gd name="connsiteX2" fmla="*/ 118955 w 1425142"/>
                <a:gd name="connsiteY2" fmla="*/ 607458 h 1371489"/>
                <a:gd name="connsiteX3" fmla="*/ 228493 w 1425142"/>
                <a:gd name="connsiteY3" fmla="*/ 416959 h 1371489"/>
                <a:gd name="connsiteX4" fmla="*/ 340412 w 1425142"/>
                <a:gd name="connsiteY4" fmla="*/ 264558 h 1371489"/>
                <a:gd name="connsiteX5" fmla="*/ 445187 w 1425142"/>
                <a:gd name="connsiteY5" fmla="*/ 143115 h 1371489"/>
                <a:gd name="connsiteX6" fmla="*/ 545199 w 1425142"/>
                <a:gd name="connsiteY6" fmla="*/ 43103 h 1371489"/>
                <a:gd name="connsiteX7" fmla="*/ 602349 w 1425142"/>
                <a:gd name="connsiteY7" fmla="*/ 240 h 1371489"/>
                <a:gd name="connsiteX8" fmla="*/ 704744 w 1425142"/>
                <a:gd name="connsiteY8" fmla="*/ 59771 h 1371489"/>
                <a:gd name="connsiteX9" fmla="*/ 828568 w 1425142"/>
                <a:gd name="connsiteY9" fmla="*/ 152641 h 1371489"/>
                <a:gd name="connsiteX10" fmla="*/ 926198 w 1425142"/>
                <a:gd name="connsiteY10" fmla="*/ 233603 h 1371489"/>
                <a:gd name="connsiteX11" fmla="*/ 1050024 w 1425142"/>
                <a:gd name="connsiteY11" fmla="*/ 345522 h 1371489"/>
                <a:gd name="connsiteX12" fmla="*/ 1164324 w 1425142"/>
                <a:gd name="connsiteY12" fmla="*/ 457440 h 1371489"/>
                <a:gd name="connsiteX13" fmla="*/ 1238142 w 1425142"/>
                <a:gd name="connsiteY13" fmla="*/ 536021 h 1371489"/>
                <a:gd name="connsiteX14" fmla="*/ 1361968 w 1425142"/>
                <a:gd name="connsiteY14" fmla="*/ 683659 h 1371489"/>
                <a:gd name="connsiteX15" fmla="*/ 1423878 w 1425142"/>
                <a:gd name="connsiteY15" fmla="*/ 769383 h 1371489"/>
                <a:gd name="connsiteX16" fmla="*/ 1369112 w 1425142"/>
                <a:gd name="connsiteY16" fmla="*/ 831297 h 1371489"/>
                <a:gd name="connsiteX17" fmla="*/ 1252430 w 1425142"/>
                <a:gd name="connsiteY17" fmla="*/ 957503 h 1371489"/>
                <a:gd name="connsiteX18" fmla="*/ 1142893 w 1425142"/>
                <a:gd name="connsiteY18" fmla="*/ 1128953 h 1371489"/>
                <a:gd name="connsiteX19" fmla="*/ 1052406 w 1425142"/>
                <a:gd name="connsiteY19" fmla="*/ 1359935 h 1371489"/>
                <a:gd name="connsiteX20" fmla="*/ 909530 w 1425142"/>
                <a:gd name="connsiteY20" fmla="*/ 1331359 h 1371489"/>
                <a:gd name="connsiteX21" fmla="*/ 747606 w 1425142"/>
                <a:gd name="connsiteY21" fmla="*/ 1283734 h 1371489"/>
                <a:gd name="connsiteX22" fmla="*/ 657118 w 1425142"/>
                <a:gd name="connsiteY22" fmla="*/ 1252777 h 1371489"/>
                <a:gd name="connsiteX23" fmla="*/ 559486 w 1425142"/>
                <a:gd name="connsiteY23" fmla="*/ 1214678 h 1371489"/>
                <a:gd name="connsiteX24" fmla="*/ 404705 w 1425142"/>
                <a:gd name="connsiteY24" fmla="*/ 1143240 h 1371489"/>
                <a:gd name="connsiteX25" fmla="*/ 276118 w 1425142"/>
                <a:gd name="connsiteY25" fmla="*/ 1078947 h 1371489"/>
                <a:gd name="connsiteX26" fmla="*/ 114193 w 1425142"/>
                <a:gd name="connsiteY26" fmla="*/ 988459 h 1371489"/>
                <a:gd name="connsiteX27" fmla="*/ 2274 w 1425142"/>
                <a:gd name="connsiteY27" fmla="*/ 907496 h 1371489"/>
                <a:gd name="connsiteX0" fmla="*/ 2274 w 1425142"/>
                <a:gd name="connsiteY0" fmla="*/ 907496 h 1337705"/>
                <a:gd name="connsiteX1" fmla="*/ 45137 w 1425142"/>
                <a:gd name="connsiteY1" fmla="*/ 769384 h 1337705"/>
                <a:gd name="connsiteX2" fmla="*/ 118955 w 1425142"/>
                <a:gd name="connsiteY2" fmla="*/ 607458 h 1337705"/>
                <a:gd name="connsiteX3" fmla="*/ 228493 w 1425142"/>
                <a:gd name="connsiteY3" fmla="*/ 416959 h 1337705"/>
                <a:gd name="connsiteX4" fmla="*/ 340412 w 1425142"/>
                <a:gd name="connsiteY4" fmla="*/ 264558 h 1337705"/>
                <a:gd name="connsiteX5" fmla="*/ 445187 w 1425142"/>
                <a:gd name="connsiteY5" fmla="*/ 143115 h 1337705"/>
                <a:gd name="connsiteX6" fmla="*/ 545199 w 1425142"/>
                <a:gd name="connsiteY6" fmla="*/ 43103 h 1337705"/>
                <a:gd name="connsiteX7" fmla="*/ 602349 w 1425142"/>
                <a:gd name="connsiteY7" fmla="*/ 240 h 1337705"/>
                <a:gd name="connsiteX8" fmla="*/ 704744 w 1425142"/>
                <a:gd name="connsiteY8" fmla="*/ 59771 h 1337705"/>
                <a:gd name="connsiteX9" fmla="*/ 828568 w 1425142"/>
                <a:gd name="connsiteY9" fmla="*/ 152641 h 1337705"/>
                <a:gd name="connsiteX10" fmla="*/ 926198 w 1425142"/>
                <a:gd name="connsiteY10" fmla="*/ 233603 h 1337705"/>
                <a:gd name="connsiteX11" fmla="*/ 1050024 w 1425142"/>
                <a:gd name="connsiteY11" fmla="*/ 345522 h 1337705"/>
                <a:gd name="connsiteX12" fmla="*/ 1164324 w 1425142"/>
                <a:gd name="connsiteY12" fmla="*/ 457440 h 1337705"/>
                <a:gd name="connsiteX13" fmla="*/ 1238142 w 1425142"/>
                <a:gd name="connsiteY13" fmla="*/ 536021 h 1337705"/>
                <a:gd name="connsiteX14" fmla="*/ 1361968 w 1425142"/>
                <a:gd name="connsiteY14" fmla="*/ 683659 h 1337705"/>
                <a:gd name="connsiteX15" fmla="*/ 1423878 w 1425142"/>
                <a:gd name="connsiteY15" fmla="*/ 769383 h 1337705"/>
                <a:gd name="connsiteX16" fmla="*/ 1369112 w 1425142"/>
                <a:gd name="connsiteY16" fmla="*/ 831297 h 1337705"/>
                <a:gd name="connsiteX17" fmla="*/ 1252430 w 1425142"/>
                <a:gd name="connsiteY17" fmla="*/ 957503 h 1337705"/>
                <a:gd name="connsiteX18" fmla="*/ 1142893 w 1425142"/>
                <a:gd name="connsiteY18" fmla="*/ 1128953 h 1337705"/>
                <a:gd name="connsiteX19" fmla="*/ 909530 w 1425142"/>
                <a:gd name="connsiteY19" fmla="*/ 1331359 h 1337705"/>
                <a:gd name="connsiteX20" fmla="*/ 747606 w 1425142"/>
                <a:gd name="connsiteY20" fmla="*/ 1283734 h 1337705"/>
                <a:gd name="connsiteX21" fmla="*/ 657118 w 1425142"/>
                <a:gd name="connsiteY21" fmla="*/ 1252777 h 1337705"/>
                <a:gd name="connsiteX22" fmla="*/ 559486 w 1425142"/>
                <a:gd name="connsiteY22" fmla="*/ 1214678 h 1337705"/>
                <a:gd name="connsiteX23" fmla="*/ 404705 w 1425142"/>
                <a:gd name="connsiteY23" fmla="*/ 1143240 h 1337705"/>
                <a:gd name="connsiteX24" fmla="*/ 276118 w 1425142"/>
                <a:gd name="connsiteY24" fmla="*/ 1078947 h 1337705"/>
                <a:gd name="connsiteX25" fmla="*/ 114193 w 1425142"/>
                <a:gd name="connsiteY25" fmla="*/ 988459 h 1337705"/>
                <a:gd name="connsiteX26" fmla="*/ 2274 w 1425142"/>
                <a:gd name="connsiteY26" fmla="*/ 907496 h 1337705"/>
                <a:gd name="connsiteX0" fmla="*/ 2274 w 1425142"/>
                <a:gd name="connsiteY0" fmla="*/ 907496 h 1289544"/>
                <a:gd name="connsiteX1" fmla="*/ 45137 w 1425142"/>
                <a:gd name="connsiteY1" fmla="*/ 769384 h 1289544"/>
                <a:gd name="connsiteX2" fmla="*/ 118955 w 1425142"/>
                <a:gd name="connsiteY2" fmla="*/ 607458 h 1289544"/>
                <a:gd name="connsiteX3" fmla="*/ 228493 w 1425142"/>
                <a:gd name="connsiteY3" fmla="*/ 416959 h 1289544"/>
                <a:gd name="connsiteX4" fmla="*/ 340412 w 1425142"/>
                <a:gd name="connsiteY4" fmla="*/ 264558 h 1289544"/>
                <a:gd name="connsiteX5" fmla="*/ 445187 w 1425142"/>
                <a:gd name="connsiteY5" fmla="*/ 143115 h 1289544"/>
                <a:gd name="connsiteX6" fmla="*/ 545199 w 1425142"/>
                <a:gd name="connsiteY6" fmla="*/ 43103 h 1289544"/>
                <a:gd name="connsiteX7" fmla="*/ 602349 w 1425142"/>
                <a:gd name="connsiteY7" fmla="*/ 240 h 1289544"/>
                <a:gd name="connsiteX8" fmla="*/ 704744 w 1425142"/>
                <a:gd name="connsiteY8" fmla="*/ 59771 h 1289544"/>
                <a:gd name="connsiteX9" fmla="*/ 828568 w 1425142"/>
                <a:gd name="connsiteY9" fmla="*/ 152641 h 1289544"/>
                <a:gd name="connsiteX10" fmla="*/ 926198 w 1425142"/>
                <a:gd name="connsiteY10" fmla="*/ 233603 h 1289544"/>
                <a:gd name="connsiteX11" fmla="*/ 1050024 w 1425142"/>
                <a:gd name="connsiteY11" fmla="*/ 345522 h 1289544"/>
                <a:gd name="connsiteX12" fmla="*/ 1164324 w 1425142"/>
                <a:gd name="connsiteY12" fmla="*/ 457440 h 1289544"/>
                <a:gd name="connsiteX13" fmla="*/ 1238142 w 1425142"/>
                <a:gd name="connsiteY13" fmla="*/ 536021 h 1289544"/>
                <a:gd name="connsiteX14" fmla="*/ 1361968 w 1425142"/>
                <a:gd name="connsiteY14" fmla="*/ 683659 h 1289544"/>
                <a:gd name="connsiteX15" fmla="*/ 1423878 w 1425142"/>
                <a:gd name="connsiteY15" fmla="*/ 769383 h 1289544"/>
                <a:gd name="connsiteX16" fmla="*/ 1369112 w 1425142"/>
                <a:gd name="connsiteY16" fmla="*/ 831297 h 1289544"/>
                <a:gd name="connsiteX17" fmla="*/ 1252430 w 1425142"/>
                <a:gd name="connsiteY17" fmla="*/ 957503 h 1289544"/>
                <a:gd name="connsiteX18" fmla="*/ 1142893 w 1425142"/>
                <a:gd name="connsiteY18" fmla="*/ 1128953 h 1289544"/>
                <a:gd name="connsiteX19" fmla="*/ 747606 w 1425142"/>
                <a:gd name="connsiteY19" fmla="*/ 1283734 h 1289544"/>
                <a:gd name="connsiteX20" fmla="*/ 657118 w 1425142"/>
                <a:gd name="connsiteY20" fmla="*/ 1252777 h 1289544"/>
                <a:gd name="connsiteX21" fmla="*/ 559486 w 1425142"/>
                <a:gd name="connsiteY21" fmla="*/ 1214678 h 1289544"/>
                <a:gd name="connsiteX22" fmla="*/ 404705 w 1425142"/>
                <a:gd name="connsiteY22" fmla="*/ 1143240 h 1289544"/>
                <a:gd name="connsiteX23" fmla="*/ 276118 w 1425142"/>
                <a:gd name="connsiteY23" fmla="*/ 1078947 h 1289544"/>
                <a:gd name="connsiteX24" fmla="*/ 114193 w 1425142"/>
                <a:gd name="connsiteY24" fmla="*/ 988459 h 1289544"/>
                <a:gd name="connsiteX25" fmla="*/ 2274 w 1425142"/>
                <a:gd name="connsiteY25" fmla="*/ 907496 h 1289544"/>
                <a:gd name="connsiteX0" fmla="*/ 2274 w 1425142"/>
                <a:gd name="connsiteY0" fmla="*/ 907496 h 1256183"/>
                <a:gd name="connsiteX1" fmla="*/ 45137 w 1425142"/>
                <a:gd name="connsiteY1" fmla="*/ 769384 h 1256183"/>
                <a:gd name="connsiteX2" fmla="*/ 118955 w 1425142"/>
                <a:gd name="connsiteY2" fmla="*/ 607458 h 1256183"/>
                <a:gd name="connsiteX3" fmla="*/ 228493 w 1425142"/>
                <a:gd name="connsiteY3" fmla="*/ 416959 h 1256183"/>
                <a:gd name="connsiteX4" fmla="*/ 340412 w 1425142"/>
                <a:gd name="connsiteY4" fmla="*/ 264558 h 1256183"/>
                <a:gd name="connsiteX5" fmla="*/ 445187 w 1425142"/>
                <a:gd name="connsiteY5" fmla="*/ 143115 h 1256183"/>
                <a:gd name="connsiteX6" fmla="*/ 545199 w 1425142"/>
                <a:gd name="connsiteY6" fmla="*/ 43103 h 1256183"/>
                <a:gd name="connsiteX7" fmla="*/ 602349 w 1425142"/>
                <a:gd name="connsiteY7" fmla="*/ 240 h 1256183"/>
                <a:gd name="connsiteX8" fmla="*/ 704744 w 1425142"/>
                <a:gd name="connsiteY8" fmla="*/ 59771 h 1256183"/>
                <a:gd name="connsiteX9" fmla="*/ 828568 w 1425142"/>
                <a:gd name="connsiteY9" fmla="*/ 152641 h 1256183"/>
                <a:gd name="connsiteX10" fmla="*/ 926198 w 1425142"/>
                <a:gd name="connsiteY10" fmla="*/ 233603 h 1256183"/>
                <a:gd name="connsiteX11" fmla="*/ 1050024 w 1425142"/>
                <a:gd name="connsiteY11" fmla="*/ 345522 h 1256183"/>
                <a:gd name="connsiteX12" fmla="*/ 1164324 w 1425142"/>
                <a:gd name="connsiteY12" fmla="*/ 457440 h 1256183"/>
                <a:gd name="connsiteX13" fmla="*/ 1238142 w 1425142"/>
                <a:gd name="connsiteY13" fmla="*/ 536021 h 1256183"/>
                <a:gd name="connsiteX14" fmla="*/ 1361968 w 1425142"/>
                <a:gd name="connsiteY14" fmla="*/ 683659 h 1256183"/>
                <a:gd name="connsiteX15" fmla="*/ 1423878 w 1425142"/>
                <a:gd name="connsiteY15" fmla="*/ 769383 h 1256183"/>
                <a:gd name="connsiteX16" fmla="*/ 1369112 w 1425142"/>
                <a:gd name="connsiteY16" fmla="*/ 831297 h 1256183"/>
                <a:gd name="connsiteX17" fmla="*/ 1252430 w 1425142"/>
                <a:gd name="connsiteY17" fmla="*/ 957503 h 1256183"/>
                <a:gd name="connsiteX18" fmla="*/ 1142893 w 1425142"/>
                <a:gd name="connsiteY18" fmla="*/ 1128953 h 1256183"/>
                <a:gd name="connsiteX19" fmla="*/ 657118 w 1425142"/>
                <a:gd name="connsiteY19" fmla="*/ 1252777 h 1256183"/>
                <a:gd name="connsiteX20" fmla="*/ 559486 w 1425142"/>
                <a:gd name="connsiteY20" fmla="*/ 1214678 h 1256183"/>
                <a:gd name="connsiteX21" fmla="*/ 404705 w 1425142"/>
                <a:gd name="connsiteY21" fmla="*/ 1143240 h 1256183"/>
                <a:gd name="connsiteX22" fmla="*/ 276118 w 1425142"/>
                <a:gd name="connsiteY22" fmla="*/ 1078947 h 1256183"/>
                <a:gd name="connsiteX23" fmla="*/ 114193 w 1425142"/>
                <a:gd name="connsiteY23" fmla="*/ 988459 h 1256183"/>
                <a:gd name="connsiteX24" fmla="*/ 2274 w 1425142"/>
                <a:gd name="connsiteY24" fmla="*/ 907496 h 1256183"/>
                <a:gd name="connsiteX0" fmla="*/ 2274 w 1425142"/>
                <a:gd name="connsiteY0" fmla="*/ 907496 h 1261598"/>
                <a:gd name="connsiteX1" fmla="*/ 45137 w 1425142"/>
                <a:gd name="connsiteY1" fmla="*/ 769384 h 1261598"/>
                <a:gd name="connsiteX2" fmla="*/ 118955 w 1425142"/>
                <a:gd name="connsiteY2" fmla="*/ 607458 h 1261598"/>
                <a:gd name="connsiteX3" fmla="*/ 228493 w 1425142"/>
                <a:gd name="connsiteY3" fmla="*/ 416959 h 1261598"/>
                <a:gd name="connsiteX4" fmla="*/ 340412 w 1425142"/>
                <a:gd name="connsiteY4" fmla="*/ 264558 h 1261598"/>
                <a:gd name="connsiteX5" fmla="*/ 445187 w 1425142"/>
                <a:gd name="connsiteY5" fmla="*/ 143115 h 1261598"/>
                <a:gd name="connsiteX6" fmla="*/ 545199 w 1425142"/>
                <a:gd name="connsiteY6" fmla="*/ 43103 h 1261598"/>
                <a:gd name="connsiteX7" fmla="*/ 602349 w 1425142"/>
                <a:gd name="connsiteY7" fmla="*/ 240 h 1261598"/>
                <a:gd name="connsiteX8" fmla="*/ 704744 w 1425142"/>
                <a:gd name="connsiteY8" fmla="*/ 59771 h 1261598"/>
                <a:gd name="connsiteX9" fmla="*/ 828568 w 1425142"/>
                <a:gd name="connsiteY9" fmla="*/ 152641 h 1261598"/>
                <a:gd name="connsiteX10" fmla="*/ 926198 w 1425142"/>
                <a:gd name="connsiteY10" fmla="*/ 233603 h 1261598"/>
                <a:gd name="connsiteX11" fmla="*/ 1050024 w 1425142"/>
                <a:gd name="connsiteY11" fmla="*/ 345522 h 1261598"/>
                <a:gd name="connsiteX12" fmla="*/ 1164324 w 1425142"/>
                <a:gd name="connsiteY12" fmla="*/ 457440 h 1261598"/>
                <a:gd name="connsiteX13" fmla="*/ 1238142 w 1425142"/>
                <a:gd name="connsiteY13" fmla="*/ 536021 h 1261598"/>
                <a:gd name="connsiteX14" fmla="*/ 1361968 w 1425142"/>
                <a:gd name="connsiteY14" fmla="*/ 683659 h 1261598"/>
                <a:gd name="connsiteX15" fmla="*/ 1423878 w 1425142"/>
                <a:gd name="connsiteY15" fmla="*/ 769383 h 1261598"/>
                <a:gd name="connsiteX16" fmla="*/ 1369112 w 1425142"/>
                <a:gd name="connsiteY16" fmla="*/ 831297 h 1261598"/>
                <a:gd name="connsiteX17" fmla="*/ 1252430 w 1425142"/>
                <a:gd name="connsiteY17" fmla="*/ 957503 h 1261598"/>
                <a:gd name="connsiteX18" fmla="*/ 857143 w 1425142"/>
                <a:gd name="connsiteY18" fmla="*/ 1043228 h 1261598"/>
                <a:gd name="connsiteX19" fmla="*/ 657118 w 1425142"/>
                <a:gd name="connsiteY19" fmla="*/ 1252777 h 1261598"/>
                <a:gd name="connsiteX20" fmla="*/ 559486 w 1425142"/>
                <a:gd name="connsiteY20" fmla="*/ 1214678 h 1261598"/>
                <a:gd name="connsiteX21" fmla="*/ 404705 w 1425142"/>
                <a:gd name="connsiteY21" fmla="*/ 1143240 h 1261598"/>
                <a:gd name="connsiteX22" fmla="*/ 276118 w 1425142"/>
                <a:gd name="connsiteY22" fmla="*/ 1078947 h 1261598"/>
                <a:gd name="connsiteX23" fmla="*/ 114193 w 1425142"/>
                <a:gd name="connsiteY23" fmla="*/ 988459 h 1261598"/>
                <a:gd name="connsiteX24" fmla="*/ 2274 w 1425142"/>
                <a:gd name="connsiteY24" fmla="*/ 907496 h 1261598"/>
                <a:gd name="connsiteX0" fmla="*/ 2274 w 1426272"/>
                <a:gd name="connsiteY0" fmla="*/ 907496 h 1261598"/>
                <a:gd name="connsiteX1" fmla="*/ 45137 w 1426272"/>
                <a:gd name="connsiteY1" fmla="*/ 769384 h 1261598"/>
                <a:gd name="connsiteX2" fmla="*/ 118955 w 1426272"/>
                <a:gd name="connsiteY2" fmla="*/ 607458 h 1261598"/>
                <a:gd name="connsiteX3" fmla="*/ 228493 w 1426272"/>
                <a:gd name="connsiteY3" fmla="*/ 416959 h 1261598"/>
                <a:gd name="connsiteX4" fmla="*/ 340412 w 1426272"/>
                <a:gd name="connsiteY4" fmla="*/ 264558 h 1261598"/>
                <a:gd name="connsiteX5" fmla="*/ 445187 w 1426272"/>
                <a:gd name="connsiteY5" fmla="*/ 143115 h 1261598"/>
                <a:gd name="connsiteX6" fmla="*/ 545199 w 1426272"/>
                <a:gd name="connsiteY6" fmla="*/ 43103 h 1261598"/>
                <a:gd name="connsiteX7" fmla="*/ 602349 w 1426272"/>
                <a:gd name="connsiteY7" fmla="*/ 240 h 1261598"/>
                <a:gd name="connsiteX8" fmla="*/ 704744 w 1426272"/>
                <a:gd name="connsiteY8" fmla="*/ 59771 h 1261598"/>
                <a:gd name="connsiteX9" fmla="*/ 828568 w 1426272"/>
                <a:gd name="connsiteY9" fmla="*/ 152641 h 1261598"/>
                <a:gd name="connsiteX10" fmla="*/ 926198 w 1426272"/>
                <a:gd name="connsiteY10" fmla="*/ 233603 h 1261598"/>
                <a:gd name="connsiteX11" fmla="*/ 1050024 w 1426272"/>
                <a:gd name="connsiteY11" fmla="*/ 345522 h 1261598"/>
                <a:gd name="connsiteX12" fmla="*/ 1164324 w 1426272"/>
                <a:gd name="connsiteY12" fmla="*/ 457440 h 1261598"/>
                <a:gd name="connsiteX13" fmla="*/ 1238142 w 1426272"/>
                <a:gd name="connsiteY13" fmla="*/ 536021 h 1261598"/>
                <a:gd name="connsiteX14" fmla="*/ 1361968 w 1426272"/>
                <a:gd name="connsiteY14" fmla="*/ 683659 h 1261598"/>
                <a:gd name="connsiteX15" fmla="*/ 1423878 w 1426272"/>
                <a:gd name="connsiteY15" fmla="*/ 769383 h 1261598"/>
                <a:gd name="connsiteX16" fmla="*/ 1369112 w 1426272"/>
                <a:gd name="connsiteY16" fmla="*/ 831297 h 1261598"/>
                <a:gd name="connsiteX17" fmla="*/ 1119080 w 1426272"/>
                <a:gd name="connsiteY17" fmla="*/ 738428 h 1261598"/>
                <a:gd name="connsiteX18" fmla="*/ 857143 w 1426272"/>
                <a:gd name="connsiteY18" fmla="*/ 1043228 h 1261598"/>
                <a:gd name="connsiteX19" fmla="*/ 657118 w 1426272"/>
                <a:gd name="connsiteY19" fmla="*/ 1252777 h 1261598"/>
                <a:gd name="connsiteX20" fmla="*/ 559486 w 1426272"/>
                <a:gd name="connsiteY20" fmla="*/ 1214678 h 1261598"/>
                <a:gd name="connsiteX21" fmla="*/ 404705 w 1426272"/>
                <a:gd name="connsiteY21" fmla="*/ 1143240 h 1261598"/>
                <a:gd name="connsiteX22" fmla="*/ 276118 w 1426272"/>
                <a:gd name="connsiteY22" fmla="*/ 1078947 h 1261598"/>
                <a:gd name="connsiteX23" fmla="*/ 114193 w 1426272"/>
                <a:gd name="connsiteY23" fmla="*/ 988459 h 1261598"/>
                <a:gd name="connsiteX24" fmla="*/ 2274 w 1426272"/>
                <a:gd name="connsiteY24" fmla="*/ 907496 h 1261598"/>
                <a:gd name="connsiteX0" fmla="*/ 2274 w 1426272"/>
                <a:gd name="connsiteY0" fmla="*/ 907496 h 1261598"/>
                <a:gd name="connsiteX1" fmla="*/ 45137 w 1426272"/>
                <a:gd name="connsiteY1" fmla="*/ 769384 h 1261598"/>
                <a:gd name="connsiteX2" fmla="*/ 118955 w 1426272"/>
                <a:gd name="connsiteY2" fmla="*/ 607458 h 1261598"/>
                <a:gd name="connsiteX3" fmla="*/ 228493 w 1426272"/>
                <a:gd name="connsiteY3" fmla="*/ 416959 h 1261598"/>
                <a:gd name="connsiteX4" fmla="*/ 340412 w 1426272"/>
                <a:gd name="connsiteY4" fmla="*/ 264558 h 1261598"/>
                <a:gd name="connsiteX5" fmla="*/ 445187 w 1426272"/>
                <a:gd name="connsiteY5" fmla="*/ 143115 h 1261598"/>
                <a:gd name="connsiteX6" fmla="*/ 545199 w 1426272"/>
                <a:gd name="connsiteY6" fmla="*/ 43103 h 1261598"/>
                <a:gd name="connsiteX7" fmla="*/ 602349 w 1426272"/>
                <a:gd name="connsiteY7" fmla="*/ 240 h 1261598"/>
                <a:gd name="connsiteX8" fmla="*/ 704744 w 1426272"/>
                <a:gd name="connsiteY8" fmla="*/ 59771 h 1261598"/>
                <a:gd name="connsiteX9" fmla="*/ 828568 w 1426272"/>
                <a:gd name="connsiteY9" fmla="*/ 152641 h 1261598"/>
                <a:gd name="connsiteX10" fmla="*/ 926198 w 1426272"/>
                <a:gd name="connsiteY10" fmla="*/ 233603 h 1261598"/>
                <a:gd name="connsiteX11" fmla="*/ 1050024 w 1426272"/>
                <a:gd name="connsiteY11" fmla="*/ 345522 h 1261598"/>
                <a:gd name="connsiteX12" fmla="*/ 1164324 w 1426272"/>
                <a:gd name="connsiteY12" fmla="*/ 457440 h 1261598"/>
                <a:gd name="connsiteX13" fmla="*/ 1238142 w 1426272"/>
                <a:gd name="connsiteY13" fmla="*/ 536021 h 1261598"/>
                <a:gd name="connsiteX14" fmla="*/ 1361968 w 1426272"/>
                <a:gd name="connsiteY14" fmla="*/ 683659 h 1261598"/>
                <a:gd name="connsiteX15" fmla="*/ 1423878 w 1426272"/>
                <a:gd name="connsiteY15" fmla="*/ 769383 h 1261598"/>
                <a:gd name="connsiteX16" fmla="*/ 1369112 w 1426272"/>
                <a:gd name="connsiteY16" fmla="*/ 831297 h 1261598"/>
                <a:gd name="connsiteX17" fmla="*/ 1119080 w 1426272"/>
                <a:gd name="connsiteY17" fmla="*/ 738428 h 1261598"/>
                <a:gd name="connsiteX18" fmla="*/ 857143 w 1426272"/>
                <a:gd name="connsiteY18" fmla="*/ 1043228 h 1261598"/>
                <a:gd name="connsiteX19" fmla="*/ 657118 w 1426272"/>
                <a:gd name="connsiteY19" fmla="*/ 1252777 h 1261598"/>
                <a:gd name="connsiteX20" fmla="*/ 559486 w 1426272"/>
                <a:gd name="connsiteY20" fmla="*/ 1214678 h 1261598"/>
                <a:gd name="connsiteX21" fmla="*/ 404705 w 1426272"/>
                <a:gd name="connsiteY21" fmla="*/ 1143240 h 1261598"/>
                <a:gd name="connsiteX22" fmla="*/ 276118 w 1426272"/>
                <a:gd name="connsiteY22" fmla="*/ 1078947 h 1261598"/>
                <a:gd name="connsiteX23" fmla="*/ 114193 w 1426272"/>
                <a:gd name="connsiteY23" fmla="*/ 988459 h 1261598"/>
                <a:gd name="connsiteX24" fmla="*/ 2274 w 1426272"/>
                <a:gd name="connsiteY24" fmla="*/ 907496 h 1261598"/>
                <a:gd name="connsiteX0" fmla="*/ 2274 w 1435986"/>
                <a:gd name="connsiteY0" fmla="*/ 907496 h 1261598"/>
                <a:gd name="connsiteX1" fmla="*/ 45137 w 1435986"/>
                <a:gd name="connsiteY1" fmla="*/ 769384 h 1261598"/>
                <a:gd name="connsiteX2" fmla="*/ 118955 w 1435986"/>
                <a:gd name="connsiteY2" fmla="*/ 607458 h 1261598"/>
                <a:gd name="connsiteX3" fmla="*/ 228493 w 1435986"/>
                <a:gd name="connsiteY3" fmla="*/ 416959 h 1261598"/>
                <a:gd name="connsiteX4" fmla="*/ 340412 w 1435986"/>
                <a:gd name="connsiteY4" fmla="*/ 264558 h 1261598"/>
                <a:gd name="connsiteX5" fmla="*/ 445187 w 1435986"/>
                <a:gd name="connsiteY5" fmla="*/ 143115 h 1261598"/>
                <a:gd name="connsiteX6" fmla="*/ 545199 w 1435986"/>
                <a:gd name="connsiteY6" fmla="*/ 43103 h 1261598"/>
                <a:gd name="connsiteX7" fmla="*/ 602349 w 1435986"/>
                <a:gd name="connsiteY7" fmla="*/ 240 h 1261598"/>
                <a:gd name="connsiteX8" fmla="*/ 704744 w 1435986"/>
                <a:gd name="connsiteY8" fmla="*/ 59771 h 1261598"/>
                <a:gd name="connsiteX9" fmla="*/ 828568 w 1435986"/>
                <a:gd name="connsiteY9" fmla="*/ 152641 h 1261598"/>
                <a:gd name="connsiteX10" fmla="*/ 926198 w 1435986"/>
                <a:gd name="connsiteY10" fmla="*/ 233603 h 1261598"/>
                <a:gd name="connsiteX11" fmla="*/ 1050024 w 1435986"/>
                <a:gd name="connsiteY11" fmla="*/ 345522 h 1261598"/>
                <a:gd name="connsiteX12" fmla="*/ 1164324 w 1435986"/>
                <a:gd name="connsiteY12" fmla="*/ 457440 h 1261598"/>
                <a:gd name="connsiteX13" fmla="*/ 1238142 w 1435986"/>
                <a:gd name="connsiteY13" fmla="*/ 536021 h 1261598"/>
                <a:gd name="connsiteX14" fmla="*/ 1361968 w 1435986"/>
                <a:gd name="connsiteY14" fmla="*/ 683659 h 1261598"/>
                <a:gd name="connsiteX15" fmla="*/ 1423878 w 1435986"/>
                <a:gd name="connsiteY15" fmla="*/ 769383 h 1261598"/>
                <a:gd name="connsiteX16" fmla="*/ 1119080 w 1435986"/>
                <a:gd name="connsiteY16" fmla="*/ 738428 h 1261598"/>
                <a:gd name="connsiteX17" fmla="*/ 857143 w 1435986"/>
                <a:gd name="connsiteY17" fmla="*/ 1043228 h 1261598"/>
                <a:gd name="connsiteX18" fmla="*/ 657118 w 1435986"/>
                <a:gd name="connsiteY18" fmla="*/ 1252777 h 1261598"/>
                <a:gd name="connsiteX19" fmla="*/ 559486 w 1435986"/>
                <a:gd name="connsiteY19" fmla="*/ 1214678 h 1261598"/>
                <a:gd name="connsiteX20" fmla="*/ 404705 w 1435986"/>
                <a:gd name="connsiteY20" fmla="*/ 1143240 h 1261598"/>
                <a:gd name="connsiteX21" fmla="*/ 276118 w 1435986"/>
                <a:gd name="connsiteY21" fmla="*/ 1078947 h 1261598"/>
                <a:gd name="connsiteX22" fmla="*/ 114193 w 1435986"/>
                <a:gd name="connsiteY22" fmla="*/ 988459 h 1261598"/>
                <a:gd name="connsiteX23" fmla="*/ 2274 w 1435986"/>
                <a:gd name="connsiteY23" fmla="*/ 907496 h 1261598"/>
                <a:gd name="connsiteX0" fmla="*/ 2274 w 1425551"/>
                <a:gd name="connsiteY0" fmla="*/ 907496 h 1261598"/>
                <a:gd name="connsiteX1" fmla="*/ 45137 w 1425551"/>
                <a:gd name="connsiteY1" fmla="*/ 769384 h 1261598"/>
                <a:gd name="connsiteX2" fmla="*/ 118955 w 1425551"/>
                <a:gd name="connsiteY2" fmla="*/ 607458 h 1261598"/>
                <a:gd name="connsiteX3" fmla="*/ 228493 w 1425551"/>
                <a:gd name="connsiteY3" fmla="*/ 416959 h 1261598"/>
                <a:gd name="connsiteX4" fmla="*/ 340412 w 1425551"/>
                <a:gd name="connsiteY4" fmla="*/ 264558 h 1261598"/>
                <a:gd name="connsiteX5" fmla="*/ 445187 w 1425551"/>
                <a:gd name="connsiteY5" fmla="*/ 143115 h 1261598"/>
                <a:gd name="connsiteX6" fmla="*/ 545199 w 1425551"/>
                <a:gd name="connsiteY6" fmla="*/ 43103 h 1261598"/>
                <a:gd name="connsiteX7" fmla="*/ 602349 w 1425551"/>
                <a:gd name="connsiteY7" fmla="*/ 240 h 1261598"/>
                <a:gd name="connsiteX8" fmla="*/ 704744 w 1425551"/>
                <a:gd name="connsiteY8" fmla="*/ 59771 h 1261598"/>
                <a:gd name="connsiteX9" fmla="*/ 828568 w 1425551"/>
                <a:gd name="connsiteY9" fmla="*/ 152641 h 1261598"/>
                <a:gd name="connsiteX10" fmla="*/ 926198 w 1425551"/>
                <a:gd name="connsiteY10" fmla="*/ 233603 h 1261598"/>
                <a:gd name="connsiteX11" fmla="*/ 1050024 w 1425551"/>
                <a:gd name="connsiteY11" fmla="*/ 345522 h 1261598"/>
                <a:gd name="connsiteX12" fmla="*/ 1164324 w 1425551"/>
                <a:gd name="connsiteY12" fmla="*/ 457440 h 1261598"/>
                <a:gd name="connsiteX13" fmla="*/ 1238142 w 1425551"/>
                <a:gd name="connsiteY13" fmla="*/ 536021 h 1261598"/>
                <a:gd name="connsiteX14" fmla="*/ 1423878 w 1425551"/>
                <a:gd name="connsiteY14" fmla="*/ 769383 h 1261598"/>
                <a:gd name="connsiteX15" fmla="*/ 1119080 w 1425551"/>
                <a:gd name="connsiteY15" fmla="*/ 738428 h 1261598"/>
                <a:gd name="connsiteX16" fmla="*/ 857143 w 1425551"/>
                <a:gd name="connsiteY16" fmla="*/ 1043228 h 1261598"/>
                <a:gd name="connsiteX17" fmla="*/ 657118 w 1425551"/>
                <a:gd name="connsiteY17" fmla="*/ 1252777 h 1261598"/>
                <a:gd name="connsiteX18" fmla="*/ 559486 w 1425551"/>
                <a:gd name="connsiteY18" fmla="*/ 1214678 h 1261598"/>
                <a:gd name="connsiteX19" fmla="*/ 404705 w 1425551"/>
                <a:gd name="connsiteY19" fmla="*/ 1143240 h 1261598"/>
                <a:gd name="connsiteX20" fmla="*/ 276118 w 1425551"/>
                <a:gd name="connsiteY20" fmla="*/ 1078947 h 1261598"/>
                <a:gd name="connsiteX21" fmla="*/ 114193 w 1425551"/>
                <a:gd name="connsiteY21" fmla="*/ 988459 h 1261598"/>
                <a:gd name="connsiteX22" fmla="*/ 2274 w 1425551"/>
                <a:gd name="connsiteY22" fmla="*/ 907496 h 1261598"/>
                <a:gd name="connsiteX0" fmla="*/ 2274 w 1238906"/>
                <a:gd name="connsiteY0" fmla="*/ 907496 h 1261598"/>
                <a:gd name="connsiteX1" fmla="*/ 45137 w 1238906"/>
                <a:gd name="connsiteY1" fmla="*/ 769384 h 1261598"/>
                <a:gd name="connsiteX2" fmla="*/ 118955 w 1238906"/>
                <a:gd name="connsiteY2" fmla="*/ 607458 h 1261598"/>
                <a:gd name="connsiteX3" fmla="*/ 228493 w 1238906"/>
                <a:gd name="connsiteY3" fmla="*/ 416959 h 1261598"/>
                <a:gd name="connsiteX4" fmla="*/ 340412 w 1238906"/>
                <a:gd name="connsiteY4" fmla="*/ 264558 h 1261598"/>
                <a:gd name="connsiteX5" fmla="*/ 445187 w 1238906"/>
                <a:gd name="connsiteY5" fmla="*/ 143115 h 1261598"/>
                <a:gd name="connsiteX6" fmla="*/ 545199 w 1238906"/>
                <a:gd name="connsiteY6" fmla="*/ 43103 h 1261598"/>
                <a:gd name="connsiteX7" fmla="*/ 602349 w 1238906"/>
                <a:gd name="connsiteY7" fmla="*/ 240 h 1261598"/>
                <a:gd name="connsiteX8" fmla="*/ 704744 w 1238906"/>
                <a:gd name="connsiteY8" fmla="*/ 59771 h 1261598"/>
                <a:gd name="connsiteX9" fmla="*/ 828568 w 1238906"/>
                <a:gd name="connsiteY9" fmla="*/ 152641 h 1261598"/>
                <a:gd name="connsiteX10" fmla="*/ 926198 w 1238906"/>
                <a:gd name="connsiteY10" fmla="*/ 233603 h 1261598"/>
                <a:gd name="connsiteX11" fmla="*/ 1050024 w 1238906"/>
                <a:gd name="connsiteY11" fmla="*/ 345522 h 1261598"/>
                <a:gd name="connsiteX12" fmla="*/ 1164324 w 1238906"/>
                <a:gd name="connsiteY12" fmla="*/ 457440 h 1261598"/>
                <a:gd name="connsiteX13" fmla="*/ 1238142 w 1238906"/>
                <a:gd name="connsiteY13" fmla="*/ 536021 h 1261598"/>
                <a:gd name="connsiteX14" fmla="*/ 1119080 w 1238906"/>
                <a:gd name="connsiteY14" fmla="*/ 738428 h 1261598"/>
                <a:gd name="connsiteX15" fmla="*/ 857143 w 1238906"/>
                <a:gd name="connsiteY15" fmla="*/ 1043228 h 1261598"/>
                <a:gd name="connsiteX16" fmla="*/ 657118 w 1238906"/>
                <a:gd name="connsiteY16" fmla="*/ 1252777 h 1261598"/>
                <a:gd name="connsiteX17" fmla="*/ 559486 w 1238906"/>
                <a:gd name="connsiteY17" fmla="*/ 1214678 h 1261598"/>
                <a:gd name="connsiteX18" fmla="*/ 404705 w 1238906"/>
                <a:gd name="connsiteY18" fmla="*/ 1143240 h 1261598"/>
                <a:gd name="connsiteX19" fmla="*/ 276118 w 1238906"/>
                <a:gd name="connsiteY19" fmla="*/ 1078947 h 1261598"/>
                <a:gd name="connsiteX20" fmla="*/ 114193 w 1238906"/>
                <a:gd name="connsiteY20" fmla="*/ 988459 h 1261598"/>
                <a:gd name="connsiteX21" fmla="*/ 2274 w 1238906"/>
                <a:gd name="connsiteY21" fmla="*/ 907496 h 1261598"/>
                <a:gd name="connsiteX0" fmla="*/ 2274 w 1238906"/>
                <a:gd name="connsiteY0" fmla="*/ 907496 h 1279024"/>
                <a:gd name="connsiteX1" fmla="*/ 45137 w 1238906"/>
                <a:gd name="connsiteY1" fmla="*/ 769384 h 1279024"/>
                <a:gd name="connsiteX2" fmla="*/ 118955 w 1238906"/>
                <a:gd name="connsiteY2" fmla="*/ 607458 h 1279024"/>
                <a:gd name="connsiteX3" fmla="*/ 228493 w 1238906"/>
                <a:gd name="connsiteY3" fmla="*/ 416959 h 1279024"/>
                <a:gd name="connsiteX4" fmla="*/ 340412 w 1238906"/>
                <a:gd name="connsiteY4" fmla="*/ 264558 h 1279024"/>
                <a:gd name="connsiteX5" fmla="*/ 445187 w 1238906"/>
                <a:gd name="connsiteY5" fmla="*/ 143115 h 1279024"/>
                <a:gd name="connsiteX6" fmla="*/ 545199 w 1238906"/>
                <a:gd name="connsiteY6" fmla="*/ 43103 h 1279024"/>
                <a:gd name="connsiteX7" fmla="*/ 602349 w 1238906"/>
                <a:gd name="connsiteY7" fmla="*/ 240 h 1279024"/>
                <a:gd name="connsiteX8" fmla="*/ 704744 w 1238906"/>
                <a:gd name="connsiteY8" fmla="*/ 59771 h 1279024"/>
                <a:gd name="connsiteX9" fmla="*/ 828568 w 1238906"/>
                <a:gd name="connsiteY9" fmla="*/ 152641 h 1279024"/>
                <a:gd name="connsiteX10" fmla="*/ 926198 w 1238906"/>
                <a:gd name="connsiteY10" fmla="*/ 233603 h 1279024"/>
                <a:gd name="connsiteX11" fmla="*/ 1050024 w 1238906"/>
                <a:gd name="connsiteY11" fmla="*/ 345522 h 1279024"/>
                <a:gd name="connsiteX12" fmla="*/ 1164324 w 1238906"/>
                <a:gd name="connsiteY12" fmla="*/ 457440 h 1279024"/>
                <a:gd name="connsiteX13" fmla="*/ 1238142 w 1238906"/>
                <a:gd name="connsiteY13" fmla="*/ 536021 h 1279024"/>
                <a:gd name="connsiteX14" fmla="*/ 1119080 w 1238906"/>
                <a:gd name="connsiteY14" fmla="*/ 738428 h 1279024"/>
                <a:gd name="connsiteX15" fmla="*/ 857143 w 1238906"/>
                <a:gd name="connsiteY15" fmla="*/ 1043228 h 1279024"/>
                <a:gd name="connsiteX16" fmla="*/ 733318 w 1238906"/>
                <a:gd name="connsiteY16" fmla="*/ 1271827 h 1279024"/>
                <a:gd name="connsiteX17" fmla="*/ 559486 w 1238906"/>
                <a:gd name="connsiteY17" fmla="*/ 1214678 h 1279024"/>
                <a:gd name="connsiteX18" fmla="*/ 404705 w 1238906"/>
                <a:gd name="connsiteY18" fmla="*/ 1143240 h 1279024"/>
                <a:gd name="connsiteX19" fmla="*/ 276118 w 1238906"/>
                <a:gd name="connsiteY19" fmla="*/ 1078947 h 1279024"/>
                <a:gd name="connsiteX20" fmla="*/ 114193 w 1238906"/>
                <a:gd name="connsiteY20" fmla="*/ 988459 h 1279024"/>
                <a:gd name="connsiteX21" fmla="*/ 2274 w 1238906"/>
                <a:gd name="connsiteY21" fmla="*/ 907496 h 1279024"/>
                <a:gd name="connsiteX0" fmla="*/ 2274 w 1267253"/>
                <a:gd name="connsiteY0" fmla="*/ 907496 h 1279024"/>
                <a:gd name="connsiteX1" fmla="*/ 45137 w 1267253"/>
                <a:gd name="connsiteY1" fmla="*/ 769384 h 1279024"/>
                <a:gd name="connsiteX2" fmla="*/ 118955 w 1267253"/>
                <a:gd name="connsiteY2" fmla="*/ 607458 h 1279024"/>
                <a:gd name="connsiteX3" fmla="*/ 228493 w 1267253"/>
                <a:gd name="connsiteY3" fmla="*/ 416959 h 1279024"/>
                <a:gd name="connsiteX4" fmla="*/ 340412 w 1267253"/>
                <a:gd name="connsiteY4" fmla="*/ 264558 h 1279024"/>
                <a:gd name="connsiteX5" fmla="*/ 445187 w 1267253"/>
                <a:gd name="connsiteY5" fmla="*/ 143115 h 1279024"/>
                <a:gd name="connsiteX6" fmla="*/ 545199 w 1267253"/>
                <a:gd name="connsiteY6" fmla="*/ 43103 h 1279024"/>
                <a:gd name="connsiteX7" fmla="*/ 602349 w 1267253"/>
                <a:gd name="connsiteY7" fmla="*/ 240 h 1279024"/>
                <a:gd name="connsiteX8" fmla="*/ 704744 w 1267253"/>
                <a:gd name="connsiteY8" fmla="*/ 59771 h 1279024"/>
                <a:gd name="connsiteX9" fmla="*/ 828568 w 1267253"/>
                <a:gd name="connsiteY9" fmla="*/ 152641 h 1279024"/>
                <a:gd name="connsiteX10" fmla="*/ 926198 w 1267253"/>
                <a:gd name="connsiteY10" fmla="*/ 233603 h 1279024"/>
                <a:gd name="connsiteX11" fmla="*/ 1050024 w 1267253"/>
                <a:gd name="connsiteY11" fmla="*/ 345522 h 1279024"/>
                <a:gd name="connsiteX12" fmla="*/ 1164324 w 1267253"/>
                <a:gd name="connsiteY12" fmla="*/ 457440 h 1279024"/>
                <a:gd name="connsiteX13" fmla="*/ 1266717 w 1267253"/>
                <a:gd name="connsiteY13" fmla="*/ 583646 h 1279024"/>
                <a:gd name="connsiteX14" fmla="*/ 1119080 w 1267253"/>
                <a:gd name="connsiteY14" fmla="*/ 738428 h 1279024"/>
                <a:gd name="connsiteX15" fmla="*/ 857143 w 1267253"/>
                <a:gd name="connsiteY15" fmla="*/ 1043228 h 1279024"/>
                <a:gd name="connsiteX16" fmla="*/ 733318 w 1267253"/>
                <a:gd name="connsiteY16" fmla="*/ 1271827 h 1279024"/>
                <a:gd name="connsiteX17" fmla="*/ 559486 w 1267253"/>
                <a:gd name="connsiteY17" fmla="*/ 1214678 h 1279024"/>
                <a:gd name="connsiteX18" fmla="*/ 404705 w 1267253"/>
                <a:gd name="connsiteY18" fmla="*/ 1143240 h 1279024"/>
                <a:gd name="connsiteX19" fmla="*/ 276118 w 1267253"/>
                <a:gd name="connsiteY19" fmla="*/ 1078947 h 1279024"/>
                <a:gd name="connsiteX20" fmla="*/ 114193 w 1267253"/>
                <a:gd name="connsiteY20" fmla="*/ 988459 h 1279024"/>
                <a:gd name="connsiteX21" fmla="*/ 2274 w 1267253"/>
                <a:gd name="connsiteY21" fmla="*/ 907496 h 1279024"/>
                <a:gd name="connsiteX0" fmla="*/ 2274 w 1267253"/>
                <a:gd name="connsiteY0" fmla="*/ 907496 h 1276294"/>
                <a:gd name="connsiteX1" fmla="*/ 45137 w 1267253"/>
                <a:gd name="connsiteY1" fmla="*/ 769384 h 1276294"/>
                <a:gd name="connsiteX2" fmla="*/ 118955 w 1267253"/>
                <a:gd name="connsiteY2" fmla="*/ 607458 h 1276294"/>
                <a:gd name="connsiteX3" fmla="*/ 228493 w 1267253"/>
                <a:gd name="connsiteY3" fmla="*/ 416959 h 1276294"/>
                <a:gd name="connsiteX4" fmla="*/ 340412 w 1267253"/>
                <a:gd name="connsiteY4" fmla="*/ 264558 h 1276294"/>
                <a:gd name="connsiteX5" fmla="*/ 445187 w 1267253"/>
                <a:gd name="connsiteY5" fmla="*/ 143115 h 1276294"/>
                <a:gd name="connsiteX6" fmla="*/ 545199 w 1267253"/>
                <a:gd name="connsiteY6" fmla="*/ 43103 h 1276294"/>
                <a:gd name="connsiteX7" fmla="*/ 602349 w 1267253"/>
                <a:gd name="connsiteY7" fmla="*/ 240 h 1276294"/>
                <a:gd name="connsiteX8" fmla="*/ 704744 w 1267253"/>
                <a:gd name="connsiteY8" fmla="*/ 59771 h 1276294"/>
                <a:gd name="connsiteX9" fmla="*/ 828568 w 1267253"/>
                <a:gd name="connsiteY9" fmla="*/ 152641 h 1276294"/>
                <a:gd name="connsiteX10" fmla="*/ 926198 w 1267253"/>
                <a:gd name="connsiteY10" fmla="*/ 233603 h 1276294"/>
                <a:gd name="connsiteX11" fmla="*/ 1050024 w 1267253"/>
                <a:gd name="connsiteY11" fmla="*/ 345522 h 1276294"/>
                <a:gd name="connsiteX12" fmla="*/ 1164324 w 1267253"/>
                <a:gd name="connsiteY12" fmla="*/ 457440 h 1276294"/>
                <a:gd name="connsiteX13" fmla="*/ 1266717 w 1267253"/>
                <a:gd name="connsiteY13" fmla="*/ 583646 h 1276294"/>
                <a:gd name="connsiteX14" fmla="*/ 1119080 w 1267253"/>
                <a:gd name="connsiteY14" fmla="*/ 738428 h 1276294"/>
                <a:gd name="connsiteX15" fmla="*/ 838093 w 1267253"/>
                <a:gd name="connsiteY15" fmla="*/ 1090853 h 1276294"/>
                <a:gd name="connsiteX16" fmla="*/ 733318 w 1267253"/>
                <a:gd name="connsiteY16" fmla="*/ 1271827 h 1276294"/>
                <a:gd name="connsiteX17" fmla="*/ 559486 w 1267253"/>
                <a:gd name="connsiteY17" fmla="*/ 1214678 h 1276294"/>
                <a:gd name="connsiteX18" fmla="*/ 404705 w 1267253"/>
                <a:gd name="connsiteY18" fmla="*/ 1143240 h 1276294"/>
                <a:gd name="connsiteX19" fmla="*/ 276118 w 1267253"/>
                <a:gd name="connsiteY19" fmla="*/ 1078947 h 1276294"/>
                <a:gd name="connsiteX20" fmla="*/ 114193 w 1267253"/>
                <a:gd name="connsiteY20" fmla="*/ 988459 h 1276294"/>
                <a:gd name="connsiteX21" fmla="*/ 2274 w 1267253"/>
                <a:gd name="connsiteY21" fmla="*/ 907496 h 1276294"/>
                <a:gd name="connsiteX0" fmla="*/ 2274 w 1267253"/>
                <a:gd name="connsiteY0" fmla="*/ 907496 h 1276995"/>
                <a:gd name="connsiteX1" fmla="*/ 45137 w 1267253"/>
                <a:gd name="connsiteY1" fmla="*/ 769384 h 1276995"/>
                <a:gd name="connsiteX2" fmla="*/ 118955 w 1267253"/>
                <a:gd name="connsiteY2" fmla="*/ 607458 h 1276995"/>
                <a:gd name="connsiteX3" fmla="*/ 228493 w 1267253"/>
                <a:gd name="connsiteY3" fmla="*/ 416959 h 1276995"/>
                <a:gd name="connsiteX4" fmla="*/ 340412 w 1267253"/>
                <a:gd name="connsiteY4" fmla="*/ 264558 h 1276995"/>
                <a:gd name="connsiteX5" fmla="*/ 445187 w 1267253"/>
                <a:gd name="connsiteY5" fmla="*/ 143115 h 1276995"/>
                <a:gd name="connsiteX6" fmla="*/ 545199 w 1267253"/>
                <a:gd name="connsiteY6" fmla="*/ 43103 h 1276995"/>
                <a:gd name="connsiteX7" fmla="*/ 602349 w 1267253"/>
                <a:gd name="connsiteY7" fmla="*/ 240 h 1276995"/>
                <a:gd name="connsiteX8" fmla="*/ 704744 w 1267253"/>
                <a:gd name="connsiteY8" fmla="*/ 59771 h 1276995"/>
                <a:gd name="connsiteX9" fmla="*/ 828568 w 1267253"/>
                <a:gd name="connsiteY9" fmla="*/ 152641 h 1276995"/>
                <a:gd name="connsiteX10" fmla="*/ 926198 w 1267253"/>
                <a:gd name="connsiteY10" fmla="*/ 233603 h 1276995"/>
                <a:gd name="connsiteX11" fmla="*/ 1050024 w 1267253"/>
                <a:gd name="connsiteY11" fmla="*/ 345522 h 1276995"/>
                <a:gd name="connsiteX12" fmla="*/ 1164324 w 1267253"/>
                <a:gd name="connsiteY12" fmla="*/ 457440 h 1276995"/>
                <a:gd name="connsiteX13" fmla="*/ 1266717 w 1267253"/>
                <a:gd name="connsiteY13" fmla="*/ 583646 h 1276995"/>
                <a:gd name="connsiteX14" fmla="*/ 1119080 w 1267253"/>
                <a:gd name="connsiteY14" fmla="*/ 738428 h 1276995"/>
                <a:gd name="connsiteX15" fmla="*/ 857143 w 1267253"/>
                <a:gd name="connsiteY15" fmla="*/ 1078153 h 1276995"/>
                <a:gd name="connsiteX16" fmla="*/ 733318 w 1267253"/>
                <a:gd name="connsiteY16" fmla="*/ 1271827 h 1276995"/>
                <a:gd name="connsiteX17" fmla="*/ 559486 w 1267253"/>
                <a:gd name="connsiteY17" fmla="*/ 1214678 h 1276995"/>
                <a:gd name="connsiteX18" fmla="*/ 404705 w 1267253"/>
                <a:gd name="connsiteY18" fmla="*/ 1143240 h 1276995"/>
                <a:gd name="connsiteX19" fmla="*/ 276118 w 1267253"/>
                <a:gd name="connsiteY19" fmla="*/ 1078947 h 1276995"/>
                <a:gd name="connsiteX20" fmla="*/ 114193 w 1267253"/>
                <a:gd name="connsiteY20" fmla="*/ 988459 h 1276995"/>
                <a:gd name="connsiteX21" fmla="*/ 2274 w 1267253"/>
                <a:gd name="connsiteY21" fmla="*/ 907496 h 1276995"/>
                <a:gd name="connsiteX0" fmla="*/ 2274 w 1267253"/>
                <a:gd name="connsiteY0" fmla="*/ 907496 h 1276995"/>
                <a:gd name="connsiteX1" fmla="*/ 45137 w 1267253"/>
                <a:gd name="connsiteY1" fmla="*/ 769384 h 1276995"/>
                <a:gd name="connsiteX2" fmla="*/ 118955 w 1267253"/>
                <a:gd name="connsiteY2" fmla="*/ 607458 h 1276995"/>
                <a:gd name="connsiteX3" fmla="*/ 228493 w 1267253"/>
                <a:gd name="connsiteY3" fmla="*/ 416959 h 1276995"/>
                <a:gd name="connsiteX4" fmla="*/ 340412 w 1267253"/>
                <a:gd name="connsiteY4" fmla="*/ 264558 h 1276995"/>
                <a:gd name="connsiteX5" fmla="*/ 445187 w 1267253"/>
                <a:gd name="connsiteY5" fmla="*/ 143115 h 1276995"/>
                <a:gd name="connsiteX6" fmla="*/ 545199 w 1267253"/>
                <a:gd name="connsiteY6" fmla="*/ 43103 h 1276995"/>
                <a:gd name="connsiteX7" fmla="*/ 602349 w 1267253"/>
                <a:gd name="connsiteY7" fmla="*/ 240 h 1276995"/>
                <a:gd name="connsiteX8" fmla="*/ 704744 w 1267253"/>
                <a:gd name="connsiteY8" fmla="*/ 59771 h 1276995"/>
                <a:gd name="connsiteX9" fmla="*/ 828568 w 1267253"/>
                <a:gd name="connsiteY9" fmla="*/ 152641 h 1276995"/>
                <a:gd name="connsiteX10" fmla="*/ 926198 w 1267253"/>
                <a:gd name="connsiteY10" fmla="*/ 233603 h 1276995"/>
                <a:gd name="connsiteX11" fmla="*/ 1050024 w 1267253"/>
                <a:gd name="connsiteY11" fmla="*/ 345522 h 1276995"/>
                <a:gd name="connsiteX12" fmla="*/ 1164324 w 1267253"/>
                <a:gd name="connsiteY12" fmla="*/ 457440 h 1276995"/>
                <a:gd name="connsiteX13" fmla="*/ 1266717 w 1267253"/>
                <a:gd name="connsiteY13" fmla="*/ 583646 h 1276995"/>
                <a:gd name="connsiteX14" fmla="*/ 1119080 w 1267253"/>
                <a:gd name="connsiteY14" fmla="*/ 738428 h 1276995"/>
                <a:gd name="connsiteX15" fmla="*/ 876193 w 1267253"/>
                <a:gd name="connsiteY15" fmla="*/ 1078153 h 1276995"/>
                <a:gd name="connsiteX16" fmla="*/ 733318 w 1267253"/>
                <a:gd name="connsiteY16" fmla="*/ 1271827 h 1276995"/>
                <a:gd name="connsiteX17" fmla="*/ 559486 w 1267253"/>
                <a:gd name="connsiteY17" fmla="*/ 1214678 h 1276995"/>
                <a:gd name="connsiteX18" fmla="*/ 404705 w 1267253"/>
                <a:gd name="connsiteY18" fmla="*/ 1143240 h 1276995"/>
                <a:gd name="connsiteX19" fmla="*/ 276118 w 1267253"/>
                <a:gd name="connsiteY19" fmla="*/ 1078947 h 1276995"/>
                <a:gd name="connsiteX20" fmla="*/ 114193 w 1267253"/>
                <a:gd name="connsiteY20" fmla="*/ 988459 h 1276995"/>
                <a:gd name="connsiteX21" fmla="*/ 2274 w 1267253"/>
                <a:gd name="connsiteY21" fmla="*/ 907496 h 1276995"/>
                <a:gd name="connsiteX0" fmla="*/ 2274 w 1267253"/>
                <a:gd name="connsiteY0" fmla="*/ 907496 h 1295150"/>
                <a:gd name="connsiteX1" fmla="*/ 45137 w 1267253"/>
                <a:gd name="connsiteY1" fmla="*/ 769384 h 1295150"/>
                <a:gd name="connsiteX2" fmla="*/ 118955 w 1267253"/>
                <a:gd name="connsiteY2" fmla="*/ 607458 h 1295150"/>
                <a:gd name="connsiteX3" fmla="*/ 228493 w 1267253"/>
                <a:gd name="connsiteY3" fmla="*/ 416959 h 1295150"/>
                <a:gd name="connsiteX4" fmla="*/ 340412 w 1267253"/>
                <a:gd name="connsiteY4" fmla="*/ 264558 h 1295150"/>
                <a:gd name="connsiteX5" fmla="*/ 445187 w 1267253"/>
                <a:gd name="connsiteY5" fmla="*/ 143115 h 1295150"/>
                <a:gd name="connsiteX6" fmla="*/ 545199 w 1267253"/>
                <a:gd name="connsiteY6" fmla="*/ 43103 h 1295150"/>
                <a:gd name="connsiteX7" fmla="*/ 602349 w 1267253"/>
                <a:gd name="connsiteY7" fmla="*/ 240 h 1295150"/>
                <a:gd name="connsiteX8" fmla="*/ 704744 w 1267253"/>
                <a:gd name="connsiteY8" fmla="*/ 59771 h 1295150"/>
                <a:gd name="connsiteX9" fmla="*/ 828568 w 1267253"/>
                <a:gd name="connsiteY9" fmla="*/ 152641 h 1295150"/>
                <a:gd name="connsiteX10" fmla="*/ 926198 w 1267253"/>
                <a:gd name="connsiteY10" fmla="*/ 233603 h 1295150"/>
                <a:gd name="connsiteX11" fmla="*/ 1050024 w 1267253"/>
                <a:gd name="connsiteY11" fmla="*/ 345522 h 1295150"/>
                <a:gd name="connsiteX12" fmla="*/ 1164324 w 1267253"/>
                <a:gd name="connsiteY12" fmla="*/ 457440 h 1295150"/>
                <a:gd name="connsiteX13" fmla="*/ 1266717 w 1267253"/>
                <a:gd name="connsiteY13" fmla="*/ 583646 h 1295150"/>
                <a:gd name="connsiteX14" fmla="*/ 1119080 w 1267253"/>
                <a:gd name="connsiteY14" fmla="*/ 738428 h 1295150"/>
                <a:gd name="connsiteX15" fmla="*/ 876193 w 1267253"/>
                <a:gd name="connsiteY15" fmla="*/ 1078153 h 1295150"/>
                <a:gd name="connsiteX16" fmla="*/ 746018 w 1267253"/>
                <a:gd name="connsiteY16" fmla="*/ 1290877 h 1295150"/>
                <a:gd name="connsiteX17" fmla="*/ 559486 w 1267253"/>
                <a:gd name="connsiteY17" fmla="*/ 1214678 h 1295150"/>
                <a:gd name="connsiteX18" fmla="*/ 404705 w 1267253"/>
                <a:gd name="connsiteY18" fmla="*/ 1143240 h 1295150"/>
                <a:gd name="connsiteX19" fmla="*/ 276118 w 1267253"/>
                <a:gd name="connsiteY19" fmla="*/ 1078947 h 1295150"/>
                <a:gd name="connsiteX20" fmla="*/ 114193 w 1267253"/>
                <a:gd name="connsiteY20" fmla="*/ 988459 h 1295150"/>
                <a:gd name="connsiteX21" fmla="*/ 2274 w 1267253"/>
                <a:gd name="connsiteY21" fmla="*/ 907496 h 1295150"/>
                <a:gd name="connsiteX0" fmla="*/ 2274 w 1267253"/>
                <a:gd name="connsiteY0" fmla="*/ 907496 h 1293095"/>
                <a:gd name="connsiteX1" fmla="*/ 45137 w 1267253"/>
                <a:gd name="connsiteY1" fmla="*/ 769384 h 1293095"/>
                <a:gd name="connsiteX2" fmla="*/ 118955 w 1267253"/>
                <a:gd name="connsiteY2" fmla="*/ 607458 h 1293095"/>
                <a:gd name="connsiteX3" fmla="*/ 228493 w 1267253"/>
                <a:gd name="connsiteY3" fmla="*/ 416959 h 1293095"/>
                <a:gd name="connsiteX4" fmla="*/ 340412 w 1267253"/>
                <a:gd name="connsiteY4" fmla="*/ 264558 h 1293095"/>
                <a:gd name="connsiteX5" fmla="*/ 445187 w 1267253"/>
                <a:gd name="connsiteY5" fmla="*/ 143115 h 1293095"/>
                <a:gd name="connsiteX6" fmla="*/ 545199 w 1267253"/>
                <a:gd name="connsiteY6" fmla="*/ 43103 h 1293095"/>
                <a:gd name="connsiteX7" fmla="*/ 602349 w 1267253"/>
                <a:gd name="connsiteY7" fmla="*/ 240 h 1293095"/>
                <a:gd name="connsiteX8" fmla="*/ 704744 w 1267253"/>
                <a:gd name="connsiteY8" fmla="*/ 59771 h 1293095"/>
                <a:gd name="connsiteX9" fmla="*/ 828568 w 1267253"/>
                <a:gd name="connsiteY9" fmla="*/ 152641 h 1293095"/>
                <a:gd name="connsiteX10" fmla="*/ 926198 w 1267253"/>
                <a:gd name="connsiteY10" fmla="*/ 233603 h 1293095"/>
                <a:gd name="connsiteX11" fmla="*/ 1050024 w 1267253"/>
                <a:gd name="connsiteY11" fmla="*/ 345522 h 1293095"/>
                <a:gd name="connsiteX12" fmla="*/ 1164324 w 1267253"/>
                <a:gd name="connsiteY12" fmla="*/ 457440 h 1293095"/>
                <a:gd name="connsiteX13" fmla="*/ 1266717 w 1267253"/>
                <a:gd name="connsiteY13" fmla="*/ 583646 h 1293095"/>
                <a:gd name="connsiteX14" fmla="*/ 1119080 w 1267253"/>
                <a:gd name="connsiteY14" fmla="*/ 738428 h 1293095"/>
                <a:gd name="connsiteX15" fmla="*/ 876193 w 1267253"/>
                <a:gd name="connsiteY15" fmla="*/ 1078153 h 1293095"/>
                <a:gd name="connsiteX16" fmla="*/ 746018 w 1267253"/>
                <a:gd name="connsiteY16" fmla="*/ 1290877 h 1293095"/>
                <a:gd name="connsiteX17" fmla="*/ 559486 w 1267253"/>
                <a:gd name="connsiteY17" fmla="*/ 1214678 h 1293095"/>
                <a:gd name="connsiteX18" fmla="*/ 404705 w 1267253"/>
                <a:gd name="connsiteY18" fmla="*/ 1143240 h 1293095"/>
                <a:gd name="connsiteX19" fmla="*/ 276118 w 1267253"/>
                <a:gd name="connsiteY19" fmla="*/ 1078947 h 1293095"/>
                <a:gd name="connsiteX20" fmla="*/ 114193 w 1267253"/>
                <a:gd name="connsiteY20" fmla="*/ 988459 h 1293095"/>
                <a:gd name="connsiteX21" fmla="*/ 2274 w 1267253"/>
                <a:gd name="connsiteY21" fmla="*/ 907496 h 1293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67253" h="1293095">
                  <a:moveTo>
                    <a:pt x="2274" y="907496"/>
                  </a:moveTo>
                  <a:cubicBezTo>
                    <a:pt x="-9235" y="870984"/>
                    <a:pt x="25690" y="819390"/>
                    <a:pt x="45137" y="769384"/>
                  </a:cubicBezTo>
                  <a:cubicBezTo>
                    <a:pt x="64584" y="719378"/>
                    <a:pt x="88396" y="666195"/>
                    <a:pt x="118955" y="607458"/>
                  </a:cubicBezTo>
                  <a:cubicBezTo>
                    <a:pt x="149514" y="548721"/>
                    <a:pt x="191584" y="474109"/>
                    <a:pt x="228493" y="416959"/>
                  </a:cubicBezTo>
                  <a:cubicBezTo>
                    <a:pt x="265403" y="359809"/>
                    <a:pt x="304296" y="310199"/>
                    <a:pt x="340412" y="264558"/>
                  </a:cubicBezTo>
                  <a:cubicBezTo>
                    <a:pt x="376528" y="218917"/>
                    <a:pt x="411056" y="180024"/>
                    <a:pt x="445187" y="143115"/>
                  </a:cubicBezTo>
                  <a:cubicBezTo>
                    <a:pt x="479318" y="106206"/>
                    <a:pt x="519005" y="66915"/>
                    <a:pt x="545199" y="43103"/>
                  </a:cubicBezTo>
                  <a:cubicBezTo>
                    <a:pt x="571393" y="19291"/>
                    <a:pt x="575758" y="-2538"/>
                    <a:pt x="602349" y="240"/>
                  </a:cubicBezTo>
                  <a:cubicBezTo>
                    <a:pt x="628940" y="3018"/>
                    <a:pt x="667041" y="34371"/>
                    <a:pt x="704744" y="59771"/>
                  </a:cubicBezTo>
                  <a:cubicBezTo>
                    <a:pt x="742447" y="85171"/>
                    <a:pt x="791659" y="123669"/>
                    <a:pt x="828568" y="152641"/>
                  </a:cubicBezTo>
                  <a:cubicBezTo>
                    <a:pt x="865477" y="181613"/>
                    <a:pt x="889289" y="201456"/>
                    <a:pt x="926198" y="233603"/>
                  </a:cubicBezTo>
                  <a:cubicBezTo>
                    <a:pt x="963107" y="265750"/>
                    <a:pt x="1010336" y="308216"/>
                    <a:pt x="1050024" y="345522"/>
                  </a:cubicBezTo>
                  <a:cubicBezTo>
                    <a:pt x="1089712" y="382828"/>
                    <a:pt x="1128209" y="417753"/>
                    <a:pt x="1164324" y="457440"/>
                  </a:cubicBezTo>
                  <a:cubicBezTo>
                    <a:pt x="1200439" y="497127"/>
                    <a:pt x="1274258" y="536815"/>
                    <a:pt x="1266717" y="583646"/>
                  </a:cubicBezTo>
                  <a:cubicBezTo>
                    <a:pt x="1259176" y="630477"/>
                    <a:pt x="1184167" y="656010"/>
                    <a:pt x="1119080" y="738428"/>
                  </a:cubicBezTo>
                  <a:cubicBezTo>
                    <a:pt x="1053993" y="820846"/>
                    <a:pt x="938370" y="986078"/>
                    <a:pt x="876193" y="1078153"/>
                  </a:cubicBezTo>
                  <a:cubicBezTo>
                    <a:pt x="814016" y="1170228"/>
                    <a:pt x="773402" y="1312573"/>
                    <a:pt x="746018" y="1290877"/>
                  </a:cubicBezTo>
                  <a:cubicBezTo>
                    <a:pt x="718634" y="1269181"/>
                    <a:pt x="616371" y="1239284"/>
                    <a:pt x="559486" y="1214678"/>
                  </a:cubicBezTo>
                  <a:cubicBezTo>
                    <a:pt x="502601" y="1190072"/>
                    <a:pt x="451933" y="1165862"/>
                    <a:pt x="404705" y="1143240"/>
                  </a:cubicBezTo>
                  <a:cubicBezTo>
                    <a:pt x="357477" y="1120618"/>
                    <a:pt x="324140" y="1104347"/>
                    <a:pt x="276118" y="1078947"/>
                  </a:cubicBezTo>
                  <a:cubicBezTo>
                    <a:pt x="228096" y="1053547"/>
                    <a:pt x="159834" y="1017034"/>
                    <a:pt x="114193" y="988459"/>
                  </a:cubicBezTo>
                  <a:cubicBezTo>
                    <a:pt x="68552" y="959884"/>
                    <a:pt x="13783" y="944008"/>
                    <a:pt x="2274" y="90749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8" name="Прямоугольник 58"/>
            <p:cNvSpPr/>
            <p:nvPr/>
          </p:nvSpPr>
          <p:spPr>
            <a:xfrm rot="156453">
              <a:off x="3462326" y="3483964"/>
              <a:ext cx="420594" cy="539516"/>
            </a:xfrm>
            <a:custGeom>
              <a:avLst/>
              <a:gdLst>
                <a:gd name="connsiteX0" fmla="*/ 0 w 74879"/>
                <a:gd name="connsiteY0" fmla="*/ 0 h 331327"/>
                <a:gd name="connsiteX1" fmla="*/ 74879 w 74879"/>
                <a:gd name="connsiteY1" fmla="*/ 0 h 331327"/>
                <a:gd name="connsiteX2" fmla="*/ 74879 w 74879"/>
                <a:gd name="connsiteY2" fmla="*/ 331327 h 331327"/>
                <a:gd name="connsiteX3" fmla="*/ 0 w 74879"/>
                <a:gd name="connsiteY3" fmla="*/ 331327 h 331327"/>
                <a:gd name="connsiteX4" fmla="*/ 0 w 74879"/>
                <a:gd name="connsiteY4" fmla="*/ 0 h 331327"/>
                <a:gd name="connsiteX0" fmla="*/ 0 w 287604"/>
                <a:gd name="connsiteY0" fmla="*/ 133350 h 464677"/>
                <a:gd name="connsiteX1" fmla="*/ 287604 w 287604"/>
                <a:gd name="connsiteY1" fmla="*/ 0 h 464677"/>
                <a:gd name="connsiteX2" fmla="*/ 74879 w 287604"/>
                <a:gd name="connsiteY2" fmla="*/ 464677 h 464677"/>
                <a:gd name="connsiteX3" fmla="*/ 0 w 287604"/>
                <a:gd name="connsiteY3" fmla="*/ 464677 h 464677"/>
                <a:gd name="connsiteX4" fmla="*/ 0 w 287604"/>
                <a:gd name="connsiteY4" fmla="*/ 133350 h 464677"/>
                <a:gd name="connsiteX0" fmla="*/ 215900 w 287604"/>
                <a:gd name="connsiteY0" fmla="*/ 0 h 518652"/>
                <a:gd name="connsiteX1" fmla="*/ 287604 w 287604"/>
                <a:gd name="connsiteY1" fmla="*/ 53975 h 518652"/>
                <a:gd name="connsiteX2" fmla="*/ 74879 w 287604"/>
                <a:gd name="connsiteY2" fmla="*/ 518652 h 518652"/>
                <a:gd name="connsiteX3" fmla="*/ 0 w 287604"/>
                <a:gd name="connsiteY3" fmla="*/ 518652 h 518652"/>
                <a:gd name="connsiteX4" fmla="*/ 215900 w 287604"/>
                <a:gd name="connsiteY4" fmla="*/ 0 h 518652"/>
                <a:gd name="connsiteX0" fmla="*/ 327025 w 398729"/>
                <a:gd name="connsiteY0" fmla="*/ 0 h 518652"/>
                <a:gd name="connsiteX1" fmla="*/ 398729 w 398729"/>
                <a:gd name="connsiteY1" fmla="*/ 53975 h 518652"/>
                <a:gd name="connsiteX2" fmla="*/ 186004 w 398729"/>
                <a:gd name="connsiteY2" fmla="*/ 518652 h 518652"/>
                <a:gd name="connsiteX3" fmla="*/ 0 w 398729"/>
                <a:gd name="connsiteY3" fmla="*/ 490077 h 518652"/>
                <a:gd name="connsiteX4" fmla="*/ 327025 w 398729"/>
                <a:gd name="connsiteY4" fmla="*/ 0 h 518652"/>
                <a:gd name="connsiteX0" fmla="*/ 327025 w 398729"/>
                <a:gd name="connsiteY0" fmla="*/ 0 h 540877"/>
                <a:gd name="connsiteX1" fmla="*/ 398729 w 398729"/>
                <a:gd name="connsiteY1" fmla="*/ 53975 h 540877"/>
                <a:gd name="connsiteX2" fmla="*/ 71704 w 398729"/>
                <a:gd name="connsiteY2" fmla="*/ 540877 h 540877"/>
                <a:gd name="connsiteX3" fmla="*/ 0 w 398729"/>
                <a:gd name="connsiteY3" fmla="*/ 490077 h 540877"/>
                <a:gd name="connsiteX4" fmla="*/ 327025 w 398729"/>
                <a:gd name="connsiteY4" fmla="*/ 0 h 540877"/>
                <a:gd name="connsiteX0" fmla="*/ 327025 w 398729"/>
                <a:gd name="connsiteY0" fmla="*/ 0 h 540877"/>
                <a:gd name="connsiteX1" fmla="*/ 398729 w 398729"/>
                <a:gd name="connsiteY1" fmla="*/ 53975 h 540877"/>
                <a:gd name="connsiteX2" fmla="*/ 71704 w 398729"/>
                <a:gd name="connsiteY2" fmla="*/ 540877 h 540877"/>
                <a:gd name="connsiteX3" fmla="*/ 0 w 398729"/>
                <a:gd name="connsiteY3" fmla="*/ 490077 h 540877"/>
                <a:gd name="connsiteX4" fmla="*/ 119528 w 398729"/>
                <a:gd name="connsiteY4" fmla="*/ 235236 h 540877"/>
                <a:gd name="connsiteX5" fmla="*/ 327025 w 398729"/>
                <a:gd name="connsiteY5" fmla="*/ 0 h 540877"/>
                <a:gd name="connsiteX0" fmla="*/ 327025 w 398729"/>
                <a:gd name="connsiteY0" fmla="*/ 0 h 540877"/>
                <a:gd name="connsiteX1" fmla="*/ 398729 w 398729"/>
                <a:gd name="connsiteY1" fmla="*/ 53975 h 540877"/>
                <a:gd name="connsiteX2" fmla="*/ 71704 w 398729"/>
                <a:gd name="connsiteY2" fmla="*/ 540877 h 540877"/>
                <a:gd name="connsiteX3" fmla="*/ 0 w 398729"/>
                <a:gd name="connsiteY3" fmla="*/ 490077 h 540877"/>
                <a:gd name="connsiteX4" fmla="*/ 119528 w 398729"/>
                <a:gd name="connsiteY4" fmla="*/ 235236 h 540877"/>
                <a:gd name="connsiteX5" fmla="*/ 327025 w 398729"/>
                <a:gd name="connsiteY5" fmla="*/ 0 h 540877"/>
                <a:gd name="connsiteX0" fmla="*/ 327025 w 398729"/>
                <a:gd name="connsiteY0" fmla="*/ 0 h 540877"/>
                <a:gd name="connsiteX1" fmla="*/ 398729 w 398729"/>
                <a:gd name="connsiteY1" fmla="*/ 53975 h 540877"/>
                <a:gd name="connsiteX2" fmla="*/ 71704 w 398729"/>
                <a:gd name="connsiteY2" fmla="*/ 540877 h 540877"/>
                <a:gd name="connsiteX3" fmla="*/ 0 w 398729"/>
                <a:gd name="connsiteY3" fmla="*/ 490077 h 540877"/>
                <a:gd name="connsiteX4" fmla="*/ 119528 w 398729"/>
                <a:gd name="connsiteY4" fmla="*/ 235236 h 540877"/>
                <a:gd name="connsiteX5" fmla="*/ 327025 w 398729"/>
                <a:gd name="connsiteY5" fmla="*/ 0 h 540877"/>
                <a:gd name="connsiteX0" fmla="*/ 327025 w 398729"/>
                <a:gd name="connsiteY0" fmla="*/ 0 h 540877"/>
                <a:gd name="connsiteX1" fmla="*/ 398729 w 398729"/>
                <a:gd name="connsiteY1" fmla="*/ 53975 h 540877"/>
                <a:gd name="connsiteX2" fmla="*/ 71704 w 398729"/>
                <a:gd name="connsiteY2" fmla="*/ 540877 h 540877"/>
                <a:gd name="connsiteX3" fmla="*/ 0 w 398729"/>
                <a:gd name="connsiteY3" fmla="*/ 490077 h 540877"/>
                <a:gd name="connsiteX4" fmla="*/ 119528 w 398729"/>
                <a:gd name="connsiteY4" fmla="*/ 235236 h 540877"/>
                <a:gd name="connsiteX5" fmla="*/ 327025 w 398729"/>
                <a:gd name="connsiteY5" fmla="*/ 0 h 540877"/>
                <a:gd name="connsiteX0" fmla="*/ 327025 w 398729"/>
                <a:gd name="connsiteY0" fmla="*/ 0 h 540877"/>
                <a:gd name="connsiteX1" fmla="*/ 398729 w 398729"/>
                <a:gd name="connsiteY1" fmla="*/ 53975 h 540877"/>
                <a:gd name="connsiteX2" fmla="*/ 71704 w 398729"/>
                <a:gd name="connsiteY2" fmla="*/ 540877 h 540877"/>
                <a:gd name="connsiteX3" fmla="*/ 0 w 398729"/>
                <a:gd name="connsiteY3" fmla="*/ 490077 h 540877"/>
                <a:gd name="connsiteX4" fmla="*/ 119528 w 398729"/>
                <a:gd name="connsiteY4" fmla="*/ 235236 h 540877"/>
                <a:gd name="connsiteX5" fmla="*/ 327025 w 398729"/>
                <a:gd name="connsiteY5" fmla="*/ 0 h 540877"/>
                <a:gd name="connsiteX0" fmla="*/ 327025 w 398729"/>
                <a:gd name="connsiteY0" fmla="*/ 0 h 540877"/>
                <a:gd name="connsiteX1" fmla="*/ 398729 w 398729"/>
                <a:gd name="connsiteY1" fmla="*/ 53975 h 540877"/>
                <a:gd name="connsiteX2" fmla="*/ 71704 w 398729"/>
                <a:gd name="connsiteY2" fmla="*/ 540877 h 540877"/>
                <a:gd name="connsiteX3" fmla="*/ 0 w 398729"/>
                <a:gd name="connsiteY3" fmla="*/ 490077 h 540877"/>
                <a:gd name="connsiteX4" fmla="*/ 119528 w 398729"/>
                <a:gd name="connsiteY4" fmla="*/ 235236 h 540877"/>
                <a:gd name="connsiteX5" fmla="*/ 327025 w 398729"/>
                <a:gd name="connsiteY5" fmla="*/ 0 h 540877"/>
                <a:gd name="connsiteX0" fmla="*/ 327025 w 398729"/>
                <a:gd name="connsiteY0" fmla="*/ 0 h 540877"/>
                <a:gd name="connsiteX1" fmla="*/ 398729 w 398729"/>
                <a:gd name="connsiteY1" fmla="*/ 53975 h 540877"/>
                <a:gd name="connsiteX2" fmla="*/ 71704 w 398729"/>
                <a:gd name="connsiteY2" fmla="*/ 540877 h 540877"/>
                <a:gd name="connsiteX3" fmla="*/ 0 w 398729"/>
                <a:gd name="connsiteY3" fmla="*/ 490077 h 540877"/>
                <a:gd name="connsiteX4" fmla="*/ 119528 w 398729"/>
                <a:gd name="connsiteY4" fmla="*/ 235236 h 540877"/>
                <a:gd name="connsiteX5" fmla="*/ 327025 w 398729"/>
                <a:gd name="connsiteY5" fmla="*/ 0 h 540877"/>
                <a:gd name="connsiteX0" fmla="*/ 327025 w 404287"/>
                <a:gd name="connsiteY0" fmla="*/ 0 h 540877"/>
                <a:gd name="connsiteX1" fmla="*/ 404287 w 404287"/>
                <a:gd name="connsiteY1" fmla="*/ 42477 h 540877"/>
                <a:gd name="connsiteX2" fmla="*/ 71704 w 404287"/>
                <a:gd name="connsiteY2" fmla="*/ 540877 h 540877"/>
                <a:gd name="connsiteX3" fmla="*/ 0 w 404287"/>
                <a:gd name="connsiteY3" fmla="*/ 490077 h 540877"/>
                <a:gd name="connsiteX4" fmla="*/ 119528 w 404287"/>
                <a:gd name="connsiteY4" fmla="*/ 235236 h 540877"/>
                <a:gd name="connsiteX5" fmla="*/ 327025 w 404287"/>
                <a:gd name="connsiteY5" fmla="*/ 0 h 540877"/>
                <a:gd name="connsiteX0" fmla="*/ 336937 w 404287"/>
                <a:gd name="connsiteY0" fmla="*/ 0 h 546924"/>
                <a:gd name="connsiteX1" fmla="*/ 404287 w 404287"/>
                <a:gd name="connsiteY1" fmla="*/ 48524 h 546924"/>
                <a:gd name="connsiteX2" fmla="*/ 71704 w 404287"/>
                <a:gd name="connsiteY2" fmla="*/ 546924 h 546924"/>
                <a:gd name="connsiteX3" fmla="*/ 0 w 404287"/>
                <a:gd name="connsiteY3" fmla="*/ 496124 h 546924"/>
                <a:gd name="connsiteX4" fmla="*/ 119528 w 404287"/>
                <a:gd name="connsiteY4" fmla="*/ 241283 h 546924"/>
                <a:gd name="connsiteX5" fmla="*/ 336937 w 404287"/>
                <a:gd name="connsiteY5" fmla="*/ 0 h 546924"/>
                <a:gd name="connsiteX0" fmla="*/ 336937 w 404287"/>
                <a:gd name="connsiteY0" fmla="*/ 0 h 546924"/>
                <a:gd name="connsiteX1" fmla="*/ 404287 w 404287"/>
                <a:gd name="connsiteY1" fmla="*/ 48524 h 546924"/>
                <a:gd name="connsiteX2" fmla="*/ 71704 w 404287"/>
                <a:gd name="connsiteY2" fmla="*/ 546924 h 546924"/>
                <a:gd name="connsiteX3" fmla="*/ 0 w 404287"/>
                <a:gd name="connsiteY3" fmla="*/ 496124 h 546924"/>
                <a:gd name="connsiteX4" fmla="*/ 120638 w 404287"/>
                <a:gd name="connsiteY4" fmla="*/ 222461 h 546924"/>
                <a:gd name="connsiteX5" fmla="*/ 336937 w 404287"/>
                <a:gd name="connsiteY5" fmla="*/ 0 h 546924"/>
                <a:gd name="connsiteX0" fmla="*/ 353242 w 420592"/>
                <a:gd name="connsiteY0" fmla="*/ 0 h 546924"/>
                <a:gd name="connsiteX1" fmla="*/ 420592 w 420592"/>
                <a:gd name="connsiteY1" fmla="*/ 48524 h 546924"/>
                <a:gd name="connsiteX2" fmla="*/ 88009 w 420592"/>
                <a:gd name="connsiteY2" fmla="*/ 546924 h 546924"/>
                <a:gd name="connsiteX3" fmla="*/ 0 w 420592"/>
                <a:gd name="connsiteY3" fmla="*/ 496806 h 546924"/>
                <a:gd name="connsiteX4" fmla="*/ 136943 w 420592"/>
                <a:gd name="connsiteY4" fmla="*/ 222461 h 546924"/>
                <a:gd name="connsiteX5" fmla="*/ 353242 w 420592"/>
                <a:gd name="connsiteY5" fmla="*/ 0 h 546924"/>
                <a:gd name="connsiteX0" fmla="*/ 353242 w 420592"/>
                <a:gd name="connsiteY0" fmla="*/ 0 h 539515"/>
                <a:gd name="connsiteX1" fmla="*/ 420592 w 420592"/>
                <a:gd name="connsiteY1" fmla="*/ 48524 h 539515"/>
                <a:gd name="connsiteX2" fmla="*/ 85600 w 420592"/>
                <a:gd name="connsiteY2" fmla="*/ 539515 h 539515"/>
                <a:gd name="connsiteX3" fmla="*/ 0 w 420592"/>
                <a:gd name="connsiteY3" fmla="*/ 496806 h 539515"/>
                <a:gd name="connsiteX4" fmla="*/ 136943 w 420592"/>
                <a:gd name="connsiteY4" fmla="*/ 222461 h 539515"/>
                <a:gd name="connsiteX5" fmla="*/ 353242 w 420592"/>
                <a:gd name="connsiteY5" fmla="*/ 0 h 539515"/>
                <a:gd name="connsiteX0" fmla="*/ 353242 w 420592"/>
                <a:gd name="connsiteY0" fmla="*/ 0 h 539515"/>
                <a:gd name="connsiteX1" fmla="*/ 420592 w 420592"/>
                <a:gd name="connsiteY1" fmla="*/ 48524 h 539515"/>
                <a:gd name="connsiteX2" fmla="*/ 85600 w 420592"/>
                <a:gd name="connsiteY2" fmla="*/ 539515 h 539515"/>
                <a:gd name="connsiteX3" fmla="*/ 0 w 420592"/>
                <a:gd name="connsiteY3" fmla="*/ 496806 h 539515"/>
                <a:gd name="connsiteX4" fmla="*/ 136943 w 420592"/>
                <a:gd name="connsiteY4" fmla="*/ 222461 h 539515"/>
                <a:gd name="connsiteX5" fmla="*/ 353242 w 420592"/>
                <a:gd name="connsiteY5" fmla="*/ 0 h 539515"/>
                <a:gd name="connsiteX0" fmla="*/ 353242 w 420592"/>
                <a:gd name="connsiteY0" fmla="*/ 0 h 539515"/>
                <a:gd name="connsiteX1" fmla="*/ 420592 w 420592"/>
                <a:gd name="connsiteY1" fmla="*/ 48524 h 539515"/>
                <a:gd name="connsiteX2" fmla="*/ 85600 w 420592"/>
                <a:gd name="connsiteY2" fmla="*/ 539515 h 539515"/>
                <a:gd name="connsiteX3" fmla="*/ 0 w 420592"/>
                <a:gd name="connsiteY3" fmla="*/ 496806 h 539515"/>
                <a:gd name="connsiteX4" fmla="*/ 136943 w 420592"/>
                <a:gd name="connsiteY4" fmla="*/ 222461 h 539515"/>
                <a:gd name="connsiteX5" fmla="*/ 353242 w 420592"/>
                <a:gd name="connsiteY5" fmla="*/ 0 h 539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20592" h="539515">
                  <a:moveTo>
                    <a:pt x="353242" y="0"/>
                  </a:moveTo>
                  <a:cubicBezTo>
                    <a:pt x="377143" y="17992"/>
                    <a:pt x="396691" y="30532"/>
                    <a:pt x="420592" y="48524"/>
                  </a:cubicBezTo>
                  <a:cubicBezTo>
                    <a:pt x="295709" y="112400"/>
                    <a:pt x="112058" y="120039"/>
                    <a:pt x="85600" y="539515"/>
                  </a:cubicBezTo>
                  <a:lnTo>
                    <a:pt x="0" y="496806"/>
                  </a:lnTo>
                  <a:cubicBezTo>
                    <a:pt x="29331" y="417176"/>
                    <a:pt x="49475" y="339158"/>
                    <a:pt x="136943" y="222461"/>
                  </a:cubicBezTo>
                  <a:cubicBezTo>
                    <a:pt x="225159" y="90074"/>
                    <a:pt x="271475" y="71430"/>
                    <a:pt x="353242" y="0"/>
                  </a:cubicBezTo>
                  <a:close/>
                </a:path>
              </a:pathLst>
            </a:custGeom>
            <a:noFill/>
            <a:ln w="3175"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9" name="Прямоугольник 61"/>
            <p:cNvSpPr/>
            <p:nvPr/>
          </p:nvSpPr>
          <p:spPr>
            <a:xfrm rot="167248">
              <a:off x="3578579" y="3554015"/>
              <a:ext cx="426438" cy="545107"/>
            </a:xfrm>
            <a:custGeom>
              <a:avLst/>
              <a:gdLst>
                <a:gd name="connsiteX0" fmla="*/ 0 w 179550"/>
                <a:gd name="connsiteY0" fmla="*/ 0 h 414718"/>
                <a:gd name="connsiteX1" fmla="*/ 179550 w 179550"/>
                <a:gd name="connsiteY1" fmla="*/ 0 h 414718"/>
                <a:gd name="connsiteX2" fmla="*/ 179550 w 179550"/>
                <a:gd name="connsiteY2" fmla="*/ 414718 h 414718"/>
                <a:gd name="connsiteX3" fmla="*/ 0 w 179550"/>
                <a:gd name="connsiteY3" fmla="*/ 414718 h 414718"/>
                <a:gd name="connsiteX4" fmla="*/ 0 w 179550"/>
                <a:gd name="connsiteY4" fmla="*/ 0 h 414718"/>
                <a:gd name="connsiteX0" fmla="*/ 0 w 429581"/>
                <a:gd name="connsiteY0" fmla="*/ 0 h 414718"/>
                <a:gd name="connsiteX1" fmla="*/ 429581 w 429581"/>
                <a:gd name="connsiteY1" fmla="*/ 107156 h 414718"/>
                <a:gd name="connsiteX2" fmla="*/ 179550 w 429581"/>
                <a:gd name="connsiteY2" fmla="*/ 414718 h 414718"/>
                <a:gd name="connsiteX3" fmla="*/ 0 w 429581"/>
                <a:gd name="connsiteY3" fmla="*/ 414718 h 414718"/>
                <a:gd name="connsiteX4" fmla="*/ 0 w 429581"/>
                <a:gd name="connsiteY4" fmla="*/ 0 h 414718"/>
                <a:gd name="connsiteX0" fmla="*/ 0 w 429581"/>
                <a:gd name="connsiteY0" fmla="*/ 0 h 414718"/>
                <a:gd name="connsiteX1" fmla="*/ 221649 w 429581"/>
                <a:gd name="connsiteY1" fmla="*/ 57729 h 414718"/>
                <a:gd name="connsiteX2" fmla="*/ 429581 w 429581"/>
                <a:gd name="connsiteY2" fmla="*/ 107156 h 414718"/>
                <a:gd name="connsiteX3" fmla="*/ 179550 w 429581"/>
                <a:gd name="connsiteY3" fmla="*/ 414718 h 414718"/>
                <a:gd name="connsiteX4" fmla="*/ 0 w 429581"/>
                <a:gd name="connsiteY4" fmla="*/ 414718 h 414718"/>
                <a:gd name="connsiteX5" fmla="*/ 0 w 429581"/>
                <a:gd name="connsiteY5" fmla="*/ 0 h 414718"/>
                <a:gd name="connsiteX0" fmla="*/ 0 w 443106"/>
                <a:gd name="connsiteY0" fmla="*/ 23233 h 437951"/>
                <a:gd name="connsiteX1" fmla="*/ 443106 w 443106"/>
                <a:gd name="connsiteY1" fmla="*/ 0 h 437951"/>
                <a:gd name="connsiteX2" fmla="*/ 429581 w 443106"/>
                <a:gd name="connsiteY2" fmla="*/ 130389 h 437951"/>
                <a:gd name="connsiteX3" fmla="*/ 179550 w 443106"/>
                <a:gd name="connsiteY3" fmla="*/ 437951 h 437951"/>
                <a:gd name="connsiteX4" fmla="*/ 0 w 443106"/>
                <a:gd name="connsiteY4" fmla="*/ 437951 h 437951"/>
                <a:gd name="connsiteX5" fmla="*/ 0 w 443106"/>
                <a:gd name="connsiteY5" fmla="*/ 23233 h 437951"/>
                <a:gd name="connsiteX0" fmla="*/ 0 w 443106"/>
                <a:gd name="connsiteY0" fmla="*/ 23233 h 437951"/>
                <a:gd name="connsiteX1" fmla="*/ 250223 w 443106"/>
                <a:gd name="connsiteY1" fmla="*/ 9526 h 437951"/>
                <a:gd name="connsiteX2" fmla="*/ 443106 w 443106"/>
                <a:gd name="connsiteY2" fmla="*/ 0 h 437951"/>
                <a:gd name="connsiteX3" fmla="*/ 429581 w 443106"/>
                <a:gd name="connsiteY3" fmla="*/ 130389 h 437951"/>
                <a:gd name="connsiteX4" fmla="*/ 179550 w 443106"/>
                <a:gd name="connsiteY4" fmla="*/ 437951 h 437951"/>
                <a:gd name="connsiteX5" fmla="*/ 0 w 443106"/>
                <a:gd name="connsiteY5" fmla="*/ 437951 h 437951"/>
                <a:gd name="connsiteX6" fmla="*/ 0 w 443106"/>
                <a:gd name="connsiteY6" fmla="*/ 23233 h 437951"/>
                <a:gd name="connsiteX0" fmla="*/ 0 w 443106"/>
                <a:gd name="connsiteY0" fmla="*/ 23233 h 437951"/>
                <a:gd name="connsiteX1" fmla="*/ 250223 w 443106"/>
                <a:gd name="connsiteY1" fmla="*/ 9526 h 437951"/>
                <a:gd name="connsiteX2" fmla="*/ 443106 w 443106"/>
                <a:gd name="connsiteY2" fmla="*/ 0 h 437951"/>
                <a:gd name="connsiteX3" fmla="*/ 429581 w 443106"/>
                <a:gd name="connsiteY3" fmla="*/ 130389 h 437951"/>
                <a:gd name="connsiteX4" fmla="*/ 267656 w 443106"/>
                <a:gd name="connsiteY4" fmla="*/ 376038 h 437951"/>
                <a:gd name="connsiteX5" fmla="*/ 0 w 443106"/>
                <a:gd name="connsiteY5" fmla="*/ 437951 h 437951"/>
                <a:gd name="connsiteX6" fmla="*/ 0 w 443106"/>
                <a:gd name="connsiteY6" fmla="*/ 23233 h 437951"/>
                <a:gd name="connsiteX0" fmla="*/ 0 w 443106"/>
                <a:gd name="connsiteY0" fmla="*/ 23233 h 461764"/>
                <a:gd name="connsiteX1" fmla="*/ 250223 w 443106"/>
                <a:gd name="connsiteY1" fmla="*/ 9526 h 461764"/>
                <a:gd name="connsiteX2" fmla="*/ 443106 w 443106"/>
                <a:gd name="connsiteY2" fmla="*/ 0 h 461764"/>
                <a:gd name="connsiteX3" fmla="*/ 429581 w 443106"/>
                <a:gd name="connsiteY3" fmla="*/ 130389 h 461764"/>
                <a:gd name="connsiteX4" fmla="*/ 267656 w 443106"/>
                <a:gd name="connsiteY4" fmla="*/ 376038 h 461764"/>
                <a:gd name="connsiteX5" fmla="*/ 130969 w 443106"/>
                <a:gd name="connsiteY5" fmla="*/ 461764 h 461764"/>
                <a:gd name="connsiteX6" fmla="*/ 0 w 443106"/>
                <a:gd name="connsiteY6" fmla="*/ 23233 h 461764"/>
                <a:gd name="connsiteX0" fmla="*/ 0 w 443106"/>
                <a:gd name="connsiteY0" fmla="*/ 113720 h 552251"/>
                <a:gd name="connsiteX1" fmla="*/ 340710 w 443106"/>
                <a:gd name="connsiteY1" fmla="*/ 0 h 552251"/>
                <a:gd name="connsiteX2" fmla="*/ 443106 w 443106"/>
                <a:gd name="connsiteY2" fmla="*/ 90487 h 552251"/>
                <a:gd name="connsiteX3" fmla="*/ 429581 w 443106"/>
                <a:gd name="connsiteY3" fmla="*/ 220876 h 552251"/>
                <a:gd name="connsiteX4" fmla="*/ 267656 w 443106"/>
                <a:gd name="connsiteY4" fmla="*/ 466525 h 552251"/>
                <a:gd name="connsiteX5" fmla="*/ 130969 w 443106"/>
                <a:gd name="connsiteY5" fmla="*/ 552251 h 552251"/>
                <a:gd name="connsiteX6" fmla="*/ 0 w 443106"/>
                <a:gd name="connsiteY6" fmla="*/ 113720 h 552251"/>
                <a:gd name="connsiteX0" fmla="*/ 0 w 426438"/>
                <a:gd name="connsiteY0" fmla="*/ 485195 h 552251"/>
                <a:gd name="connsiteX1" fmla="*/ 324042 w 426438"/>
                <a:gd name="connsiteY1" fmla="*/ 0 h 552251"/>
                <a:gd name="connsiteX2" fmla="*/ 426438 w 426438"/>
                <a:gd name="connsiteY2" fmla="*/ 90487 h 552251"/>
                <a:gd name="connsiteX3" fmla="*/ 412913 w 426438"/>
                <a:gd name="connsiteY3" fmla="*/ 220876 h 552251"/>
                <a:gd name="connsiteX4" fmla="*/ 250988 w 426438"/>
                <a:gd name="connsiteY4" fmla="*/ 466525 h 552251"/>
                <a:gd name="connsiteX5" fmla="*/ 114301 w 426438"/>
                <a:gd name="connsiteY5" fmla="*/ 552251 h 552251"/>
                <a:gd name="connsiteX6" fmla="*/ 0 w 426438"/>
                <a:gd name="connsiteY6" fmla="*/ 485195 h 552251"/>
                <a:gd name="connsiteX0" fmla="*/ 0 w 426438"/>
                <a:gd name="connsiteY0" fmla="*/ 485195 h 545107"/>
                <a:gd name="connsiteX1" fmla="*/ 324042 w 426438"/>
                <a:gd name="connsiteY1" fmla="*/ 0 h 545107"/>
                <a:gd name="connsiteX2" fmla="*/ 426438 w 426438"/>
                <a:gd name="connsiteY2" fmla="*/ 90487 h 545107"/>
                <a:gd name="connsiteX3" fmla="*/ 412913 w 426438"/>
                <a:gd name="connsiteY3" fmla="*/ 220876 h 545107"/>
                <a:gd name="connsiteX4" fmla="*/ 250988 w 426438"/>
                <a:gd name="connsiteY4" fmla="*/ 466525 h 545107"/>
                <a:gd name="connsiteX5" fmla="*/ 119063 w 426438"/>
                <a:gd name="connsiteY5" fmla="*/ 545107 h 545107"/>
                <a:gd name="connsiteX6" fmla="*/ 0 w 426438"/>
                <a:gd name="connsiteY6" fmla="*/ 485195 h 545107"/>
                <a:gd name="connsiteX0" fmla="*/ 0 w 426438"/>
                <a:gd name="connsiteY0" fmla="*/ 485195 h 545107"/>
                <a:gd name="connsiteX1" fmla="*/ 324042 w 426438"/>
                <a:gd name="connsiteY1" fmla="*/ 0 h 545107"/>
                <a:gd name="connsiteX2" fmla="*/ 426438 w 426438"/>
                <a:gd name="connsiteY2" fmla="*/ 90487 h 545107"/>
                <a:gd name="connsiteX3" fmla="*/ 412913 w 426438"/>
                <a:gd name="connsiteY3" fmla="*/ 220876 h 545107"/>
                <a:gd name="connsiteX4" fmla="*/ 250988 w 426438"/>
                <a:gd name="connsiteY4" fmla="*/ 466525 h 545107"/>
                <a:gd name="connsiteX5" fmla="*/ 119063 w 426438"/>
                <a:gd name="connsiteY5" fmla="*/ 545107 h 545107"/>
                <a:gd name="connsiteX6" fmla="*/ 0 w 426438"/>
                <a:gd name="connsiteY6" fmla="*/ 485195 h 545107"/>
                <a:gd name="connsiteX0" fmla="*/ 0 w 426438"/>
                <a:gd name="connsiteY0" fmla="*/ 485195 h 545107"/>
                <a:gd name="connsiteX1" fmla="*/ 324042 w 426438"/>
                <a:gd name="connsiteY1" fmla="*/ 0 h 545107"/>
                <a:gd name="connsiteX2" fmla="*/ 426438 w 426438"/>
                <a:gd name="connsiteY2" fmla="*/ 90487 h 545107"/>
                <a:gd name="connsiteX3" fmla="*/ 412913 w 426438"/>
                <a:gd name="connsiteY3" fmla="*/ 220876 h 545107"/>
                <a:gd name="connsiteX4" fmla="*/ 250988 w 426438"/>
                <a:gd name="connsiteY4" fmla="*/ 466525 h 545107"/>
                <a:gd name="connsiteX5" fmla="*/ 119063 w 426438"/>
                <a:gd name="connsiteY5" fmla="*/ 545107 h 545107"/>
                <a:gd name="connsiteX6" fmla="*/ 0 w 426438"/>
                <a:gd name="connsiteY6" fmla="*/ 485195 h 545107"/>
                <a:gd name="connsiteX0" fmla="*/ 0 w 426438"/>
                <a:gd name="connsiteY0" fmla="*/ 485195 h 545107"/>
                <a:gd name="connsiteX1" fmla="*/ 324042 w 426438"/>
                <a:gd name="connsiteY1" fmla="*/ 0 h 545107"/>
                <a:gd name="connsiteX2" fmla="*/ 426438 w 426438"/>
                <a:gd name="connsiteY2" fmla="*/ 90487 h 545107"/>
                <a:gd name="connsiteX3" fmla="*/ 412913 w 426438"/>
                <a:gd name="connsiteY3" fmla="*/ 220876 h 545107"/>
                <a:gd name="connsiteX4" fmla="*/ 250988 w 426438"/>
                <a:gd name="connsiteY4" fmla="*/ 466525 h 545107"/>
                <a:gd name="connsiteX5" fmla="*/ 119063 w 426438"/>
                <a:gd name="connsiteY5" fmla="*/ 545107 h 545107"/>
                <a:gd name="connsiteX6" fmla="*/ 0 w 426438"/>
                <a:gd name="connsiteY6" fmla="*/ 485195 h 545107"/>
                <a:gd name="connsiteX0" fmla="*/ 0 w 426438"/>
                <a:gd name="connsiteY0" fmla="*/ 485195 h 545107"/>
                <a:gd name="connsiteX1" fmla="*/ 324042 w 426438"/>
                <a:gd name="connsiteY1" fmla="*/ 0 h 545107"/>
                <a:gd name="connsiteX2" fmla="*/ 426438 w 426438"/>
                <a:gd name="connsiteY2" fmla="*/ 90487 h 545107"/>
                <a:gd name="connsiteX3" fmla="*/ 412913 w 426438"/>
                <a:gd name="connsiteY3" fmla="*/ 220876 h 545107"/>
                <a:gd name="connsiteX4" fmla="*/ 250988 w 426438"/>
                <a:gd name="connsiteY4" fmla="*/ 466525 h 545107"/>
                <a:gd name="connsiteX5" fmla="*/ 119063 w 426438"/>
                <a:gd name="connsiteY5" fmla="*/ 545107 h 545107"/>
                <a:gd name="connsiteX6" fmla="*/ 0 w 426438"/>
                <a:gd name="connsiteY6" fmla="*/ 485195 h 545107"/>
                <a:gd name="connsiteX0" fmla="*/ 0 w 426438"/>
                <a:gd name="connsiteY0" fmla="*/ 485195 h 545107"/>
                <a:gd name="connsiteX1" fmla="*/ 324042 w 426438"/>
                <a:gd name="connsiteY1" fmla="*/ 0 h 545107"/>
                <a:gd name="connsiteX2" fmla="*/ 426438 w 426438"/>
                <a:gd name="connsiteY2" fmla="*/ 90487 h 545107"/>
                <a:gd name="connsiteX3" fmla="*/ 412913 w 426438"/>
                <a:gd name="connsiteY3" fmla="*/ 220876 h 545107"/>
                <a:gd name="connsiteX4" fmla="*/ 250988 w 426438"/>
                <a:gd name="connsiteY4" fmla="*/ 466525 h 545107"/>
                <a:gd name="connsiteX5" fmla="*/ 119063 w 426438"/>
                <a:gd name="connsiteY5" fmla="*/ 545107 h 545107"/>
                <a:gd name="connsiteX6" fmla="*/ 0 w 426438"/>
                <a:gd name="connsiteY6" fmla="*/ 485195 h 545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6438" h="545107">
                  <a:moveTo>
                    <a:pt x="0" y="485195"/>
                  </a:moveTo>
                  <a:cubicBezTo>
                    <a:pt x="5620" y="82957"/>
                    <a:pt x="294609" y="23619"/>
                    <a:pt x="324042" y="0"/>
                  </a:cubicBezTo>
                  <a:lnTo>
                    <a:pt x="426438" y="90487"/>
                  </a:lnTo>
                  <a:lnTo>
                    <a:pt x="412913" y="220876"/>
                  </a:lnTo>
                  <a:cubicBezTo>
                    <a:pt x="173200" y="-11566"/>
                    <a:pt x="-114137" y="291773"/>
                    <a:pt x="250988" y="466525"/>
                  </a:cubicBezTo>
                  <a:lnTo>
                    <a:pt x="119063" y="545107"/>
                  </a:lnTo>
                  <a:lnTo>
                    <a:pt x="0" y="485195"/>
                  </a:lnTo>
                  <a:close/>
                </a:path>
              </a:pathLst>
            </a:custGeom>
            <a:noFill/>
            <a:ln w="3175"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0" name="Овал 129"/>
            <p:cNvSpPr/>
            <p:nvPr/>
          </p:nvSpPr>
          <p:spPr>
            <a:xfrm rot="18340370">
              <a:off x="3904220" y="3830359"/>
              <a:ext cx="220748" cy="320562"/>
            </a:xfrm>
            <a:prstGeom prst="ellipse">
              <a:avLst/>
            </a:prstGeom>
            <a:solidFill>
              <a:schemeClr val="accent6">
                <a:lumMod val="75000"/>
                <a:alpha val="70000"/>
              </a:schemeClr>
            </a:solidFill>
            <a:ln w="12700" cap="rnd">
              <a:solidFill>
                <a:schemeClr val="accent6">
                  <a:lumMod val="75000"/>
                </a:schemeClr>
              </a:solidFill>
              <a:prstDash val="solid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1" name="Полилиния 130"/>
            <p:cNvSpPr/>
            <p:nvPr/>
          </p:nvSpPr>
          <p:spPr>
            <a:xfrm rot="179345">
              <a:off x="3635821" y="3682818"/>
              <a:ext cx="175410" cy="196055"/>
            </a:xfrm>
            <a:custGeom>
              <a:avLst/>
              <a:gdLst>
                <a:gd name="connsiteX0" fmla="*/ 8698 w 337356"/>
                <a:gd name="connsiteY0" fmla="*/ 216603 h 370468"/>
                <a:gd name="connsiteX1" fmla="*/ 15842 w 337356"/>
                <a:gd name="connsiteY1" fmla="*/ 166596 h 370468"/>
                <a:gd name="connsiteX2" fmla="*/ 87279 w 337356"/>
                <a:gd name="connsiteY2" fmla="*/ 49915 h 370468"/>
                <a:gd name="connsiteX3" fmla="*/ 149192 w 337356"/>
                <a:gd name="connsiteY3" fmla="*/ 2290 h 370468"/>
                <a:gd name="connsiteX4" fmla="*/ 165860 w 337356"/>
                <a:gd name="connsiteY4" fmla="*/ 9434 h 370468"/>
                <a:gd name="connsiteX5" fmla="*/ 182529 w 337356"/>
                <a:gd name="connsiteY5" fmla="*/ 26103 h 370468"/>
                <a:gd name="connsiteX6" fmla="*/ 253967 w 337356"/>
                <a:gd name="connsiteY6" fmla="*/ 83253 h 370468"/>
                <a:gd name="connsiteX7" fmla="*/ 330167 w 337356"/>
                <a:gd name="connsiteY7" fmla="*/ 73728 h 370468"/>
                <a:gd name="connsiteX8" fmla="*/ 332548 w 337356"/>
                <a:gd name="connsiteY8" fmla="*/ 152309 h 370468"/>
                <a:gd name="connsiteX9" fmla="*/ 315879 w 337356"/>
                <a:gd name="connsiteY9" fmla="*/ 216603 h 370468"/>
                <a:gd name="connsiteX10" fmla="*/ 265873 w 337356"/>
                <a:gd name="connsiteY10" fmla="*/ 278515 h 370468"/>
                <a:gd name="connsiteX11" fmla="*/ 211104 w 337356"/>
                <a:gd name="connsiteY11" fmla="*/ 335665 h 370468"/>
                <a:gd name="connsiteX12" fmla="*/ 132523 w 337356"/>
                <a:gd name="connsiteY12" fmla="*/ 369003 h 370468"/>
                <a:gd name="connsiteX13" fmla="*/ 118235 w 337356"/>
                <a:gd name="connsiteY13" fmla="*/ 288040 h 370468"/>
                <a:gd name="connsiteX14" fmla="*/ 8698 w 337356"/>
                <a:gd name="connsiteY14" fmla="*/ 216603 h 370468"/>
                <a:gd name="connsiteX0" fmla="*/ 8698 w 337356"/>
                <a:gd name="connsiteY0" fmla="*/ 218895 h 372760"/>
                <a:gd name="connsiteX1" fmla="*/ 15842 w 337356"/>
                <a:gd name="connsiteY1" fmla="*/ 168888 h 372760"/>
                <a:gd name="connsiteX2" fmla="*/ 87279 w 337356"/>
                <a:gd name="connsiteY2" fmla="*/ 52207 h 372760"/>
                <a:gd name="connsiteX3" fmla="*/ 149192 w 337356"/>
                <a:gd name="connsiteY3" fmla="*/ 4582 h 372760"/>
                <a:gd name="connsiteX4" fmla="*/ 144429 w 337356"/>
                <a:gd name="connsiteY4" fmla="*/ 4582 h 372760"/>
                <a:gd name="connsiteX5" fmla="*/ 182529 w 337356"/>
                <a:gd name="connsiteY5" fmla="*/ 28395 h 372760"/>
                <a:gd name="connsiteX6" fmla="*/ 253967 w 337356"/>
                <a:gd name="connsiteY6" fmla="*/ 85545 h 372760"/>
                <a:gd name="connsiteX7" fmla="*/ 330167 w 337356"/>
                <a:gd name="connsiteY7" fmla="*/ 76020 h 372760"/>
                <a:gd name="connsiteX8" fmla="*/ 332548 w 337356"/>
                <a:gd name="connsiteY8" fmla="*/ 154601 h 372760"/>
                <a:gd name="connsiteX9" fmla="*/ 315879 w 337356"/>
                <a:gd name="connsiteY9" fmla="*/ 218895 h 372760"/>
                <a:gd name="connsiteX10" fmla="*/ 265873 w 337356"/>
                <a:gd name="connsiteY10" fmla="*/ 280807 h 372760"/>
                <a:gd name="connsiteX11" fmla="*/ 211104 w 337356"/>
                <a:gd name="connsiteY11" fmla="*/ 337957 h 372760"/>
                <a:gd name="connsiteX12" fmla="*/ 132523 w 337356"/>
                <a:gd name="connsiteY12" fmla="*/ 371295 h 372760"/>
                <a:gd name="connsiteX13" fmla="*/ 118235 w 337356"/>
                <a:gd name="connsiteY13" fmla="*/ 290332 h 372760"/>
                <a:gd name="connsiteX14" fmla="*/ 8698 w 337356"/>
                <a:gd name="connsiteY14" fmla="*/ 218895 h 372760"/>
                <a:gd name="connsiteX0" fmla="*/ 8698 w 337356"/>
                <a:gd name="connsiteY0" fmla="*/ 236436 h 390301"/>
                <a:gd name="connsiteX1" fmla="*/ 15842 w 337356"/>
                <a:gd name="connsiteY1" fmla="*/ 186429 h 390301"/>
                <a:gd name="connsiteX2" fmla="*/ 87279 w 337356"/>
                <a:gd name="connsiteY2" fmla="*/ 69748 h 390301"/>
                <a:gd name="connsiteX3" fmla="*/ 149192 w 337356"/>
                <a:gd name="connsiteY3" fmla="*/ 22123 h 390301"/>
                <a:gd name="connsiteX4" fmla="*/ 213485 w 337356"/>
                <a:gd name="connsiteY4" fmla="*/ 692 h 390301"/>
                <a:gd name="connsiteX5" fmla="*/ 182529 w 337356"/>
                <a:gd name="connsiteY5" fmla="*/ 45936 h 390301"/>
                <a:gd name="connsiteX6" fmla="*/ 253967 w 337356"/>
                <a:gd name="connsiteY6" fmla="*/ 103086 h 390301"/>
                <a:gd name="connsiteX7" fmla="*/ 330167 w 337356"/>
                <a:gd name="connsiteY7" fmla="*/ 93561 h 390301"/>
                <a:gd name="connsiteX8" fmla="*/ 332548 w 337356"/>
                <a:gd name="connsiteY8" fmla="*/ 172142 h 390301"/>
                <a:gd name="connsiteX9" fmla="*/ 315879 w 337356"/>
                <a:gd name="connsiteY9" fmla="*/ 236436 h 390301"/>
                <a:gd name="connsiteX10" fmla="*/ 265873 w 337356"/>
                <a:gd name="connsiteY10" fmla="*/ 298348 h 390301"/>
                <a:gd name="connsiteX11" fmla="*/ 211104 w 337356"/>
                <a:gd name="connsiteY11" fmla="*/ 355498 h 390301"/>
                <a:gd name="connsiteX12" fmla="*/ 132523 w 337356"/>
                <a:gd name="connsiteY12" fmla="*/ 388836 h 390301"/>
                <a:gd name="connsiteX13" fmla="*/ 118235 w 337356"/>
                <a:gd name="connsiteY13" fmla="*/ 307873 h 390301"/>
                <a:gd name="connsiteX14" fmla="*/ 8698 w 337356"/>
                <a:gd name="connsiteY14" fmla="*/ 236436 h 390301"/>
                <a:gd name="connsiteX0" fmla="*/ 8698 w 337356"/>
                <a:gd name="connsiteY0" fmla="*/ 236436 h 390301"/>
                <a:gd name="connsiteX1" fmla="*/ 15842 w 337356"/>
                <a:gd name="connsiteY1" fmla="*/ 186429 h 390301"/>
                <a:gd name="connsiteX2" fmla="*/ 87279 w 337356"/>
                <a:gd name="connsiteY2" fmla="*/ 69748 h 390301"/>
                <a:gd name="connsiteX3" fmla="*/ 132524 w 337356"/>
                <a:gd name="connsiteY3" fmla="*/ 22123 h 390301"/>
                <a:gd name="connsiteX4" fmla="*/ 213485 w 337356"/>
                <a:gd name="connsiteY4" fmla="*/ 692 h 390301"/>
                <a:gd name="connsiteX5" fmla="*/ 182529 w 337356"/>
                <a:gd name="connsiteY5" fmla="*/ 45936 h 390301"/>
                <a:gd name="connsiteX6" fmla="*/ 253967 w 337356"/>
                <a:gd name="connsiteY6" fmla="*/ 103086 h 390301"/>
                <a:gd name="connsiteX7" fmla="*/ 330167 w 337356"/>
                <a:gd name="connsiteY7" fmla="*/ 93561 h 390301"/>
                <a:gd name="connsiteX8" fmla="*/ 332548 w 337356"/>
                <a:gd name="connsiteY8" fmla="*/ 172142 h 390301"/>
                <a:gd name="connsiteX9" fmla="*/ 315879 w 337356"/>
                <a:gd name="connsiteY9" fmla="*/ 236436 h 390301"/>
                <a:gd name="connsiteX10" fmla="*/ 265873 w 337356"/>
                <a:gd name="connsiteY10" fmla="*/ 298348 h 390301"/>
                <a:gd name="connsiteX11" fmla="*/ 211104 w 337356"/>
                <a:gd name="connsiteY11" fmla="*/ 355498 h 390301"/>
                <a:gd name="connsiteX12" fmla="*/ 132523 w 337356"/>
                <a:gd name="connsiteY12" fmla="*/ 388836 h 390301"/>
                <a:gd name="connsiteX13" fmla="*/ 118235 w 337356"/>
                <a:gd name="connsiteY13" fmla="*/ 307873 h 390301"/>
                <a:gd name="connsiteX14" fmla="*/ 8698 w 337356"/>
                <a:gd name="connsiteY14" fmla="*/ 236436 h 390301"/>
                <a:gd name="connsiteX0" fmla="*/ 8698 w 337356"/>
                <a:gd name="connsiteY0" fmla="*/ 216604 h 370469"/>
                <a:gd name="connsiteX1" fmla="*/ 15842 w 337356"/>
                <a:gd name="connsiteY1" fmla="*/ 166597 h 370469"/>
                <a:gd name="connsiteX2" fmla="*/ 87279 w 337356"/>
                <a:gd name="connsiteY2" fmla="*/ 49916 h 370469"/>
                <a:gd name="connsiteX3" fmla="*/ 132524 w 337356"/>
                <a:gd name="connsiteY3" fmla="*/ 2291 h 370469"/>
                <a:gd name="connsiteX4" fmla="*/ 168241 w 337356"/>
                <a:gd name="connsiteY4" fmla="*/ 9435 h 370469"/>
                <a:gd name="connsiteX5" fmla="*/ 182529 w 337356"/>
                <a:gd name="connsiteY5" fmla="*/ 26104 h 370469"/>
                <a:gd name="connsiteX6" fmla="*/ 253967 w 337356"/>
                <a:gd name="connsiteY6" fmla="*/ 83254 h 370469"/>
                <a:gd name="connsiteX7" fmla="*/ 330167 w 337356"/>
                <a:gd name="connsiteY7" fmla="*/ 73729 h 370469"/>
                <a:gd name="connsiteX8" fmla="*/ 332548 w 337356"/>
                <a:gd name="connsiteY8" fmla="*/ 152310 h 370469"/>
                <a:gd name="connsiteX9" fmla="*/ 315879 w 337356"/>
                <a:gd name="connsiteY9" fmla="*/ 216604 h 370469"/>
                <a:gd name="connsiteX10" fmla="*/ 265873 w 337356"/>
                <a:gd name="connsiteY10" fmla="*/ 278516 h 370469"/>
                <a:gd name="connsiteX11" fmla="*/ 211104 w 337356"/>
                <a:gd name="connsiteY11" fmla="*/ 335666 h 370469"/>
                <a:gd name="connsiteX12" fmla="*/ 132523 w 337356"/>
                <a:gd name="connsiteY12" fmla="*/ 369004 h 370469"/>
                <a:gd name="connsiteX13" fmla="*/ 118235 w 337356"/>
                <a:gd name="connsiteY13" fmla="*/ 288041 h 370469"/>
                <a:gd name="connsiteX14" fmla="*/ 8698 w 337356"/>
                <a:gd name="connsiteY14" fmla="*/ 216604 h 370469"/>
                <a:gd name="connsiteX0" fmla="*/ 8698 w 337356"/>
                <a:gd name="connsiteY0" fmla="*/ 214987 h 368852"/>
                <a:gd name="connsiteX1" fmla="*/ 15842 w 337356"/>
                <a:gd name="connsiteY1" fmla="*/ 164980 h 368852"/>
                <a:gd name="connsiteX2" fmla="*/ 87279 w 337356"/>
                <a:gd name="connsiteY2" fmla="*/ 48299 h 368852"/>
                <a:gd name="connsiteX3" fmla="*/ 132524 w 337356"/>
                <a:gd name="connsiteY3" fmla="*/ 674 h 368852"/>
                <a:gd name="connsiteX4" fmla="*/ 182529 w 337356"/>
                <a:gd name="connsiteY4" fmla="*/ 24487 h 368852"/>
                <a:gd name="connsiteX5" fmla="*/ 253967 w 337356"/>
                <a:gd name="connsiteY5" fmla="*/ 81637 h 368852"/>
                <a:gd name="connsiteX6" fmla="*/ 330167 w 337356"/>
                <a:gd name="connsiteY6" fmla="*/ 72112 h 368852"/>
                <a:gd name="connsiteX7" fmla="*/ 332548 w 337356"/>
                <a:gd name="connsiteY7" fmla="*/ 150693 h 368852"/>
                <a:gd name="connsiteX8" fmla="*/ 315879 w 337356"/>
                <a:gd name="connsiteY8" fmla="*/ 214987 h 368852"/>
                <a:gd name="connsiteX9" fmla="*/ 265873 w 337356"/>
                <a:gd name="connsiteY9" fmla="*/ 276899 h 368852"/>
                <a:gd name="connsiteX10" fmla="*/ 211104 w 337356"/>
                <a:gd name="connsiteY10" fmla="*/ 334049 h 368852"/>
                <a:gd name="connsiteX11" fmla="*/ 132523 w 337356"/>
                <a:gd name="connsiteY11" fmla="*/ 367387 h 368852"/>
                <a:gd name="connsiteX12" fmla="*/ 118235 w 337356"/>
                <a:gd name="connsiteY12" fmla="*/ 286424 h 368852"/>
                <a:gd name="connsiteX13" fmla="*/ 8698 w 337356"/>
                <a:gd name="connsiteY13" fmla="*/ 214987 h 368852"/>
                <a:gd name="connsiteX0" fmla="*/ 7087 w 335745"/>
                <a:gd name="connsiteY0" fmla="*/ 214987 h 368852"/>
                <a:gd name="connsiteX1" fmla="*/ 18994 w 335745"/>
                <a:gd name="connsiteY1" fmla="*/ 148311 h 368852"/>
                <a:gd name="connsiteX2" fmla="*/ 85668 w 335745"/>
                <a:gd name="connsiteY2" fmla="*/ 48299 h 368852"/>
                <a:gd name="connsiteX3" fmla="*/ 130913 w 335745"/>
                <a:gd name="connsiteY3" fmla="*/ 674 h 368852"/>
                <a:gd name="connsiteX4" fmla="*/ 180918 w 335745"/>
                <a:gd name="connsiteY4" fmla="*/ 24487 h 368852"/>
                <a:gd name="connsiteX5" fmla="*/ 252356 w 335745"/>
                <a:gd name="connsiteY5" fmla="*/ 81637 h 368852"/>
                <a:gd name="connsiteX6" fmla="*/ 328556 w 335745"/>
                <a:gd name="connsiteY6" fmla="*/ 72112 h 368852"/>
                <a:gd name="connsiteX7" fmla="*/ 330937 w 335745"/>
                <a:gd name="connsiteY7" fmla="*/ 150693 h 368852"/>
                <a:gd name="connsiteX8" fmla="*/ 314268 w 335745"/>
                <a:gd name="connsiteY8" fmla="*/ 214987 h 368852"/>
                <a:gd name="connsiteX9" fmla="*/ 264262 w 335745"/>
                <a:gd name="connsiteY9" fmla="*/ 276899 h 368852"/>
                <a:gd name="connsiteX10" fmla="*/ 209493 w 335745"/>
                <a:gd name="connsiteY10" fmla="*/ 334049 h 368852"/>
                <a:gd name="connsiteX11" fmla="*/ 130912 w 335745"/>
                <a:gd name="connsiteY11" fmla="*/ 367387 h 368852"/>
                <a:gd name="connsiteX12" fmla="*/ 116624 w 335745"/>
                <a:gd name="connsiteY12" fmla="*/ 286424 h 368852"/>
                <a:gd name="connsiteX13" fmla="*/ 7087 w 335745"/>
                <a:gd name="connsiteY13" fmla="*/ 214987 h 368852"/>
                <a:gd name="connsiteX0" fmla="*/ 7087 w 335745"/>
                <a:gd name="connsiteY0" fmla="*/ 205462 h 368852"/>
                <a:gd name="connsiteX1" fmla="*/ 18994 w 335745"/>
                <a:gd name="connsiteY1" fmla="*/ 148311 h 368852"/>
                <a:gd name="connsiteX2" fmla="*/ 85668 w 335745"/>
                <a:gd name="connsiteY2" fmla="*/ 48299 h 368852"/>
                <a:gd name="connsiteX3" fmla="*/ 130913 w 335745"/>
                <a:gd name="connsiteY3" fmla="*/ 674 h 368852"/>
                <a:gd name="connsiteX4" fmla="*/ 180918 w 335745"/>
                <a:gd name="connsiteY4" fmla="*/ 24487 h 368852"/>
                <a:gd name="connsiteX5" fmla="*/ 252356 w 335745"/>
                <a:gd name="connsiteY5" fmla="*/ 81637 h 368852"/>
                <a:gd name="connsiteX6" fmla="*/ 328556 w 335745"/>
                <a:gd name="connsiteY6" fmla="*/ 72112 h 368852"/>
                <a:gd name="connsiteX7" fmla="*/ 330937 w 335745"/>
                <a:gd name="connsiteY7" fmla="*/ 150693 h 368852"/>
                <a:gd name="connsiteX8" fmla="*/ 314268 w 335745"/>
                <a:gd name="connsiteY8" fmla="*/ 214987 h 368852"/>
                <a:gd name="connsiteX9" fmla="*/ 264262 w 335745"/>
                <a:gd name="connsiteY9" fmla="*/ 276899 h 368852"/>
                <a:gd name="connsiteX10" fmla="*/ 209493 w 335745"/>
                <a:gd name="connsiteY10" fmla="*/ 334049 h 368852"/>
                <a:gd name="connsiteX11" fmla="*/ 130912 w 335745"/>
                <a:gd name="connsiteY11" fmla="*/ 367387 h 368852"/>
                <a:gd name="connsiteX12" fmla="*/ 116624 w 335745"/>
                <a:gd name="connsiteY12" fmla="*/ 286424 h 368852"/>
                <a:gd name="connsiteX13" fmla="*/ 7087 w 335745"/>
                <a:gd name="connsiteY13" fmla="*/ 205462 h 368852"/>
                <a:gd name="connsiteX0" fmla="*/ 9197 w 337855"/>
                <a:gd name="connsiteY0" fmla="*/ 205462 h 368852"/>
                <a:gd name="connsiteX1" fmla="*/ 21104 w 337855"/>
                <a:gd name="connsiteY1" fmla="*/ 148311 h 368852"/>
                <a:gd name="connsiteX2" fmla="*/ 87778 w 337855"/>
                <a:gd name="connsiteY2" fmla="*/ 48299 h 368852"/>
                <a:gd name="connsiteX3" fmla="*/ 133023 w 337855"/>
                <a:gd name="connsiteY3" fmla="*/ 674 h 368852"/>
                <a:gd name="connsiteX4" fmla="*/ 183028 w 337855"/>
                <a:gd name="connsiteY4" fmla="*/ 24487 h 368852"/>
                <a:gd name="connsiteX5" fmla="*/ 254466 w 337855"/>
                <a:gd name="connsiteY5" fmla="*/ 81637 h 368852"/>
                <a:gd name="connsiteX6" fmla="*/ 330666 w 337855"/>
                <a:gd name="connsiteY6" fmla="*/ 72112 h 368852"/>
                <a:gd name="connsiteX7" fmla="*/ 333047 w 337855"/>
                <a:gd name="connsiteY7" fmla="*/ 150693 h 368852"/>
                <a:gd name="connsiteX8" fmla="*/ 316378 w 337855"/>
                <a:gd name="connsiteY8" fmla="*/ 214987 h 368852"/>
                <a:gd name="connsiteX9" fmla="*/ 266372 w 337855"/>
                <a:gd name="connsiteY9" fmla="*/ 276899 h 368852"/>
                <a:gd name="connsiteX10" fmla="*/ 211603 w 337855"/>
                <a:gd name="connsiteY10" fmla="*/ 334049 h 368852"/>
                <a:gd name="connsiteX11" fmla="*/ 133022 w 337855"/>
                <a:gd name="connsiteY11" fmla="*/ 367387 h 368852"/>
                <a:gd name="connsiteX12" fmla="*/ 118734 w 337855"/>
                <a:gd name="connsiteY12" fmla="*/ 286424 h 368852"/>
                <a:gd name="connsiteX13" fmla="*/ 9197 w 337855"/>
                <a:gd name="connsiteY13" fmla="*/ 205462 h 368852"/>
                <a:gd name="connsiteX0" fmla="*/ 9197 w 337855"/>
                <a:gd name="connsiteY0" fmla="*/ 210102 h 373492"/>
                <a:gd name="connsiteX1" fmla="*/ 21104 w 337855"/>
                <a:gd name="connsiteY1" fmla="*/ 152951 h 373492"/>
                <a:gd name="connsiteX2" fmla="*/ 87778 w 337855"/>
                <a:gd name="connsiteY2" fmla="*/ 52939 h 373492"/>
                <a:gd name="connsiteX3" fmla="*/ 142548 w 337855"/>
                <a:gd name="connsiteY3" fmla="*/ 551 h 373492"/>
                <a:gd name="connsiteX4" fmla="*/ 183028 w 337855"/>
                <a:gd name="connsiteY4" fmla="*/ 29127 h 373492"/>
                <a:gd name="connsiteX5" fmla="*/ 254466 w 337855"/>
                <a:gd name="connsiteY5" fmla="*/ 86277 h 373492"/>
                <a:gd name="connsiteX6" fmla="*/ 330666 w 337855"/>
                <a:gd name="connsiteY6" fmla="*/ 76752 h 373492"/>
                <a:gd name="connsiteX7" fmla="*/ 333047 w 337855"/>
                <a:gd name="connsiteY7" fmla="*/ 155333 h 373492"/>
                <a:gd name="connsiteX8" fmla="*/ 316378 w 337855"/>
                <a:gd name="connsiteY8" fmla="*/ 219627 h 373492"/>
                <a:gd name="connsiteX9" fmla="*/ 266372 w 337855"/>
                <a:gd name="connsiteY9" fmla="*/ 281539 h 373492"/>
                <a:gd name="connsiteX10" fmla="*/ 211603 w 337855"/>
                <a:gd name="connsiteY10" fmla="*/ 338689 h 373492"/>
                <a:gd name="connsiteX11" fmla="*/ 133022 w 337855"/>
                <a:gd name="connsiteY11" fmla="*/ 372027 h 373492"/>
                <a:gd name="connsiteX12" fmla="*/ 118734 w 337855"/>
                <a:gd name="connsiteY12" fmla="*/ 291064 h 373492"/>
                <a:gd name="connsiteX13" fmla="*/ 9197 w 337855"/>
                <a:gd name="connsiteY13" fmla="*/ 210102 h 373492"/>
                <a:gd name="connsiteX0" fmla="*/ 9197 w 337855"/>
                <a:gd name="connsiteY0" fmla="*/ 212731 h 376121"/>
                <a:gd name="connsiteX1" fmla="*/ 21104 w 337855"/>
                <a:gd name="connsiteY1" fmla="*/ 155580 h 376121"/>
                <a:gd name="connsiteX2" fmla="*/ 87778 w 337855"/>
                <a:gd name="connsiteY2" fmla="*/ 55568 h 376121"/>
                <a:gd name="connsiteX3" fmla="*/ 142548 w 337855"/>
                <a:gd name="connsiteY3" fmla="*/ 3180 h 376121"/>
                <a:gd name="connsiteX4" fmla="*/ 183028 w 337855"/>
                <a:gd name="connsiteY4" fmla="*/ 31756 h 376121"/>
                <a:gd name="connsiteX5" fmla="*/ 254466 w 337855"/>
                <a:gd name="connsiteY5" fmla="*/ 88906 h 376121"/>
                <a:gd name="connsiteX6" fmla="*/ 330666 w 337855"/>
                <a:gd name="connsiteY6" fmla="*/ 79381 h 376121"/>
                <a:gd name="connsiteX7" fmla="*/ 333047 w 337855"/>
                <a:gd name="connsiteY7" fmla="*/ 157962 h 376121"/>
                <a:gd name="connsiteX8" fmla="*/ 316378 w 337855"/>
                <a:gd name="connsiteY8" fmla="*/ 222256 h 376121"/>
                <a:gd name="connsiteX9" fmla="*/ 266372 w 337855"/>
                <a:gd name="connsiteY9" fmla="*/ 284168 h 376121"/>
                <a:gd name="connsiteX10" fmla="*/ 211603 w 337855"/>
                <a:gd name="connsiteY10" fmla="*/ 341318 h 376121"/>
                <a:gd name="connsiteX11" fmla="*/ 133022 w 337855"/>
                <a:gd name="connsiteY11" fmla="*/ 374656 h 376121"/>
                <a:gd name="connsiteX12" fmla="*/ 118734 w 337855"/>
                <a:gd name="connsiteY12" fmla="*/ 293693 h 376121"/>
                <a:gd name="connsiteX13" fmla="*/ 9197 w 337855"/>
                <a:gd name="connsiteY13" fmla="*/ 212731 h 376121"/>
                <a:gd name="connsiteX0" fmla="*/ 9197 w 337855"/>
                <a:gd name="connsiteY0" fmla="*/ 210178 h 373568"/>
                <a:gd name="connsiteX1" fmla="*/ 21104 w 337855"/>
                <a:gd name="connsiteY1" fmla="*/ 153027 h 373568"/>
                <a:gd name="connsiteX2" fmla="*/ 87778 w 337855"/>
                <a:gd name="connsiteY2" fmla="*/ 53015 h 373568"/>
                <a:gd name="connsiteX3" fmla="*/ 142548 w 337855"/>
                <a:gd name="connsiteY3" fmla="*/ 627 h 373568"/>
                <a:gd name="connsiteX4" fmla="*/ 183028 w 337855"/>
                <a:gd name="connsiteY4" fmla="*/ 29203 h 373568"/>
                <a:gd name="connsiteX5" fmla="*/ 254466 w 337855"/>
                <a:gd name="connsiteY5" fmla="*/ 86353 h 373568"/>
                <a:gd name="connsiteX6" fmla="*/ 330666 w 337855"/>
                <a:gd name="connsiteY6" fmla="*/ 76828 h 373568"/>
                <a:gd name="connsiteX7" fmla="*/ 333047 w 337855"/>
                <a:gd name="connsiteY7" fmla="*/ 155409 h 373568"/>
                <a:gd name="connsiteX8" fmla="*/ 316378 w 337855"/>
                <a:gd name="connsiteY8" fmla="*/ 219703 h 373568"/>
                <a:gd name="connsiteX9" fmla="*/ 266372 w 337855"/>
                <a:gd name="connsiteY9" fmla="*/ 281615 h 373568"/>
                <a:gd name="connsiteX10" fmla="*/ 211603 w 337855"/>
                <a:gd name="connsiteY10" fmla="*/ 338765 h 373568"/>
                <a:gd name="connsiteX11" fmla="*/ 133022 w 337855"/>
                <a:gd name="connsiteY11" fmla="*/ 372103 h 373568"/>
                <a:gd name="connsiteX12" fmla="*/ 118734 w 337855"/>
                <a:gd name="connsiteY12" fmla="*/ 291140 h 373568"/>
                <a:gd name="connsiteX13" fmla="*/ 9197 w 337855"/>
                <a:gd name="connsiteY13" fmla="*/ 210178 h 373568"/>
                <a:gd name="connsiteX0" fmla="*/ 9197 w 336526"/>
                <a:gd name="connsiteY0" fmla="*/ 210178 h 373568"/>
                <a:gd name="connsiteX1" fmla="*/ 21104 w 336526"/>
                <a:gd name="connsiteY1" fmla="*/ 153027 h 373568"/>
                <a:gd name="connsiteX2" fmla="*/ 87778 w 336526"/>
                <a:gd name="connsiteY2" fmla="*/ 53015 h 373568"/>
                <a:gd name="connsiteX3" fmla="*/ 142548 w 336526"/>
                <a:gd name="connsiteY3" fmla="*/ 627 h 373568"/>
                <a:gd name="connsiteX4" fmla="*/ 183028 w 336526"/>
                <a:gd name="connsiteY4" fmla="*/ 29203 h 373568"/>
                <a:gd name="connsiteX5" fmla="*/ 273516 w 336526"/>
                <a:gd name="connsiteY5" fmla="*/ 93497 h 373568"/>
                <a:gd name="connsiteX6" fmla="*/ 330666 w 336526"/>
                <a:gd name="connsiteY6" fmla="*/ 76828 h 373568"/>
                <a:gd name="connsiteX7" fmla="*/ 333047 w 336526"/>
                <a:gd name="connsiteY7" fmla="*/ 155409 h 373568"/>
                <a:gd name="connsiteX8" fmla="*/ 316378 w 336526"/>
                <a:gd name="connsiteY8" fmla="*/ 219703 h 373568"/>
                <a:gd name="connsiteX9" fmla="*/ 266372 w 336526"/>
                <a:gd name="connsiteY9" fmla="*/ 281615 h 373568"/>
                <a:gd name="connsiteX10" fmla="*/ 211603 w 336526"/>
                <a:gd name="connsiteY10" fmla="*/ 338765 h 373568"/>
                <a:gd name="connsiteX11" fmla="*/ 133022 w 336526"/>
                <a:gd name="connsiteY11" fmla="*/ 372103 h 373568"/>
                <a:gd name="connsiteX12" fmla="*/ 118734 w 336526"/>
                <a:gd name="connsiteY12" fmla="*/ 291140 h 373568"/>
                <a:gd name="connsiteX13" fmla="*/ 9197 w 336526"/>
                <a:gd name="connsiteY13" fmla="*/ 210178 h 373568"/>
                <a:gd name="connsiteX0" fmla="*/ 9197 w 336526"/>
                <a:gd name="connsiteY0" fmla="*/ 210178 h 373568"/>
                <a:gd name="connsiteX1" fmla="*/ 21104 w 336526"/>
                <a:gd name="connsiteY1" fmla="*/ 153027 h 373568"/>
                <a:gd name="connsiteX2" fmla="*/ 87778 w 336526"/>
                <a:gd name="connsiteY2" fmla="*/ 53015 h 373568"/>
                <a:gd name="connsiteX3" fmla="*/ 142548 w 336526"/>
                <a:gd name="connsiteY3" fmla="*/ 627 h 373568"/>
                <a:gd name="connsiteX4" fmla="*/ 183028 w 336526"/>
                <a:gd name="connsiteY4" fmla="*/ 29203 h 373568"/>
                <a:gd name="connsiteX5" fmla="*/ 273516 w 336526"/>
                <a:gd name="connsiteY5" fmla="*/ 93497 h 373568"/>
                <a:gd name="connsiteX6" fmla="*/ 330666 w 336526"/>
                <a:gd name="connsiteY6" fmla="*/ 76828 h 373568"/>
                <a:gd name="connsiteX7" fmla="*/ 333047 w 336526"/>
                <a:gd name="connsiteY7" fmla="*/ 155409 h 373568"/>
                <a:gd name="connsiteX8" fmla="*/ 316378 w 336526"/>
                <a:gd name="connsiteY8" fmla="*/ 219703 h 373568"/>
                <a:gd name="connsiteX9" fmla="*/ 266372 w 336526"/>
                <a:gd name="connsiteY9" fmla="*/ 281615 h 373568"/>
                <a:gd name="connsiteX10" fmla="*/ 211603 w 336526"/>
                <a:gd name="connsiteY10" fmla="*/ 338765 h 373568"/>
                <a:gd name="connsiteX11" fmla="*/ 133022 w 336526"/>
                <a:gd name="connsiteY11" fmla="*/ 372103 h 373568"/>
                <a:gd name="connsiteX12" fmla="*/ 118734 w 336526"/>
                <a:gd name="connsiteY12" fmla="*/ 291140 h 373568"/>
                <a:gd name="connsiteX13" fmla="*/ 9197 w 336526"/>
                <a:gd name="connsiteY13" fmla="*/ 210178 h 373568"/>
                <a:gd name="connsiteX0" fmla="*/ 9197 w 336689"/>
                <a:gd name="connsiteY0" fmla="*/ 210178 h 373568"/>
                <a:gd name="connsiteX1" fmla="*/ 21104 w 336689"/>
                <a:gd name="connsiteY1" fmla="*/ 153027 h 373568"/>
                <a:gd name="connsiteX2" fmla="*/ 87778 w 336689"/>
                <a:gd name="connsiteY2" fmla="*/ 53015 h 373568"/>
                <a:gd name="connsiteX3" fmla="*/ 142548 w 336689"/>
                <a:gd name="connsiteY3" fmla="*/ 627 h 373568"/>
                <a:gd name="connsiteX4" fmla="*/ 183028 w 336689"/>
                <a:gd name="connsiteY4" fmla="*/ 29203 h 373568"/>
                <a:gd name="connsiteX5" fmla="*/ 271135 w 336689"/>
                <a:gd name="connsiteY5" fmla="*/ 81590 h 373568"/>
                <a:gd name="connsiteX6" fmla="*/ 330666 w 336689"/>
                <a:gd name="connsiteY6" fmla="*/ 76828 h 373568"/>
                <a:gd name="connsiteX7" fmla="*/ 333047 w 336689"/>
                <a:gd name="connsiteY7" fmla="*/ 155409 h 373568"/>
                <a:gd name="connsiteX8" fmla="*/ 316378 w 336689"/>
                <a:gd name="connsiteY8" fmla="*/ 219703 h 373568"/>
                <a:gd name="connsiteX9" fmla="*/ 266372 w 336689"/>
                <a:gd name="connsiteY9" fmla="*/ 281615 h 373568"/>
                <a:gd name="connsiteX10" fmla="*/ 211603 w 336689"/>
                <a:gd name="connsiteY10" fmla="*/ 338765 h 373568"/>
                <a:gd name="connsiteX11" fmla="*/ 133022 w 336689"/>
                <a:gd name="connsiteY11" fmla="*/ 372103 h 373568"/>
                <a:gd name="connsiteX12" fmla="*/ 118734 w 336689"/>
                <a:gd name="connsiteY12" fmla="*/ 291140 h 373568"/>
                <a:gd name="connsiteX13" fmla="*/ 9197 w 336689"/>
                <a:gd name="connsiteY13" fmla="*/ 210178 h 373568"/>
                <a:gd name="connsiteX0" fmla="*/ 9197 w 336689"/>
                <a:gd name="connsiteY0" fmla="*/ 210178 h 373568"/>
                <a:gd name="connsiteX1" fmla="*/ 21104 w 336689"/>
                <a:gd name="connsiteY1" fmla="*/ 153027 h 373568"/>
                <a:gd name="connsiteX2" fmla="*/ 87778 w 336689"/>
                <a:gd name="connsiteY2" fmla="*/ 53015 h 373568"/>
                <a:gd name="connsiteX3" fmla="*/ 142548 w 336689"/>
                <a:gd name="connsiteY3" fmla="*/ 627 h 373568"/>
                <a:gd name="connsiteX4" fmla="*/ 183028 w 336689"/>
                <a:gd name="connsiteY4" fmla="*/ 29203 h 373568"/>
                <a:gd name="connsiteX5" fmla="*/ 271135 w 336689"/>
                <a:gd name="connsiteY5" fmla="*/ 81590 h 373568"/>
                <a:gd name="connsiteX6" fmla="*/ 330666 w 336689"/>
                <a:gd name="connsiteY6" fmla="*/ 76828 h 373568"/>
                <a:gd name="connsiteX7" fmla="*/ 333047 w 336689"/>
                <a:gd name="connsiteY7" fmla="*/ 155409 h 373568"/>
                <a:gd name="connsiteX8" fmla="*/ 316378 w 336689"/>
                <a:gd name="connsiteY8" fmla="*/ 219703 h 373568"/>
                <a:gd name="connsiteX9" fmla="*/ 266372 w 336689"/>
                <a:gd name="connsiteY9" fmla="*/ 281615 h 373568"/>
                <a:gd name="connsiteX10" fmla="*/ 211603 w 336689"/>
                <a:gd name="connsiteY10" fmla="*/ 338765 h 373568"/>
                <a:gd name="connsiteX11" fmla="*/ 133022 w 336689"/>
                <a:gd name="connsiteY11" fmla="*/ 372103 h 373568"/>
                <a:gd name="connsiteX12" fmla="*/ 118734 w 336689"/>
                <a:gd name="connsiteY12" fmla="*/ 291140 h 373568"/>
                <a:gd name="connsiteX13" fmla="*/ 9197 w 336689"/>
                <a:gd name="connsiteY13" fmla="*/ 210178 h 373568"/>
                <a:gd name="connsiteX0" fmla="*/ 9197 w 336689"/>
                <a:gd name="connsiteY0" fmla="*/ 210178 h 373519"/>
                <a:gd name="connsiteX1" fmla="*/ 21104 w 336689"/>
                <a:gd name="connsiteY1" fmla="*/ 153027 h 373519"/>
                <a:gd name="connsiteX2" fmla="*/ 87778 w 336689"/>
                <a:gd name="connsiteY2" fmla="*/ 53015 h 373519"/>
                <a:gd name="connsiteX3" fmla="*/ 142548 w 336689"/>
                <a:gd name="connsiteY3" fmla="*/ 627 h 373519"/>
                <a:gd name="connsiteX4" fmla="*/ 183028 w 336689"/>
                <a:gd name="connsiteY4" fmla="*/ 29203 h 373519"/>
                <a:gd name="connsiteX5" fmla="*/ 271135 w 336689"/>
                <a:gd name="connsiteY5" fmla="*/ 81590 h 373519"/>
                <a:gd name="connsiteX6" fmla="*/ 330666 w 336689"/>
                <a:gd name="connsiteY6" fmla="*/ 76828 h 373519"/>
                <a:gd name="connsiteX7" fmla="*/ 333047 w 336689"/>
                <a:gd name="connsiteY7" fmla="*/ 155409 h 373519"/>
                <a:gd name="connsiteX8" fmla="*/ 316378 w 336689"/>
                <a:gd name="connsiteY8" fmla="*/ 219703 h 373519"/>
                <a:gd name="connsiteX9" fmla="*/ 266372 w 336689"/>
                <a:gd name="connsiteY9" fmla="*/ 288759 h 373519"/>
                <a:gd name="connsiteX10" fmla="*/ 211603 w 336689"/>
                <a:gd name="connsiteY10" fmla="*/ 338765 h 373519"/>
                <a:gd name="connsiteX11" fmla="*/ 133022 w 336689"/>
                <a:gd name="connsiteY11" fmla="*/ 372103 h 373519"/>
                <a:gd name="connsiteX12" fmla="*/ 118734 w 336689"/>
                <a:gd name="connsiteY12" fmla="*/ 291140 h 373519"/>
                <a:gd name="connsiteX13" fmla="*/ 9197 w 336689"/>
                <a:gd name="connsiteY13" fmla="*/ 210178 h 373519"/>
                <a:gd name="connsiteX0" fmla="*/ 9197 w 341359"/>
                <a:gd name="connsiteY0" fmla="*/ 210178 h 373519"/>
                <a:gd name="connsiteX1" fmla="*/ 21104 w 341359"/>
                <a:gd name="connsiteY1" fmla="*/ 153027 h 373519"/>
                <a:gd name="connsiteX2" fmla="*/ 87778 w 341359"/>
                <a:gd name="connsiteY2" fmla="*/ 53015 h 373519"/>
                <a:gd name="connsiteX3" fmla="*/ 142548 w 341359"/>
                <a:gd name="connsiteY3" fmla="*/ 627 h 373519"/>
                <a:gd name="connsiteX4" fmla="*/ 183028 w 341359"/>
                <a:gd name="connsiteY4" fmla="*/ 29203 h 373519"/>
                <a:gd name="connsiteX5" fmla="*/ 271135 w 341359"/>
                <a:gd name="connsiteY5" fmla="*/ 81590 h 373519"/>
                <a:gd name="connsiteX6" fmla="*/ 330666 w 341359"/>
                <a:gd name="connsiteY6" fmla="*/ 76828 h 373519"/>
                <a:gd name="connsiteX7" fmla="*/ 340191 w 341359"/>
                <a:gd name="connsiteY7" fmla="*/ 153028 h 373519"/>
                <a:gd name="connsiteX8" fmla="*/ 316378 w 341359"/>
                <a:gd name="connsiteY8" fmla="*/ 219703 h 373519"/>
                <a:gd name="connsiteX9" fmla="*/ 266372 w 341359"/>
                <a:gd name="connsiteY9" fmla="*/ 288759 h 373519"/>
                <a:gd name="connsiteX10" fmla="*/ 211603 w 341359"/>
                <a:gd name="connsiteY10" fmla="*/ 338765 h 373519"/>
                <a:gd name="connsiteX11" fmla="*/ 133022 w 341359"/>
                <a:gd name="connsiteY11" fmla="*/ 372103 h 373519"/>
                <a:gd name="connsiteX12" fmla="*/ 118734 w 341359"/>
                <a:gd name="connsiteY12" fmla="*/ 291140 h 373519"/>
                <a:gd name="connsiteX13" fmla="*/ 9197 w 341359"/>
                <a:gd name="connsiteY13" fmla="*/ 210178 h 373519"/>
                <a:gd name="connsiteX0" fmla="*/ 3930 w 336092"/>
                <a:gd name="connsiteY0" fmla="*/ 210178 h 373519"/>
                <a:gd name="connsiteX1" fmla="*/ 15837 w 336092"/>
                <a:gd name="connsiteY1" fmla="*/ 153027 h 373519"/>
                <a:gd name="connsiteX2" fmla="*/ 82511 w 336092"/>
                <a:gd name="connsiteY2" fmla="*/ 53015 h 373519"/>
                <a:gd name="connsiteX3" fmla="*/ 137281 w 336092"/>
                <a:gd name="connsiteY3" fmla="*/ 627 h 373519"/>
                <a:gd name="connsiteX4" fmla="*/ 177761 w 336092"/>
                <a:gd name="connsiteY4" fmla="*/ 29203 h 373519"/>
                <a:gd name="connsiteX5" fmla="*/ 265868 w 336092"/>
                <a:gd name="connsiteY5" fmla="*/ 81590 h 373519"/>
                <a:gd name="connsiteX6" fmla="*/ 325399 w 336092"/>
                <a:gd name="connsiteY6" fmla="*/ 76828 h 373519"/>
                <a:gd name="connsiteX7" fmla="*/ 334924 w 336092"/>
                <a:gd name="connsiteY7" fmla="*/ 153028 h 373519"/>
                <a:gd name="connsiteX8" fmla="*/ 311111 w 336092"/>
                <a:gd name="connsiteY8" fmla="*/ 219703 h 373519"/>
                <a:gd name="connsiteX9" fmla="*/ 261105 w 336092"/>
                <a:gd name="connsiteY9" fmla="*/ 288759 h 373519"/>
                <a:gd name="connsiteX10" fmla="*/ 206336 w 336092"/>
                <a:gd name="connsiteY10" fmla="*/ 338765 h 373519"/>
                <a:gd name="connsiteX11" fmla="*/ 127755 w 336092"/>
                <a:gd name="connsiteY11" fmla="*/ 372103 h 373519"/>
                <a:gd name="connsiteX12" fmla="*/ 113467 w 336092"/>
                <a:gd name="connsiteY12" fmla="*/ 291140 h 373519"/>
                <a:gd name="connsiteX13" fmla="*/ 3930 w 336092"/>
                <a:gd name="connsiteY13" fmla="*/ 210178 h 373519"/>
                <a:gd name="connsiteX0" fmla="*/ 3930 w 339449"/>
                <a:gd name="connsiteY0" fmla="*/ 210178 h 373519"/>
                <a:gd name="connsiteX1" fmla="*/ 15837 w 339449"/>
                <a:gd name="connsiteY1" fmla="*/ 153027 h 373519"/>
                <a:gd name="connsiteX2" fmla="*/ 82511 w 339449"/>
                <a:gd name="connsiteY2" fmla="*/ 53015 h 373519"/>
                <a:gd name="connsiteX3" fmla="*/ 137281 w 339449"/>
                <a:gd name="connsiteY3" fmla="*/ 627 h 373519"/>
                <a:gd name="connsiteX4" fmla="*/ 177761 w 339449"/>
                <a:gd name="connsiteY4" fmla="*/ 29203 h 373519"/>
                <a:gd name="connsiteX5" fmla="*/ 265868 w 339449"/>
                <a:gd name="connsiteY5" fmla="*/ 81590 h 373519"/>
                <a:gd name="connsiteX6" fmla="*/ 332543 w 339449"/>
                <a:gd name="connsiteY6" fmla="*/ 72065 h 373519"/>
                <a:gd name="connsiteX7" fmla="*/ 334924 w 339449"/>
                <a:gd name="connsiteY7" fmla="*/ 153028 h 373519"/>
                <a:gd name="connsiteX8" fmla="*/ 311111 w 339449"/>
                <a:gd name="connsiteY8" fmla="*/ 219703 h 373519"/>
                <a:gd name="connsiteX9" fmla="*/ 261105 w 339449"/>
                <a:gd name="connsiteY9" fmla="*/ 288759 h 373519"/>
                <a:gd name="connsiteX10" fmla="*/ 206336 w 339449"/>
                <a:gd name="connsiteY10" fmla="*/ 338765 h 373519"/>
                <a:gd name="connsiteX11" fmla="*/ 127755 w 339449"/>
                <a:gd name="connsiteY11" fmla="*/ 372103 h 373519"/>
                <a:gd name="connsiteX12" fmla="*/ 113467 w 339449"/>
                <a:gd name="connsiteY12" fmla="*/ 291140 h 373519"/>
                <a:gd name="connsiteX13" fmla="*/ 3930 w 339449"/>
                <a:gd name="connsiteY13" fmla="*/ 210178 h 373519"/>
                <a:gd name="connsiteX0" fmla="*/ 3930 w 340140"/>
                <a:gd name="connsiteY0" fmla="*/ 210178 h 373519"/>
                <a:gd name="connsiteX1" fmla="*/ 15837 w 340140"/>
                <a:gd name="connsiteY1" fmla="*/ 153027 h 373519"/>
                <a:gd name="connsiteX2" fmla="*/ 82511 w 340140"/>
                <a:gd name="connsiteY2" fmla="*/ 53015 h 373519"/>
                <a:gd name="connsiteX3" fmla="*/ 137281 w 340140"/>
                <a:gd name="connsiteY3" fmla="*/ 627 h 373519"/>
                <a:gd name="connsiteX4" fmla="*/ 177761 w 340140"/>
                <a:gd name="connsiteY4" fmla="*/ 29203 h 373519"/>
                <a:gd name="connsiteX5" fmla="*/ 265868 w 340140"/>
                <a:gd name="connsiteY5" fmla="*/ 81590 h 373519"/>
                <a:gd name="connsiteX6" fmla="*/ 332543 w 340140"/>
                <a:gd name="connsiteY6" fmla="*/ 72065 h 373519"/>
                <a:gd name="connsiteX7" fmla="*/ 334924 w 340140"/>
                <a:gd name="connsiteY7" fmla="*/ 153028 h 373519"/>
                <a:gd name="connsiteX8" fmla="*/ 299205 w 340140"/>
                <a:gd name="connsiteY8" fmla="*/ 236372 h 373519"/>
                <a:gd name="connsiteX9" fmla="*/ 261105 w 340140"/>
                <a:gd name="connsiteY9" fmla="*/ 288759 h 373519"/>
                <a:gd name="connsiteX10" fmla="*/ 206336 w 340140"/>
                <a:gd name="connsiteY10" fmla="*/ 338765 h 373519"/>
                <a:gd name="connsiteX11" fmla="*/ 127755 w 340140"/>
                <a:gd name="connsiteY11" fmla="*/ 372103 h 373519"/>
                <a:gd name="connsiteX12" fmla="*/ 113467 w 340140"/>
                <a:gd name="connsiteY12" fmla="*/ 291140 h 373519"/>
                <a:gd name="connsiteX13" fmla="*/ 3930 w 340140"/>
                <a:gd name="connsiteY13" fmla="*/ 210178 h 373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0140" h="373519">
                  <a:moveTo>
                    <a:pt x="3930" y="210178"/>
                  </a:moveTo>
                  <a:cubicBezTo>
                    <a:pt x="-5199" y="199066"/>
                    <a:pt x="2740" y="179221"/>
                    <a:pt x="15837" y="153027"/>
                  </a:cubicBezTo>
                  <a:cubicBezTo>
                    <a:pt x="28934" y="126833"/>
                    <a:pt x="62270" y="78415"/>
                    <a:pt x="82511" y="53015"/>
                  </a:cubicBezTo>
                  <a:cubicBezTo>
                    <a:pt x="102752" y="27615"/>
                    <a:pt x="128549" y="-4929"/>
                    <a:pt x="137281" y="627"/>
                  </a:cubicBezTo>
                  <a:cubicBezTo>
                    <a:pt x="146013" y="6183"/>
                    <a:pt x="156330" y="15709"/>
                    <a:pt x="177761" y="29203"/>
                  </a:cubicBezTo>
                  <a:cubicBezTo>
                    <a:pt x="199192" y="42697"/>
                    <a:pt x="240071" y="74446"/>
                    <a:pt x="265868" y="81590"/>
                  </a:cubicBezTo>
                  <a:cubicBezTo>
                    <a:pt x="291665" y="88734"/>
                    <a:pt x="321034" y="60159"/>
                    <a:pt x="332543" y="72065"/>
                  </a:cubicBezTo>
                  <a:cubicBezTo>
                    <a:pt x="344052" y="83971"/>
                    <a:pt x="340480" y="125644"/>
                    <a:pt x="334924" y="153028"/>
                  </a:cubicBezTo>
                  <a:cubicBezTo>
                    <a:pt x="329368" y="180413"/>
                    <a:pt x="311508" y="213750"/>
                    <a:pt x="299205" y="236372"/>
                  </a:cubicBezTo>
                  <a:cubicBezTo>
                    <a:pt x="286902" y="258994"/>
                    <a:pt x="276583" y="271694"/>
                    <a:pt x="261105" y="288759"/>
                  </a:cubicBezTo>
                  <a:cubicBezTo>
                    <a:pt x="245627" y="305824"/>
                    <a:pt x="228561" y="324874"/>
                    <a:pt x="206336" y="338765"/>
                  </a:cubicBezTo>
                  <a:cubicBezTo>
                    <a:pt x="184111" y="352656"/>
                    <a:pt x="143233" y="380040"/>
                    <a:pt x="127755" y="372103"/>
                  </a:cubicBezTo>
                  <a:cubicBezTo>
                    <a:pt x="112277" y="364166"/>
                    <a:pt x="134105" y="318128"/>
                    <a:pt x="113467" y="291140"/>
                  </a:cubicBezTo>
                  <a:cubicBezTo>
                    <a:pt x="92829" y="264152"/>
                    <a:pt x="13059" y="221290"/>
                    <a:pt x="3930" y="210178"/>
                  </a:cubicBezTo>
                  <a:close/>
                </a:path>
              </a:pathLst>
            </a:custGeom>
            <a:solidFill>
              <a:schemeClr val="accent6">
                <a:lumMod val="75000"/>
                <a:alpha val="70000"/>
              </a:schemeClr>
            </a:solidFill>
            <a:ln w="12700">
              <a:solidFill>
                <a:schemeClr val="accent6">
                  <a:lumMod val="7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2" name="Прямоугольник 19"/>
          <p:cNvSpPr/>
          <p:nvPr/>
        </p:nvSpPr>
        <p:spPr>
          <a:xfrm>
            <a:off x="9045007" y="1550297"/>
            <a:ext cx="775633" cy="721676"/>
          </a:xfrm>
          <a:custGeom>
            <a:avLst/>
            <a:gdLst>
              <a:gd name="connsiteX0" fmla="*/ 0 w 971600"/>
              <a:gd name="connsiteY0" fmla="*/ 0 h 860334"/>
              <a:gd name="connsiteX1" fmla="*/ 971600 w 971600"/>
              <a:gd name="connsiteY1" fmla="*/ 0 h 860334"/>
              <a:gd name="connsiteX2" fmla="*/ 971600 w 971600"/>
              <a:gd name="connsiteY2" fmla="*/ 860334 h 860334"/>
              <a:gd name="connsiteX3" fmla="*/ 0 w 971600"/>
              <a:gd name="connsiteY3" fmla="*/ 860334 h 860334"/>
              <a:gd name="connsiteX4" fmla="*/ 0 w 971600"/>
              <a:gd name="connsiteY4" fmla="*/ 0 h 860334"/>
              <a:gd name="connsiteX0" fmla="*/ 0 w 971600"/>
              <a:gd name="connsiteY0" fmla="*/ 860334 h 860334"/>
              <a:gd name="connsiteX1" fmla="*/ 971600 w 971600"/>
              <a:gd name="connsiteY1" fmla="*/ 0 h 860334"/>
              <a:gd name="connsiteX2" fmla="*/ 971600 w 971600"/>
              <a:gd name="connsiteY2" fmla="*/ 860334 h 860334"/>
              <a:gd name="connsiteX3" fmla="*/ 0 w 971600"/>
              <a:gd name="connsiteY3" fmla="*/ 860334 h 860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1600" h="860334">
                <a:moveTo>
                  <a:pt x="0" y="860334"/>
                </a:moveTo>
                <a:lnTo>
                  <a:pt x="971600" y="0"/>
                </a:lnTo>
                <a:lnTo>
                  <a:pt x="971600" y="860334"/>
                </a:lnTo>
                <a:lnTo>
                  <a:pt x="0" y="860334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3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37"/>
          <a:stretch>
            <a:fillRect/>
          </a:stretch>
        </p:blipFill>
        <p:spPr bwMode="auto">
          <a:xfrm>
            <a:off x="7338970" y="1342649"/>
            <a:ext cx="2314348" cy="1479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4" name="Picture 2" descr="C:\Users\amarat\Desktop\bie\FINAL BOOK NO CROP MARKS-193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10" t="29414" r="9346" b="14217"/>
          <a:stretch/>
        </p:blipFill>
        <p:spPr bwMode="auto">
          <a:xfrm>
            <a:off x="2541645" y="1350576"/>
            <a:ext cx="4620840" cy="1478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6" name="Группа 135"/>
          <p:cNvGrpSpPr/>
          <p:nvPr/>
        </p:nvGrpSpPr>
        <p:grpSpPr>
          <a:xfrm>
            <a:off x="2541643" y="2944324"/>
            <a:ext cx="5783598" cy="2095165"/>
            <a:chOff x="212119" y="2574347"/>
            <a:chExt cx="7079269" cy="2497715"/>
          </a:xfrm>
        </p:grpSpPr>
        <p:pic>
          <p:nvPicPr>
            <p:cNvPr id="137" name="Рисунок 136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2119" y="2574347"/>
              <a:ext cx="4139953" cy="2309974"/>
            </a:xfrm>
            <a:prstGeom prst="rect">
              <a:avLst/>
            </a:prstGeom>
          </p:spPr>
        </p:pic>
        <p:sp>
          <p:nvSpPr>
            <p:cNvPr id="138" name="Полилиния 137"/>
            <p:cNvSpPr/>
            <p:nvPr/>
          </p:nvSpPr>
          <p:spPr>
            <a:xfrm>
              <a:off x="6934200" y="4781550"/>
              <a:ext cx="357188" cy="290512"/>
            </a:xfrm>
            <a:custGeom>
              <a:avLst/>
              <a:gdLst>
                <a:gd name="connsiteX0" fmla="*/ 95250 w 361950"/>
                <a:gd name="connsiteY0" fmla="*/ 88106 h 278606"/>
                <a:gd name="connsiteX1" fmla="*/ 159543 w 361950"/>
                <a:gd name="connsiteY1" fmla="*/ 52388 h 278606"/>
                <a:gd name="connsiteX2" fmla="*/ 195262 w 361950"/>
                <a:gd name="connsiteY2" fmla="*/ 19050 h 278606"/>
                <a:gd name="connsiteX3" fmla="*/ 228600 w 361950"/>
                <a:gd name="connsiteY3" fmla="*/ 0 h 278606"/>
                <a:gd name="connsiteX4" fmla="*/ 292893 w 361950"/>
                <a:gd name="connsiteY4" fmla="*/ 11906 h 278606"/>
                <a:gd name="connsiteX5" fmla="*/ 342900 w 361950"/>
                <a:gd name="connsiteY5" fmla="*/ 38100 h 278606"/>
                <a:gd name="connsiteX6" fmla="*/ 361950 w 361950"/>
                <a:gd name="connsiteY6" fmla="*/ 61913 h 278606"/>
                <a:gd name="connsiteX7" fmla="*/ 350043 w 361950"/>
                <a:gd name="connsiteY7" fmla="*/ 109538 h 278606"/>
                <a:gd name="connsiteX8" fmla="*/ 304800 w 361950"/>
                <a:gd name="connsiteY8" fmla="*/ 150019 h 278606"/>
                <a:gd name="connsiteX9" fmla="*/ 245268 w 361950"/>
                <a:gd name="connsiteY9" fmla="*/ 197644 h 278606"/>
                <a:gd name="connsiteX10" fmla="*/ 195262 w 361950"/>
                <a:gd name="connsiteY10" fmla="*/ 226219 h 278606"/>
                <a:gd name="connsiteX11" fmla="*/ 123825 w 361950"/>
                <a:gd name="connsiteY11" fmla="*/ 266700 h 278606"/>
                <a:gd name="connsiteX12" fmla="*/ 80962 w 361950"/>
                <a:gd name="connsiteY12" fmla="*/ 278606 h 278606"/>
                <a:gd name="connsiteX13" fmla="*/ 14287 w 361950"/>
                <a:gd name="connsiteY13" fmla="*/ 269081 h 278606"/>
                <a:gd name="connsiteX14" fmla="*/ 0 w 361950"/>
                <a:gd name="connsiteY14" fmla="*/ 214313 h 278606"/>
                <a:gd name="connsiteX15" fmla="*/ 7143 w 361950"/>
                <a:gd name="connsiteY15" fmla="*/ 176213 h 278606"/>
                <a:gd name="connsiteX16" fmla="*/ 26193 w 361950"/>
                <a:gd name="connsiteY16" fmla="*/ 126206 h 278606"/>
                <a:gd name="connsiteX17" fmla="*/ 95250 w 361950"/>
                <a:gd name="connsiteY17" fmla="*/ 88106 h 278606"/>
                <a:gd name="connsiteX0" fmla="*/ 95250 w 361950"/>
                <a:gd name="connsiteY0" fmla="*/ 88106 h 278606"/>
                <a:gd name="connsiteX1" fmla="*/ 159543 w 361950"/>
                <a:gd name="connsiteY1" fmla="*/ 52388 h 278606"/>
                <a:gd name="connsiteX2" fmla="*/ 195262 w 361950"/>
                <a:gd name="connsiteY2" fmla="*/ 19050 h 278606"/>
                <a:gd name="connsiteX3" fmla="*/ 228600 w 361950"/>
                <a:gd name="connsiteY3" fmla="*/ 0 h 278606"/>
                <a:gd name="connsiteX4" fmla="*/ 292893 w 361950"/>
                <a:gd name="connsiteY4" fmla="*/ 11906 h 278606"/>
                <a:gd name="connsiteX5" fmla="*/ 342900 w 361950"/>
                <a:gd name="connsiteY5" fmla="*/ 38100 h 278606"/>
                <a:gd name="connsiteX6" fmla="*/ 361950 w 361950"/>
                <a:gd name="connsiteY6" fmla="*/ 61913 h 278606"/>
                <a:gd name="connsiteX7" fmla="*/ 350043 w 361950"/>
                <a:gd name="connsiteY7" fmla="*/ 109538 h 278606"/>
                <a:gd name="connsiteX8" fmla="*/ 304800 w 361950"/>
                <a:gd name="connsiteY8" fmla="*/ 150019 h 278606"/>
                <a:gd name="connsiteX9" fmla="*/ 245268 w 361950"/>
                <a:gd name="connsiteY9" fmla="*/ 197644 h 278606"/>
                <a:gd name="connsiteX10" fmla="*/ 195262 w 361950"/>
                <a:gd name="connsiteY10" fmla="*/ 226219 h 278606"/>
                <a:gd name="connsiteX11" fmla="*/ 123825 w 361950"/>
                <a:gd name="connsiteY11" fmla="*/ 266700 h 278606"/>
                <a:gd name="connsiteX12" fmla="*/ 80962 w 361950"/>
                <a:gd name="connsiteY12" fmla="*/ 278606 h 278606"/>
                <a:gd name="connsiteX13" fmla="*/ 14287 w 361950"/>
                <a:gd name="connsiteY13" fmla="*/ 269081 h 278606"/>
                <a:gd name="connsiteX14" fmla="*/ 0 w 361950"/>
                <a:gd name="connsiteY14" fmla="*/ 214313 h 278606"/>
                <a:gd name="connsiteX15" fmla="*/ 7143 w 361950"/>
                <a:gd name="connsiteY15" fmla="*/ 176213 h 278606"/>
                <a:gd name="connsiteX16" fmla="*/ 30956 w 361950"/>
                <a:gd name="connsiteY16" fmla="*/ 121443 h 278606"/>
                <a:gd name="connsiteX17" fmla="*/ 95250 w 361950"/>
                <a:gd name="connsiteY17" fmla="*/ 88106 h 278606"/>
                <a:gd name="connsiteX0" fmla="*/ 90488 w 357188"/>
                <a:gd name="connsiteY0" fmla="*/ 88106 h 278606"/>
                <a:gd name="connsiteX1" fmla="*/ 154781 w 357188"/>
                <a:gd name="connsiteY1" fmla="*/ 52388 h 278606"/>
                <a:gd name="connsiteX2" fmla="*/ 190500 w 357188"/>
                <a:gd name="connsiteY2" fmla="*/ 19050 h 278606"/>
                <a:gd name="connsiteX3" fmla="*/ 223838 w 357188"/>
                <a:gd name="connsiteY3" fmla="*/ 0 h 278606"/>
                <a:gd name="connsiteX4" fmla="*/ 288131 w 357188"/>
                <a:gd name="connsiteY4" fmla="*/ 11906 h 278606"/>
                <a:gd name="connsiteX5" fmla="*/ 338138 w 357188"/>
                <a:gd name="connsiteY5" fmla="*/ 38100 h 278606"/>
                <a:gd name="connsiteX6" fmla="*/ 357188 w 357188"/>
                <a:gd name="connsiteY6" fmla="*/ 61913 h 278606"/>
                <a:gd name="connsiteX7" fmla="*/ 345281 w 357188"/>
                <a:gd name="connsiteY7" fmla="*/ 109538 h 278606"/>
                <a:gd name="connsiteX8" fmla="*/ 300038 w 357188"/>
                <a:gd name="connsiteY8" fmla="*/ 150019 h 278606"/>
                <a:gd name="connsiteX9" fmla="*/ 240506 w 357188"/>
                <a:gd name="connsiteY9" fmla="*/ 197644 h 278606"/>
                <a:gd name="connsiteX10" fmla="*/ 190500 w 357188"/>
                <a:gd name="connsiteY10" fmla="*/ 226219 h 278606"/>
                <a:gd name="connsiteX11" fmla="*/ 119063 w 357188"/>
                <a:gd name="connsiteY11" fmla="*/ 266700 h 278606"/>
                <a:gd name="connsiteX12" fmla="*/ 76200 w 357188"/>
                <a:gd name="connsiteY12" fmla="*/ 278606 h 278606"/>
                <a:gd name="connsiteX13" fmla="*/ 9525 w 357188"/>
                <a:gd name="connsiteY13" fmla="*/ 269081 h 278606"/>
                <a:gd name="connsiteX14" fmla="*/ 0 w 357188"/>
                <a:gd name="connsiteY14" fmla="*/ 230981 h 278606"/>
                <a:gd name="connsiteX15" fmla="*/ 2381 w 357188"/>
                <a:gd name="connsiteY15" fmla="*/ 176213 h 278606"/>
                <a:gd name="connsiteX16" fmla="*/ 26194 w 357188"/>
                <a:gd name="connsiteY16" fmla="*/ 121443 h 278606"/>
                <a:gd name="connsiteX17" fmla="*/ 90488 w 357188"/>
                <a:gd name="connsiteY17" fmla="*/ 88106 h 278606"/>
                <a:gd name="connsiteX0" fmla="*/ 90488 w 357188"/>
                <a:gd name="connsiteY0" fmla="*/ 88106 h 278606"/>
                <a:gd name="connsiteX1" fmla="*/ 154781 w 357188"/>
                <a:gd name="connsiteY1" fmla="*/ 52388 h 278606"/>
                <a:gd name="connsiteX2" fmla="*/ 190500 w 357188"/>
                <a:gd name="connsiteY2" fmla="*/ 19050 h 278606"/>
                <a:gd name="connsiteX3" fmla="*/ 223838 w 357188"/>
                <a:gd name="connsiteY3" fmla="*/ 0 h 278606"/>
                <a:gd name="connsiteX4" fmla="*/ 288131 w 357188"/>
                <a:gd name="connsiteY4" fmla="*/ 11906 h 278606"/>
                <a:gd name="connsiteX5" fmla="*/ 338138 w 357188"/>
                <a:gd name="connsiteY5" fmla="*/ 38100 h 278606"/>
                <a:gd name="connsiteX6" fmla="*/ 357188 w 357188"/>
                <a:gd name="connsiteY6" fmla="*/ 61913 h 278606"/>
                <a:gd name="connsiteX7" fmla="*/ 345281 w 357188"/>
                <a:gd name="connsiteY7" fmla="*/ 109538 h 278606"/>
                <a:gd name="connsiteX8" fmla="*/ 300038 w 357188"/>
                <a:gd name="connsiteY8" fmla="*/ 150019 h 278606"/>
                <a:gd name="connsiteX9" fmla="*/ 240506 w 357188"/>
                <a:gd name="connsiteY9" fmla="*/ 197644 h 278606"/>
                <a:gd name="connsiteX10" fmla="*/ 190500 w 357188"/>
                <a:gd name="connsiteY10" fmla="*/ 226219 h 278606"/>
                <a:gd name="connsiteX11" fmla="*/ 119063 w 357188"/>
                <a:gd name="connsiteY11" fmla="*/ 266700 h 278606"/>
                <a:gd name="connsiteX12" fmla="*/ 76200 w 357188"/>
                <a:gd name="connsiteY12" fmla="*/ 278606 h 278606"/>
                <a:gd name="connsiteX13" fmla="*/ 9525 w 357188"/>
                <a:gd name="connsiteY13" fmla="*/ 269081 h 278606"/>
                <a:gd name="connsiteX14" fmla="*/ 0 w 357188"/>
                <a:gd name="connsiteY14" fmla="*/ 230981 h 278606"/>
                <a:gd name="connsiteX15" fmla="*/ 2381 w 357188"/>
                <a:gd name="connsiteY15" fmla="*/ 176213 h 278606"/>
                <a:gd name="connsiteX16" fmla="*/ 21431 w 357188"/>
                <a:gd name="connsiteY16" fmla="*/ 140493 h 278606"/>
                <a:gd name="connsiteX17" fmla="*/ 90488 w 357188"/>
                <a:gd name="connsiteY17" fmla="*/ 88106 h 278606"/>
                <a:gd name="connsiteX0" fmla="*/ 90488 w 357188"/>
                <a:gd name="connsiteY0" fmla="*/ 88106 h 278606"/>
                <a:gd name="connsiteX1" fmla="*/ 154781 w 357188"/>
                <a:gd name="connsiteY1" fmla="*/ 52388 h 278606"/>
                <a:gd name="connsiteX2" fmla="*/ 190500 w 357188"/>
                <a:gd name="connsiteY2" fmla="*/ 19050 h 278606"/>
                <a:gd name="connsiteX3" fmla="*/ 223838 w 357188"/>
                <a:gd name="connsiteY3" fmla="*/ 0 h 278606"/>
                <a:gd name="connsiteX4" fmla="*/ 288131 w 357188"/>
                <a:gd name="connsiteY4" fmla="*/ 11906 h 278606"/>
                <a:gd name="connsiteX5" fmla="*/ 338138 w 357188"/>
                <a:gd name="connsiteY5" fmla="*/ 38100 h 278606"/>
                <a:gd name="connsiteX6" fmla="*/ 357188 w 357188"/>
                <a:gd name="connsiteY6" fmla="*/ 61913 h 278606"/>
                <a:gd name="connsiteX7" fmla="*/ 345281 w 357188"/>
                <a:gd name="connsiteY7" fmla="*/ 109538 h 278606"/>
                <a:gd name="connsiteX8" fmla="*/ 300038 w 357188"/>
                <a:gd name="connsiteY8" fmla="*/ 150019 h 278606"/>
                <a:gd name="connsiteX9" fmla="*/ 240506 w 357188"/>
                <a:gd name="connsiteY9" fmla="*/ 197644 h 278606"/>
                <a:gd name="connsiteX10" fmla="*/ 190500 w 357188"/>
                <a:gd name="connsiteY10" fmla="*/ 226219 h 278606"/>
                <a:gd name="connsiteX11" fmla="*/ 119063 w 357188"/>
                <a:gd name="connsiteY11" fmla="*/ 266700 h 278606"/>
                <a:gd name="connsiteX12" fmla="*/ 76200 w 357188"/>
                <a:gd name="connsiteY12" fmla="*/ 278606 h 278606"/>
                <a:gd name="connsiteX13" fmla="*/ 9525 w 357188"/>
                <a:gd name="connsiteY13" fmla="*/ 269081 h 278606"/>
                <a:gd name="connsiteX14" fmla="*/ 0 w 357188"/>
                <a:gd name="connsiteY14" fmla="*/ 230981 h 278606"/>
                <a:gd name="connsiteX15" fmla="*/ 2381 w 357188"/>
                <a:gd name="connsiteY15" fmla="*/ 176213 h 278606"/>
                <a:gd name="connsiteX16" fmla="*/ 16668 w 357188"/>
                <a:gd name="connsiteY16" fmla="*/ 123824 h 278606"/>
                <a:gd name="connsiteX17" fmla="*/ 90488 w 357188"/>
                <a:gd name="connsiteY17" fmla="*/ 88106 h 278606"/>
                <a:gd name="connsiteX0" fmla="*/ 90488 w 357188"/>
                <a:gd name="connsiteY0" fmla="*/ 88106 h 278606"/>
                <a:gd name="connsiteX1" fmla="*/ 154781 w 357188"/>
                <a:gd name="connsiteY1" fmla="*/ 52388 h 278606"/>
                <a:gd name="connsiteX2" fmla="*/ 190500 w 357188"/>
                <a:gd name="connsiteY2" fmla="*/ 19050 h 278606"/>
                <a:gd name="connsiteX3" fmla="*/ 223838 w 357188"/>
                <a:gd name="connsiteY3" fmla="*/ 0 h 278606"/>
                <a:gd name="connsiteX4" fmla="*/ 288131 w 357188"/>
                <a:gd name="connsiteY4" fmla="*/ 11906 h 278606"/>
                <a:gd name="connsiteX5" fmla="*/ 338138 w 357188"/>
                <a:gd name="connsiteY5" fmla="*/ 38100 h 278606"/>
                <a:gd name="connsiteX6" fmla="*/ 357188 w 357188"/>
                <a:gd name="connsiteY6" fmla="*/ 61913 h 278606"/>
                <a:gd name="connsiteX7" fmla="*/ 345281 w 357188"/>
                <a:gd name="connsiteY7" fmla="*/ 109538 h 278606"/>
                <a:gd name="connsiteX8" fmla="*/ 300038 w 357188"/>
                <a:gd name="connsiteY8" fmla="*/ 150019 h 278606"/>
                <a:gd name="connsiteX9" fmla="*/ 240506 w 357188"/>
                <a:gd name="connsiteY9" fmla="*/ 197644 h 278606"/>
                <a:gd name="connsiteX10" fmla="*/ 190500 w 357188"/>
                <a:gd name="connsiteY10" fmla="*/ 226219 h 278606"/>
                <a:gd name="connsiteX11" fmla="*/ 119063 w 357188"/>
                <a:gd name="connsiteY11" fmla="*/ 266700 h 278606"/>
                <a:gd name="connsiteX12" fmla="*/ 76200 w 357188"/>
                <a:gd name="connsiteY12" fmla="*/ 278606 h 278606"/>
                <a:gd name="connsiteX13" fmla="*/ 9525 w 357188"/>
                <a:gd name="connsiteY13" fmla="*/ 269081 h 278606"/>
                <a:gd name="connsiteX14" fmla="*/ 0 w 357188"/>
                <a:gd name="connsiteY14" fmla="*/ 230981 h 278606"/>
                <a:gd name="connsiteX15" fmla="*/ 2381 w 357188"/>
                <a:gd name="connsiteY15" fmla="*/ 176213 h 278606"/>
                <a:gd name="connsiteX16" fmla="*/ 19049 w 357188"/>
                <a:gd name="connsiteY16" fmla="*/ 130968 h 278606"/>
                <a:gd name="connsiteX17" fmla="*/ 90488 w 357188"/>
                <a:gd name="connsiteY17" fmla="*/ 88106 h 278606"/>
                <a:gd name="connsiteX0" fmla="*/ 90488 w 357188"/>
                <a:gd name="connsiteY0" fmla="*/ 88106 h 290512"/>
                <a:gd name="connsiteX1" fmla="*/ 154781 w 357188"/>
                <a:gd name="connsiteY1" fmla="*/ 52388 h 290512"/>
                <a:gd name="connsiteX2" fmla="*/ 190500 w 357188"/>
                <a:gd name="connsiteY2" fmla="*/ 19050 h 290512"/>
                <a:gd name="connsiteX3" fmla="*/ 223838 w 357188"/>
                <a:gd name="connsiteY3" fmla="*/ 0 h 290512"/>
                <a:gd name="connsiteX4" fmla="*/ 288131 w 357188"/>
                <a:gd name="connsiteY4" fmla="*/ 11906 h 290512"/>
                <a:gd name="connsiteX5" fmla="*/ 338138 w 357188"/>
                <a:gd name="connsiteY5" fmla="*/ 38100 h 290512"/>
                <a:gd name="connsiteX6" fmla="*/ 357188 w 357188"/>
                <a:gd name="connsiteY6" fmla="*/ 61913 h 290512"/>
                <a:gd name="connsiteX7" fmla="*/ 345281 w 357188"/>
                <a:gd name="connsiteY7" fmla="*/ 109538 h 290512"/>
                <a:gd name="connsiteX8" fmla="*/ 300038 w 357188"/>
                <a:gd name="connsiteY8" fmla="*/ 150019 h 290512"/>
                <a:gd name="connsiteX9" fmla="*/ 240506 w 357188"/>
                <a:gd name="connsiteY9" fmla="*/ 197644 h 290512"/>
                <a:gd name="connsiteX10" fmla="*/ 190500 w 357188"/>
                <a:gd name="connsiteY10" fmla="*/ 226219 h 290512"/>
                <a:gd name="connsiteX11" fmla="*/ 119063 w 357188"/>
                <a:gd name="connsiteY11" fmla="*/ 266700 h 290512"/>
                <a:gd name="connsiteX12" fmla="*/ 50006 w 357188"/>
                <a:gd name="connsiteY12" fmla="*/ 290512 h 290512"/>
                <a:gd name="connsiteX13" fmla="*/ 9525 w 357188"/>
                <a:gd name="connsiteY13" fmla="*/ 269081 h 290512"/>
                <a:gd name="connsiteX14" fmla="*/ 0 w 357188"/>
                <a:gd name="connsiteY14" fmla="*/ 230981 h 290512"/>
                <a:gd name="connsiteX15" fmla="*/ 2381 w 357188"/>
                <a:gd name="connsiteY15" fmla="*/ 176213 h 290512"/>
                <a:gd name="connsiteX16" fmla="*/ 19049 w 357188"/>
                <a:gd name="connsiteY16" fmla="*/ 130968 h 290512"/>
                <a:gd name="connsiteX17" fmla="*/ 90488 w 357188"/>
                <a:gd name="connsiteY17" fmla="*/ 88106 h 290512"/>
                <a:gd name="connsiteX0" fmla="*/ 90488 w 357188"/>
                <a:gd name="connsiteY0" fmla="*/ 88106 h 290512"/>
                <a:gd name="connsiteX1" fmla="*/ 154781 w 357188"/>
                <a:gd name="connsiteY1" fmla="*/ 52388 h 290512"/>
                <a:gd name="connsiteX2" fmla="*/ 190500 w 357188"/>
                <a:gd name="connsiteY2" fmla="*/ 19050 h 290512"/>
                <a:gd name="connsiteX3" fmla="*/ 223838 w 357188"/>
                <a:gd name="connsiteY3" fmla="*/ 0 h 290512"/>
                <a:gd name="connsiteX4" fmla="*/ 288131 w 357188"/>
                <a:gd name="connsiteY4" fmla="*/ 11906 h 290512"/>
                <a:gd name="connsiteX5" fmla="*/ 338138 w 357188"/>
                <a:gd name="connsiteY5" fmla="*/ 38100 h 290512"/>
                <a:gd name="connsiteX6" fmla="*/ 357188 w 357188"/>
                <a:gd name="connsiteY6" fmla="*/ 61913 h 290512"/>
                <a:gd name="connsiteX7" fmla="*/ 345281 w 357188"/>
                <a:gd name="connsiteY7" fmla="*/ 109538 h 290512"/>
                <a:gd name="connsiteX8" fmla="*/ 300038 w 357188"/>
                <a:gd name="connsiteY8" fmla="*/ 150019 h 290512"/>
                <a:gd name="connsiteX9" fmla="*/ 240506 w 357188"/>
                <a:gd name="connsiteY9" fmla="*/ 197644 h 290512"/>
                <a:gd name="connsiteX10" fmla="*/ 190500 w 357188"/>
                <a:gd name="connsiteY10" fmla="*/ 226219 h 290512"/>
                <a:gd name="connsiteX11" fmla="*/ 119063 w 357188"/>
                <a:gd name="connsiteY11" fmla="*/ 266700 h 290512"/>
                <a:gd name="connsiteX12" fmla="*/ 50006 w 357188"/>
                <a:gd name="connsiteY12" fmla="*/ 290512 h 290512"/>
                <a:gd name="connsiteX13" fmla="*/ 9525 w 357188"/>
                <a:gd name="connsiteY13" fmla="*/ 269081 h 290512"/>
                <a:gd name="connsiteX14" fmla="*/ 0 w 357188"/>
                <a:gd name="connsiteY14" fmla="*/ 230981 h 290512"/>
                <a:gd name="connsiteX15" fmla="*/ 2381 w 357188"/>
                <a:gd name="connsiteY15" fmla="*/ 176213 h 290512"/>
                <a:gd name="connsiteX16" fmla="*/ 19049 w 357188"/>
                <a:gd name="connsiteY16" fmla="*/ 130968 h 290512"/>
                <a:gd name="connsiteX17" fmla="*/ 90488 w 357188"/>
                <a:gd name="connsiteY17" fmla="*/ 88106 h 290512"/>
                <a:gd name="connsiteX0" fmla="*/ 90488 w 357188"/>
                <a:gd name="connsiteY0" fmla="*/ 88106 h 290512"/>
                <a:gd name="connsiteX1" fmla="*/ 154781 w 357188"/>
                <a:gd name="connsiteY1" fmla="*/ 52388 h 290512"/>
                <a:gd name="connsiteX2" fmla="*/ 190500 w 357188"/>
                <a:gd name="connsiteY2" fmla="*/ 19050 h 290512"/>
                <a:gd name="connsiteX3" fmla="*/ 223838 w 357188"/>
                <a:gd name="connsiteY3" fmla="*/ 0 h 290512"/>
                <a:gd name="connsiteX4" fmla="*/ 288131 w 357188"/>
                <a:gd name="connsiteY4" fmla="*/ 11906 h 290512"/>
                <a:gd name="connsiteX5" fmla="*/ 338138 w 357188"/>
                <a:gd name="connsiteY5" fmla="*/ 38100 h 290512"/>
                <a:gd name="connsiteX6" fmla="*/ 357188 w 357188"/>
                <a:gd name="connsiteY6" fmla="*/ 61913 h 290512"/>
                <a:gd name="connsiteX7" fmla="*/ 345281 w 357188"/>
                <a:gd name="connsiteY7" fmla="*/ 109538 h 290512"/>
                <a:gd name="connsiteX8" fmla="*/ 300038 w 357188"/>
                <a:gd name="connsiteY8" fmla="*/ 150019 h 290512"/>
                <a:gd name="connsiteX9" fmla="*/ 240506 w 357188"/>
                <a:gd name="connsiteY9" fmla="*/ 197644 h 290512"/>
                <a:gd name="connsiteX10" fmla="*/ 190500 w 357188"/>
                <a:gd name="connsiteY10" fmla="*/ 226219 h 290512"/>
                <a:gd name="connsiteX11" fmla="*/ 126206 w 357188"/>
                <a:gd name="connsiteY11" fmla="*/ 266700 h 290512"/>
                <a:gd name="connsiteX12" fmla="*/ 50006 w 357188"/>
                <a:gd name="connsiteY12" fmla="*/ 290512 h 290512"/>
                <a:gd name="connsiteX13" fmla="*/ 9525 w 357188"/>
                <a:gd name="connsiteY13" fmla="*/ 269081 h 290512"/>
                <a:gd name="connsiteX14" fmla="*/ 0 w 357188"/>
                <a:gd name="connsiteY14" fmla="*/ 230981 h 290512"/>
                <a:gd name="connsiteX15" fmla="*/ 2381 w 357188"/>
                <a:gd name="connsiteY15" fmla="*/ 176213 h 290512"/>
                <a:gd name="connsiteX16" fmla="*/ 19049 w 357188"/>
                <a:gd name="connsiteY16" fmla="*/ 130968 h 290512"/>
                <a:gd name="connsiteX17" fmla="*/ 90488 w 357188"/>
                <a:gd name="connsiteY17" fmla="*/ 88106 h 290512"/>
                <a:gd name="connsiteX0" fmla="*/ 90488 w 357188"/>
                <a:gd name="connsiteY0" fmla="*/ 88106 h 290512"/>
                <a:gd name="connsiteX1" fmla="*/ 154781 w 357188"/>
                <a:gd name="connsiteY1" fmla="*/ 52388 h 290512"/>
                <a:gd name="connsiteX2" fmla="*/ 190500 w 357188"/>
                <a:gd name="connsiteY2" fmla="*/ 19050 h 290512"/>
                <a:gd name="connsiteX3" fmla="*/ 223838 w 357188"/>
                <a:gd name="connsiteY3" fmla="*/ 0 h 290512"/>
                <a:gd name="connsiteX4" fmla="*/ 288131 w 357188"/>
                <a:gd name="connsiteY4" fmla="*/ 11906 h 290512"/>
                <a:gd name="connsiteX5" fmla="*/ 338138 w 357188"/>
                <a:gd name="connsiteY5" fmla="*/ 38100 h 290512"/>
                <a:gd name="connsiteX6" fmla="*/ 357188 w 357188"/>
                <a:gd name="connsiteY6" fmla="*/ 61913 h 290512"/>
                <a:gd name="connsiteX7" fmla="*/ 345281 w 357188"/>
                <a:gd name="connsiteY7" fmla="*/ 109538 h 290512"/>
                <a:gd name="connsiteX8" fmla="*/ 300038 w 357188"/>
                <a:gd name="connsiteY8" fmla="*/ 150019 h 290512"/>
                <a:gd name="connsiteX9" fmla="*/ 240506 w 357188"/>
                <a:gd name="connsiteY9" fmla="*/ 197644 h 290512"/>
                <a:gd name="connsiteX10" fmla="*/ 188118 w 357188"/>
                <a:gd name="connsiteY10" fmla="*/ 238125 h 290512"/>
                <a:gd name="connsiteX11" fmla="*/ 126206 w 357188"/>
                <a:gd name="connsiteY11" fmla="*/ 266700 h 290512"/>
                <a:gd name="connsiteX12" fmla="*/ 50006 w 357188"/>
                <a:gd name="connsiteY12" fmla="*/ 290512 h 290512"/>
                <a:gd name="connsiteX13" fmla="*/ 9525 w 357188"/>
                <a:gd name="connsiteY13" fmla="*/ 269081 h 290512"/>
                <a:gd name="connsiteX14" fmla="*/ 0 w 357188"/>
                <a:gd name="connsiteY14" fmla="*/ 230981 h 290512"/>
                <a:gd name="connsiteX15" fmla="*/ 2381 w 357188"/>
                <a:gd name="connsiteY15" fmla="*/ 176213 h 290512"/>
                <a:gd name="connsiteX16" fmla="*/ 19049 w 357188"/>
                <a:gd name="connsiteY16" fmla="*/ 130968 h 290512"/>
                <a:gd name="connsiteX17" fmla="*/ 90488 w 357188"/>
                <a:gd name="connsiteY17" fmla="*/ 88106 h 290512"/>
                <a:gd name="connsiteX0" fmla="*/ 90488 w 357188"/>
                <a:gd name="connsiteY0" fmla="*/ 88106 h 290512"/>
                <a:gd name="connsiteX1" fmla="*/ 154781 w 357188"/>
                <a:gd name="connsiteY1" fmla="*/ 52388 h 290512"/>
                <a:gd name="connsiteX2" fmla="*/ 190500 w 357188"/>
                <a:gd name="connsiteY2" fmla="*/ 19050 h 290512"/>
                <a:gd name="connsiteX3" fmla="*/ 223838 w 357188"/>
                <a:gd name="connsiteY3" fmla="*/ 0 h 290512"/>
                <a:gd name="connsiteX4" fmla="*/ 288131 w 357188"/>
                <a:gd name="connsiteY4" fmla="*/ 11906 h 290512"/>
                <a:gd name="connsiteX5" fmla="*/ 338138 w 357188"/>
                <a:gd name="connsiteY5" fmla="*/ 38100 h 290512"/>
                <a:gd name="connsiteX6" fmla="*/ 357188 w 357188"/>
                <a:gd name="connsiteY6" fmla="*/ 61913 h 290512"/>
                <a:gd name="connsiteX7" fmla="*/ 345281 w 357188"/>
                <a:gd name="connsiteY7" fmla="*/ 109538 h 290512"/>
                <a:gd name="connsiteX8" fmla="*/ 300038 w 357188"/>
                <a:gd name="connsiteY8" fmla="*/ 150019 h 290512"/>
                <a:gd name="connsiteX9" fmla="*/ 240506 w 357188"/>
                <a:gd name="connsiteY9" fmla="*/ 204788 h 290512"/>
                <a:gd name="connsiteX10" fmla="*/ 188118 w 357188"/>
                <a:gd name="connsiteY10" fmla="*/ 238125 h 290512"/>
                <a:gd name="connsiteX11" fmla="*/ 126206 w 357188"/>
                <a:gd name="connsiteY11" fmla="*/ 266700 h 290512"/>
                <a:gd name="connsiteX12" fmla="*/ 50006 w 357188"/>
                <a:gd name="connsiteY12" fmla="*/ 290512 h 290512"/>
                <a:gd name="connsiteX13" fmla="*/ 9525 w 357188"/>
                <a:gd name="connsiteY13" fmla="*/ 269081 h 290512"/>
                <a:gd name="connsiteX14" fmla="*/ 0 w 357188"/>
                <a:gd name="connsiteY14" fmla="*/ 230981 h 290512"/>
                <a:gd name="connsiteX15" fmla="*/ 2381 w 357188"/>
                <a:gd name="connsiteY15" fmla="*/ 176213 h 290512"/>
                <a:gd name="connsiteX16" fmla="*/ 19049 w 357188"/>
                <a:gd name="connsiteY16" fmla="*/ 130968 h 290512"/>
                <a:gd name="connsiteX17" fmla="*/ 90488 w 357188"/>
                <a:gd name="connsiteY17" fmla="*/ 88106 h 290512"/>
                <a:gd name="connsiteX0" fmla="*/ 90488 w 357188"/>
                <a:gd name="connsiteY0" fmla="*/ 88106 h 290512"/>
                <a:gd name="connsiteX1" fmla="*/ 154781 w 357188"/>
                <a:gd name="connsiteY1" fmla="*/ 52388 h 290512"/>
                <a:gd name="connsiteX2" fmla="*/ 190500 w 357188"/>
                <a:gd name="connsiteY2" fmla="*/ 19050 h 290512"/>
                <a:gd name="connsiteX3" fmla="*/ 223838 w 357188"/>
                <a:gd name="connsiteY3" fmla="*/ 0 h 290512"/>
                <a:gd name="connsiteX4" fmla="*/ 288131 w 357188"/>
                <a:gd name="connsiteY4" fmla="*/ 11906 h 290512"/>
                <a:gd name="connsiteX5" fmla="*/ 338138 w 357188"/>
                <a:gd name="connsiteY5" fmla="*/ 38100 h 290512"/>
                <a:gd name="connsiteX6" fmla="*/ 357188 w 357188"/>
                <a:gd name="connsiteY6" fmla="*/ 61913 h 290512"/>
                <a:gd name="connsiteX7" fmla="*/ 345281 w 357188"/>
                <a:gd name="connsiteY7" fmla="*/ 109538 h 290512"/>
                <a:gd name="connsiteX8" fmla="*/ 300038 w 357188"/>
                <a:gd name="connsiteY8" fmla="*/ 150019 h 290512"/>
                <a:gd name="connsiteX9" fmla="*/ 240506 w 357188"/>
                <a:gd name="connsiteY9" fmla="*/ 204788 h 290512"/>
                <a:gd name="connsiteX10" fmla="*/ 188118 w 357188"/>
                <a:gd name="connsiteY10" fmla="*/ 238125 h 290512"/>
                <a:gd name="connsiteX11" fmla="*/ 126206 w 357188"/>
                <a:gd name="connsiteY11" fmla="*/ 266700 h 290512"/>
                <a:gd name="connsiteX12" fmla="*/ 50006 w 357188"/>
                <a:gd name="connsiteY12" fmla="*/ 290512 h 290512"/>
                <a:gd name="connsiteX13" fmla="*/ 9525 w 357188"/>
                <a:gd name="connsiteY13" fmla="*/ 269081 h 290512"/>
                <a:gd name="connsiteX14" fmla="*/ 0 w 357188"/>
                <a:gd name="connsiteY14" fmla="*/ 230981 h 290512"/>
                <a:gd name="connsiteX15" fmla="*/ 2381 w 357188"/>
                <a:gd name="connsiteY15" fmla="*/ 176213 h 290512"/>
                <a:gd name="connsiteX16" fmla="*/ 19049 w 357188"/>
                <a:gd name="connsiteY16" fmla="*/ 130968 h 290512"/>
                <a:gd name="connsiteX17" fmla="*/ 90488 w 357188"/>
                <a:gd name="connsiteY17" fmla="*/ 88106 h 290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57188" h="290512">
                  <a:moveTo>
                    <a:pt x="90488" y="88106"/>
                  </a:moveTo>
                  <a:lnTo>
                    <a:pt x="154781" y="52388"/>
                  </a:lnTo>
                  <a:lnTo>
                    <a:pt x="190500" y="19050"/>
                  </a:lnTo>
                  <a:lnTo>
                    <a:pt x="223838" y="0"/>
                  </a:lnTo>
                  <a:lnTo>
                    <a:pt x="288131" y="11906"/>
                  </a:lnTo>
                  <a:lnTo>
                    <a:pt x="338138" y="38100"/>
                  </a:lnTo>
                  <a:lnTo>
                    <a:pt x="357188" y="61913"/>
                  </a:lnTo>
                  <a:lnTo>
                    <a:pt x="345281" y="109538"/>
                  </a:lnTo>
                  <a:lnTo>
                    <a:pt x="300038" y="150019"/>
                  </a:lnTo>
                  <a:lnTo>
                    <a:pt x="240506" y="204788"/>
                  </a:lnTo>
                  <a:cubicBezTo>
                    <a:pt x="223837" y="214313"/>
                    <a:pt x="207168" y="227806"/>
                    <a:pt x="188118" y="238125"/>
                  </a:cubicBezTo>
                  <a:cubicBezTo>
                    <a:pt x="169068" y="248444"/>
                    <a:pt x="147637" y="253206"/>
                    <a:pt x="126206" y="266700"/>
                  </a:cubicBezTo>
                  <a:cubicBezTo>
                    <a:pt x="103187" y="274637"/>
                    <a:pt x="77787" y="287338"/>
                    <a:pt x="50006" y="290512"/>
                  </a:cubicBezTo>
                  <a:cubicBezTo>
                    <a:pt x="19844" y="283368"/>
                    <a:pt x="23019" y="276225"/>
                    <a:pt x="9525" y="269081"/>
                  </a:cubicBezTo>
                  <a:lnTo>
                    <a:pt x="0" y="230981"/>
                  </a:lnTo>
                  <a:lnTo>
                    <a:pt x="2381" y="176213"/>
                  </a:lnTo>
                  <a:lnTo>
                    <a:pt x="19049" y="130968"/>
                  </a:lnTo>
                  <a:lnTo>
                    <a:pt x="90488" y="88106"/>
                  </a:lnTo>
                  <a:close/>
                </a:path>
              </a:pathLst>
            </a:custGeom>
            <a:solidFill>
              <a:schemeClr val="accent6">
                <a:lumMod val="75000"/>
                <a:alpha val="71000"/>
              </a:schemeClr>
            </a:solidFill>
            <a:ln w="12700" cap="rnd">
              <a:solidFill>
                <a:schemeClr val="accent6">
                  <a:lumMod val="75000"/>
                </a:schemeClr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9" name="TextBox 16"/>
          <p:cNvSpPr txBox="1">
            <a:spLocks noChangeArrowheads="1"/>
          </p:cNvSpPr>
          <p:nvPr/>
        </p:nvSpPr>
        <p:spPr bwMode="auto">
          <a:xfrm>
            <a:off x="6033562" y="2556319"/>
            <a:ext cx="100700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000" b="1" dirty="0" smtClean="0">
                <a:solidFill>
                  <a:schemeClr val="bg1"/>
                </a:solidFill>
                <a:latin typeface="Neo Sans Pro" pitchFamily="34" charset="-52"/>
              </a:rPr>
              <a:t>АМФИТЕАТР</a:t>
            </a:r>
            <a:endParaRPr lang="ru-RU" altLang="ru-RU" sz="1000" b="1" dirty="0">
              <a:solidFill>
                <a:schemeClr val="bg1"/>
              </a:solidFill>
              <a:latin typeface="Neo Sans Pro" pitchFamily="34" charset="-52"/>
            </a:endParaRPr>
          </a:p>
        </p:txBody>
      </p:sp>
      <p:sp>
        <p:nvSpPr>
          <p:cNvPr id="140" name="Полилиния 139"/>
          <p:cNvSpPr/>
          <p:nvPr/>
        </p:nvSpPr>
        <p:spPr>
          <a:xfrm>
            <a:off x="8047043" y="4431282"/>
            <a:ext cx="151798" cy="418255"/>
          </a:xfrm>
          <a:custGeom>
            <a:avLst/>
            <a:gdLst>
              <a:gd name="connsiteX0" fmla="*/ 28616 w 110696"/>
              <a:gd name="connsiteY0" fmla="*/ 481013 h 481013"/>
              <a:gd name="connsiteX1" fmla="*/ 41 w 110696"/>
              <a:gd name="connsiteY1" fmla="*/ 433388 h 481013"/>
              <a:gd name="connsiteX2" fmla="*/ 23854 w 110696"/>
              <a:gd name="connsiteY2" fmla="*/ 419100 h 481013"/>
              <a:gd name="connsiteX3" fmla="*/ 83385 w 110696"/>
              <a:gd name="connsiteY3" fmla="*/ 345281 h 481013"/>
              <a:gd name="connsiteX4" fmla="*/ 109579 w 110696"/>
              <a:gd name="connsiteY4" fmla="*/ 223838 h 481013"/>
              <a:gd name="connsiteX5" fmla="*/ 102435 w 110696"/>
              <a:gd name="connsiteY5" fmla="*/ 114300 h 481013"/>
              <a:gd name="connsiteX6" fmla="*/ 71479 w 110696"/>
              <a:gd name="connsiteY6" fmla="*/ 30956 h 481013"/>
              <a:gd name="connsiteX7" fmla="*/ 45285 w 110696"/>
              <a:gd name="connsiteY7" fmla="*/ 0 h 481013"/>
              <a:gd name="connsiteX0" fmla="*/ 123824 w 205904"/>
              <a:gd name="connsiteY0" fmla="*/ 515217 h 515217"/>
              <a:gd name="connsiteX1" fmla="*/ 95249 w 205904"/>
              <a:gd name="connsiteY1" fmla="*/ 467592 h 515217"/>
              <a:gd name="connsiteX2" fmla="*/ 119062 w 205904"/>
              <a:gd name="connsiteY2" fmla="*/ 453304 h 515217"/>
              <a:gd name="connsiteX3" fmla="*/ 178593 w 205904"/>
              <a:gd name="connsiteY3" fmla="*/ 379485 h 515217"/>
              <a:gd name="connsiteX4" fmla="*/ 204787 w 205904"/>
              <a:gd name="connsiteY4" fmla="*/ 258042 h 515217"/>
              <a:gd name="connsiteX5" fmla="*/ 197643 w 205904"/>
              <a:gd name="connsiteY5" fmla="*/ 148504 h 515217"/>
              <a:gd name="connsiteX6" fmla="*/ 166687 w 205904"/>
              <a:gd name="connsiteY6" fmla="*/ 65160 h 515217"/>
              <a:gd name="connsiteX7" fmla="*/ 0 w 205904"/>
              <a:gd name="connsiteY7" fmla="*/ 0 h 515217"/>
              <a:gd name="connsiteX0" fmla="*/ 123824 w 206376"/>
              <a:gd name="connsiteY0" fmla="*/ 515217 h 515217"/>
              <a:gd name="connsiteX1" fmla="*/ 95249 w 206376"/>
              <a:gd name="connsiteY1" fmla="*/ 467592 h 515217"/>
              <a:gd name="connsiteX2" fmla="*/ 119062 w 206376"/>
              <a:gd name="connsiteY2" fmla="*/ 453304 h 515217"/>
              <a:gd name="connsiteX3" fmla="*/ 178593 w 206376"/>
              <a:gd name="connsiteY3" fmla="*/ 379485 h 515217"/>
              <a:gd name="connsiteX4" fmla="*/ 204787 w 206376"/>
              <a:gd name="connsiteY4" fmla="*/ 258042 h 515217"/>
              <a:gd name="connsiteX5" fmla="*/ 197643 w 206376"/>
              <a:gd name="connsiteY5" fmla="*/ 148504 h 515217"/>
              <a:gd name="connsiteX6" fmla="*/ 150018 w 206376"/>
              <a:gd name="connsiteY6" fmla="*/ 99888 h 515217"/>
              <a:gd name="connsiteX7" fmla="*/ 166687 w 206376"/>
              <a:gd name="connsiteY7" fmla="*/ 65160 h 515217"/>
              <a:gd name="connsiteX8" fmla="*/ 0 w 206376"/>
              <a:gd name="connsiteY8" fmla="*/ 0 h 515217"/>
              <a:gd name="connsiteX0" fmla="*/ 123824 w 206376"/>
              <a:gd name="connsiteY0" fmla="*/ 515217 h 515217"/>
              <a:gd name="connsiteX1" fmla="*/ 95249 w 206376"/>
              <a:gd name="connsiteY1" fmla="*/ 467592 h 515217"/>
              <a:gd name="connsiteX2" fmla="*/ 119062 w 206376"/>
              <a:gd name="connsiteY2" fmla="*/ 453304 h 515217"/>
              <a:gd name="connsiteX3" fmla="*/ 178593 w 206376"/>
              <a:gd name="connsiteY3" fmla="*/ 379485 h 515217"/>
              <a:gd name="connsiteX4" fmla="*/ 204787 w 206376"/>
              <a:gd name="connsiteY4" fmla="*/ 258042 h 515217"/>
              <a:gd name="connsiteX5" fmla="*/ 197643 w 206376"/>
              <a:gd name="connsiteY5" fmla="*/ 148504 h 515217"/>
              <a:gd name="connsiteX6" fmla="*/ 150018 w 206376"/>
              <a:gd name="connsiteY6" fmla="*/ 99888 h 515217"/>
              <a:gd name="connsiteX7" fmla="*/ 69056 w 206376"/>
              <a:gd name="connsiteY7" fmla="*/ 43172 h 515217"/>
              <a:gd name="connsiteX8" fmla="*/ 0 w 206376"/>
              <a:gd name="connsiteY8" fmla="*/ 0 h 515217"/>
              <a:gd name="connsiteX0" fmla="*/ 123824 w 204967"/>
              <a:gd name="connsiteY0" fmla="*/ 515217 h 515217"/>
              <a:gd name="connsiteX1" fmla="*/ 95249 w 204967"/>
              <a:gd name="connsiteY1" fmla="*/ 467592 h 515217"/>
              <a:gd name="connsiteX2" fmla="*/ 119062 w 204967"/>
              <a:gd name="connsiteY2" fmla="*/ 453304 h 515217"/>
              <a:gd name="connsiteX3" fmla="*/ 178593 w 204967"/>
              <a:gd name="connsiteY3" fmla="*/ 379485 h 515217"/>
              <a:gd name="connsiteX4" fmla="*/ 204787 w 204967"/>
              <a:gd name="connsiteY4" fmla="*/ 258042 h 515217"/>
              <a:gd name="connsiteX5" fmla="*/ 188118 w 204967"/>
              <a:gd name="connsiteY5" fmla="*/ 172936 h 515217"/>
              <a:gd name="connsiteX6" fmla="*/ 150018 w 204967"/>
              <a:gd name="connsiteY6" fmla="*/ 99888 h 515217"/>
              <a:gd name="connsiteX7" fmla="*/ 69056 w 204967"/>
              <a:gd name="connsiteY7" fmla="*/ 43172 h 515217"/>
              <a:gd name="connsiteX8" fmla="*/ 0 w 204967"/>
              <a:gd name="connsiteY8" fmla="*/ 0 h 515217"/>
              <a:gd name="connsiteX0" fmla="*/ 100012 w 181155"/>
              <a:gd name="connsiteY0" fmla="*/ 500559 h 500559"/>
              <a:gd name="connsiteX1" fmla="*/ 71437 w 181155"/>
              <a:gd name="connsiteY1" fmla="*/ 452934 h 500559"/>
              <a:gd name="connsiteX2" fmla="*/ 95250 w 181155"/>
              <a:gd name="connsiteY2" fmla="*/ 438646 h 500559"/>
              <a:gd name="connsiteX3" fmla="*/ 154781 w 181155"/>
              <a:gd name="connsiteY3" fmla="*/ 364827 h 500559"/>
              <a:gd name="connsiteX4" fmla="*/ 180975 w 181155"/>
              <a:gd name="connsiteY4" fmla="*/ 243384 h 500559"/>
              <a:gd name="connsiteX5" fmla="*/ 164306 w 181155"/>
              <a:gd name="connsiteY5" fmla="*/ 158278 h 500559"/>
              <a:gd name="connsiteX6" fmla="*/ 126206 w 181155"/>
              <a:gd name="connsiteY6" fmla="*/ 85230 h 500559"/>
              <a:gd name="connsiteX7" fmla="*/ 45244 w 181155"/>
              <a:gd name="connsiteY7" fmla="*/ 28514 h 500559"/>
              <a:gd name="connsiteX8" fmla="*/ 0 w 181155"/>
              <a:gd name="connsiteY8" fmla="*/ 0 h 500559"/>
              <a:gd name="connsiteX0" fmla="*/ 100012 w 181155"/>
              <a:gd name="connsiteY0" fmla="*/ 500559 h 500559"/>
              <a:gd name="connsiteX1" fmla="*/ 71437 w 181155"/>
              <a:gd name="connsiteY1" fmla="*/ 452934 h 500559"/>
              <a:gd name="connsiteX2" fmla="*/ 95250 w 181155"/>
              <a:gd name="connsiteY2" fmla="*/ 438646 h 500559"/>
              <a:gd name="connsiteX3" fmla="*/ 154781 w 181155"/>
              <a:gd name="connsiteY3" fmla="*/ 364827 h 500559"/>
              <a:gd name="connsiteX4" fmla="*/ 180975 w 181155"/>
              <a:gd name="connsiteY4" fmla="*/ 243384 h 500559"/>
              <a:gd name="connsiteX5" fmla="*/ 164306 w 181155"/>
              <a:gd name="connsiteY5" fmla="*/ 158278 h 500559"/>
              <a:gd name="connsiteX6" fmla="*/ 126206 w 181155"/>
              <a:gd name="connsiteY6" fmla="*/ 85230 h 500559"/>
              <a:gd name="connsiteX7" fmla="*/ 59532 w 181155"/>
              <a:gd name="connsiteY7" fmla="*/ 28514 h 500559"/>
              <a:gd name="connsiteX8" fmla="*/ 0 w 181155"/>
              <a:gd name="connsiteY8" fmla="*/ 0 h 500559"/>
              <a:gd name="connsiteX0" fmla="*/ 100012 w 181155"/>
              <a:gd name="connsiteY0" fmla="*/ 500559 h 500559"/>
              <a:gd name="connsiteX1" fmla="*/ 76200 w 181155"/>
              <a:gd name="connsiteY1" fmla="*/ 467592 h 500559"/>
              <a:gd name="connsiteX2" fmla="*/ 95250 w 181155"/>
              <a:gd name="connsiteY2" fmla="*/ 438646 h 500559"/>
              <a:gd name="connsiteX3" fmla="*/ 154781 w 181155"/>
              <a:gd name="connsiteY3" fmla="*/ 364827 h 500559"/>
              <a:gd name="connsiteX4" fmla="*/ 180975 w 181155"/>
              <a:gd name="connsiteY4" fmla="*/ 243384 h 500559"/>
              <a:gd name="connsiteX5" fmla="*/ 164306 w 181155"/>
              <a:gd name="connsiteY5" fmla="*/ 158278 h 500559"/>
              <a:gd name="connsiteX6" fmla="*/ 126206 w 181155"/>
              <a:gd name="connsiteY6" fmla="*/ 85230 h 500559"/>
              <a:gd name="connsiteX7" fmla="*/ 59532 w 181155"/>
              <a:gd name="connsiteY7" fmla="*/ 28514 h 500559"/>
              <a:gd name="connsiteX8" fmla="*/ 0 w 181155"/>
              <a:gd name="connsiteY8" fmla="*/ 0 h 500559"/>
              <a:gd name="connsiteX0" fmla="*/ 76200 w 181155"/>
              <a:gd name="connsiteY0" fmla="*/ 467592 h 467592"/>
              <a:gd name="connsiteX1" fmla="*/ 95250 w 181155"/>
              <a:gd name="connsiteY1" fmla="*/ 438646 h 467592"/>
              <a:gd name="connsiteX2" fmla="*/ 154781 w 181155"/>
              <a:gd name="connsiteY2" fmla="*/ 364827 h 467592"/>
              <a:gd name="connsiteX3" fmla="*/ 180975 w 181155"/>
              <a:gd name="connsiteY3" fmla="*/ 243384 h 467592"/>
              <a:gd name="connsiteX4" fmla="*/ 164306 w 181155"/>
              <a:gd name="connsiteY4" fmla="*/ 158278 h 467592"/>
              <a:gd name="connsiteX5" fmla="*/ 126206 w 181155"/>
              <a:gd name="connsiteY5" fmla="*/ 85230 h 467592"/>
              <a:gd name="connsiteX6" fmla="*/ 59532 w 181155"/>
              <a:gd name="connsiteY6" fmla="*/ 28514 h 467592"/>
              <a:gd name="connsiteX7" fmla="*/ 0 w 181155"/>
              <a:gd name="connsiteY7" fmla="*/ 0 h 467592"/>
              <a:gd name="connsiteX0" fmla="*/ 80962 w 181155"/>
              <a:gd name="connsiteY0" fmla="*/ 492023 h 492023"/>
              <a:gd name="connsiteX1" fmla="*/ 95250 w 181155"/>
              <a:gd name="connsiteY1" fmla="*/ 438646 h 492023"/>
              <a:gd name="connsiteX2" fmla="*/ 154781 w 181155"/>
              <a:gd name="connsiteY2" fmla="*/ 364827 h 492023"/>
              <a:gd name="connsiteX3" fmla="*/ 180975 w 181155"/>
              <a:gd name="connsiteY3" fmla="*/ 243384 h 492023"/>
              <a:gd name="connsiteX4" fmla="*/ 164306 w 181155"/>
              <a:gd name="connsiteY4" fmla="*/ 158278 h 492023"/>
              <a:gd name="connsiteX5" fmla="*/ 126206 w 181155"/>
              <a:gd name="connsiteY5" fmla="*/ 85230 h 492023"/>
              <a:gd name="connsiteX6" fmla="*/ 59532 w 181155"/>
              <a:gd name="connsiteY6" fmla="*/ 28514 h 492023"/>
              <a:gd name="connsiteX7" fmla="*/ 0 w 181155"/>
              <a:gd name="connsiteY7" fmla="*/ 0 h 492023"/>
              <a:gd name="connsiteX0" fmla="*/ 80962 w 181155"/>
              <a:gd name="connsiteY0" fmla="*/ 492023 h 492023"/>
              <a:gd name="connsiteX1" fmla="*/ 109537 w 181155"/>
              <a:gd name="connsiteY1" fmla="*/ 445976 h 492023"/>
              <a:gd name="connsiteX2" fmla="*/ 154781 w 181155"/>
              <a:gd name="connsiteY2" fmla="*/ 364827 h 492023"/>
              <a:gd name="connsiteX3" fmla="*/ 180975 w 181155"/>
              <a:gd name="connsiteY3" fmla="*/ 243384 h 492023"/>
              <a:gd name="connsiteX4" fmla="*/ 164306 w 181155"/>
              <a:gd name="connsiteY4" fmla="*/ 158278 h 492023"/>
              <a:gd name="connsiteX5" fmla="*/ 126206 w 181155"/>
              <a:gd name="connsiteY5" fmla="*/ 85230 h 492023"/>
              <a:gd name="connsiteX6" fmla="*/ 59532 w 181155"/>
              <a:gd name="connsiteY6" fmla="*/ 28514 h 492023"/>
              <a:gd name="connsiteX7" fmla="*/ 0 w 181155"/>
              <a:gd name="connsiteY7" fmla="*/ 0 h 492023"/>
              <a:gd name="connsiteX0" fmla="*/ 80962 w 181155"/>
              <a:gd name="connsiteY0" fmla="*/ 492023 h 492023"/>
              <a:gd name="connsiteX1" fmla="*/ 116681 w 181155"/>
              <a:gd name="connsiteY1" fmla="*/ 445976 h 492023"/>
              <a:gd name="connsiteX2" fmla="*/ 154781 w 181155"/>
              <a:gd name="connsiteY2" fmla="*/ 364827 h 492023"/>
              <a:gd name="connsiteX3" fmla="*/ 180975 w 181155"/>
              <a:gd name="connsiteY3" fmla="*/ 243384 h 492023"/>
              <a:gd name="connsiteX4" fmla="*/ 164306 w 181155"/>
              <a:gd name="connsiteY4" fmla="*/ 158278 h 492023"/>
              <a:gd name="connsiteX5" fmla="*/ 126206 w 181155"/>
              <a:gd name="connsiteY5" fmla="*/ 85230 h 492023"/>
              <a:gd name="connsiteX6" fmla="*/ 59532 w 181155"/>
              <a:gd name="connsiteY6" fmla="*/ 28514 h 492023"/>
              <a:gd name="connsiteX7" fmla="*/ 0 w 181155"/>
              <a:gd name="connsiteY7" fmla="*/ 0 h 492023"/>
              <a:gd name="connsiteX0" fmla="*/ 80962 w 176498"/>
              <a:gd name="connsiteY0" fmla="*/ 492023 h 492023"/>
              <a:gd name="connsiteX1" fmla="*/ 116681 w 176498"/>
              <a:gd name="connsiteY1" fmla="*/ 445976 h 492023"/>
              <a:gd name="connsiteX2" fmla="*/ 154781 w 176498"/>
              <a:gd name="connsiteY2" fmla="*/ 364827 h 492023"/>
              <a:gd name="connsiteX3" fmla="*/ 176212 w 176498"/>
              <a:gd name="connsiteY3" fmla="*/ 248270 h 492023"/>
              <a:gd name="connsiteX4" fmla="*/ 164306 w 176498"/>
              <a:gd name="connsiteY4" fmla="*/ 158278 h 492023"/>
              <a:gd name="connsiteX5" fmla="*/ 126206 w 176498"/>
              <a:gd name="connsiteY5" fmla="*/ 85230 h 492023"/>
              <a:gd name="connsiteX6" fmla="*/ 59532 w 176498"/>
              <a:gd name="connsiteY6" fmla="*/ 28514 h 492023"/>
              <a:gd name="connsiteX7" fmla="*/ 0 w 176498"/>
              <a:gd name="connsiteY7" fmla="*/ 0 h 492023"/>
              <a:gd name="connsiteX0" fmla="*/ 78581 w 176498"/>
              <a:gd name="connsiteY0" fmla="*/ 501795 h 501795"/>
              <a:gd name="connsiteX1" fmla="*/ 116681 w 176498"/>
              <a:gd name="connsiteY1" fmla="*/ 445976 h 501795"/>
              <a:gd name="connsiteX2" fmla="*/ 154781 w 176498"/>
              <a:gd name="connsiteY2" fmla="*/ 364827 h 501795"/>
              <a:gd name="connsiteX3" fmla="*/ 176212 w 176498"/>
              <a:gd name="connsiteY3" fmla="*/ 248270 h 501795"/>
              <a:gd name="connsiteX4" fmla="*/ 164306 w 176498"/>
              <a:gd name="connsiteY4" fmla="*/ 158278 h 501795"/>
              <a:gd name="connsiteX5" fmla="*/ 126206 w 176498"/>
              <a:gd name="connsiteY5" fmla="*/ 85230 h 501795"/>
              <a:gd name="connsiteX6" fmla="*/ 59532 w 176498"/>
              <a:gd name="connsiteY6" fmla="*/ 28514 h 501795"/>
              <a:gd name="connsiteX7" fmla="*/ 0 w 176498"/>
              <a:gd name="connsiteY7" fmla="*/ 0 h 501795"/>
              <a:gd name="connsiteX0" fmla="*/ 78581 w 176498"/>
              <a:gd name="connsiteY0" fmla="*/ 501795 h 501795"/>
              <a:gd name="connsiteX1" fmla="*/ 119062 w 176498"/>
              <a:gd name="connsiteY1" fmla="*/ 448419 h 501795"/>
              <a:gd name="connsiteX2" fmla="*/ 154781 w 176498"/>
              <a:gd name="connsiteY2" fmla="*/ 364827 h 501795"/>
              <a:gd name="connsiteX3" fmla="*/ 176212 w 176498"/>
              <a:gd name="connsiteY3" fmla="*/ 248270 h 501795"/>
              <a:gd name="connsiteX4" fmla="*/ 164306 w 176498"/>
              <a:gd name="connsiteY4" fmla="*/ 158278 h 501795"/>
              <a:gd name="connsiteX5" fmla="*/ 126206 w 176498"/>
              <a:gd name="connsiteY5" fmla="*/ 85230 h 501795"/>
              <a:gd name="connsiteX6" fmla="*/ 59532 w 176498"/>
              <a:gd name="connsiteY6" fmla="*/ 28514 h 501795"/>
              <a:gd name="connsiteX7" fmla="*/ 0 w 176498"/>
              <a:gd name="connsiteY7" fmla="*/ 0 h 501795"/>
              <a:gd name="connsiteX0" fmla="*/ 78581 w 176304"/>
              <a:gd name="connsiteY0" fmla="*/ 501795 h 501795"/>
              <a:gd name="connsiteX1" fmla="*/ 119062 w 176304"/>
              <a:gd name="connsiteY1" fmla="*/ 448419 h 501795"/>
              <a:gd name="connsiteX2" fmla="*/ 159543 w 176304"/>
              <a:gd name="connsiteY2" fmla="*/ 364827 h 501795"/>
              <a:gd name="connsiteX3" fmla="*/ 176212 w 176304"/>
              <a:gd name="connsiteY3" fmla="*/ 248270 h 501795"/>
              <a:gd name="connsiteX4" fmla="*/ 164306 w 176304"/>
              <a:gd name="connsiteY4" fmla="*/ 158278 h 501795"/>
              <a:gd name="connsiteX5" fmla="*/ 126206 w 176304"/>
              <a:gd name="connsiteY5" fmla="*/ 85230 h 501795"/>
              <a:gd name="connsiteX6" fmla="*/ 59532 w 176304"/>
              <a:gd name="connsiteY6" fmla="*/ 28514 h 501795"/>
              <a:gd name="connsiteX7" fmla="*/ 0 w 176304"/>
              <a:gd name="connsiteY7" fmla="*/ 0 h 501795"/>
              <a:gd name="connsiteX0" fmla="*/ 78581 w 185773"/>
              <a:gd name="connsiteY0" fmla="*/ 501795 h 501795"/>
              <a:gd name="connsiteX1" fmla="*/ 119062 w 185773"/>
              <a:gd name="connsiteY1" fmla="*/ 448419 h 501795"/>
              <a:gd name="connsiteX2" fmla="*/ 159543 w 185773"/>
              <a:gd name="connsiteY2" fmla="*/ 364827 h 501795"/>
              <a:gd name="connsiteX3" fmla="*/ 185737 w 185773"/>
              <a:gd name="connsiteY3" fmla="*/ 248270 h 501795"/>
              <a:gd name="connsiteX4" fmla="*/ 164306 w 185773"/>
              <a:gd name="connsiteY4" fmla="*/ 158278 h 501795"/>
              <a:gd name="connsiteX5" fmla="*/ 126206 w 185773"/>
              <a:gd name="connsiteY5" fmla="*/ 85230 h 501795"/>
              <a:gd name="connsiteX6" fmla="*/ 59532 w 185773"/>
              <a:gd name="connsiteY6" fmla="*/ 28514 h 501795"/>
              <a:gd name="connsiteX7" fmla="*/ 0 w 185773"/>
              <a:gd name="connsiteY7" fmla="*/ 0 h 501795"/>
              <a:gd name="connsiteX0" fmla="*/ 78581 w 178660"/>
              <a:gd name="connsiteY0" fmla="*/ 501795 h 501795"/>
              <a:gd name="connsiteX1" fmla="*/ 119062 w 178660"/>
              <a:gd name="connsiteY1" fmla="*/ 448419 h 501795"/>
              <a:gd name="connsiteX2" fmla="*/ 159543 w 178660"/>
              <a:gd name="connsiteY2" fmla="*/ 364827 h 501795"/>
              <a:gd name="connsiteX3" fmla="*/ 178593 w 178660"/>
              <a:gd name="connsiteY3" fmla="*/ 248270 h 501795"/>
              <a:gd name="connsiteX4" fmla="*/ 164306 w 178660"/>
              <a:gd name="connsiteY4" fmla="*/ 158278 h 501795"/>
              <a:gd name="connsiteX5" fmla="*/ 126206 w 178660"/>
              <a:gd name="connsiteY5" fmla="*/ 85230 h 501795"/>
              <a:gd name="connsiteX6" fmla="*/ 59532 w 178660"/>
              <a:gd name="connsiteY6" fmla="*/ 28514 h 501795"/>
              <a:gd name="connsiteX7" fmla="*/ 0 w 178660"/>
              <a:gd name="connsiteY7" fmla="*/ 0 h 501795"/>
              <a:gd name="connsiteX0" fmla="*/ 85725 w 185804"/>
              <a:gd name="connsiteY0" fmla="*/ 511567 h 511567"/>
              <a:gd name="connsiteX1" fmla="*/ 126206 w 185804"/>
              <a:gd name="connsiteY1" fmla="*/ 458191 h 511567"/>
              <a:gd name="connsiteX2" fmla="*/ 166687 w 185804"/>
              <a:gd name="connsiteY2" fmla="*/ 374599 h 511567"/>
              <a:gd name="connsiteX3" fmla="*/ 185737 w 185804"/>
              <a:gd name="connsiteY3" fmla="*/ 258042 h 511567"/>
              <a:gd name="connsiteX4" fmla="*/ 171450 w 185804"/>
              <a:gd name="connsiteY4" fmla="*/ 168050 h 511567"/>
              <a:gd name="connsiteX5" fmla="*/ 133350 w 185804"/>
              <a:gd name="connsiteY5" fmla="*/ 95002 h 511567"/>
              <a:gd name="connsiteX6" fmla="*/ 66676 w 185804"/>
              <a:gd name="connsiteY6" fmla="*/ 38286 h 511567"/>
              <a:gd name="connsiteX7" fmla="*/ 0 w 185804"/>
              <a:gd name="connsiteY7" fmla="*/ 0 h 511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5804" h="511567">
                <a:moveTo>
                  <a:pt x="85725" y="511567"/>
                </a:moveTo>
                <a:cubicBezTo>
                  <a:pt x="84931" y="501248"/>
                  <a:pt x="112712" y="481019"/>
                  <a:pt x="126206" y="458191"/>
                </a:cubicBezTo>
                <a:cubicBezTo>
                  <a:pt x="139700" y="435363"/>
                  <a:pt x="156765" y="407957"/>
                  <a:pt x="166687" y="374599"/>
                </a:cubicBezTo>
                <a:cubicBezTo>
                  <a:pt x="176609" y="341241"/>
                  <a:pt x="184943" y="292467"/>
                  <a:pt x="185737" y="258042"/>
                </a:cubicBezTo>
                <a:cubicBezTo>
                  <a:pt x="186531" y="223617"/>
                  <a:pt x="180181" y="195223"/>
                  <a:pt x="171450" y="168050"/>
                </a:cubicBezTo>
                <a:cubicBezTo>
                  <a:pt x="162719" y="140877"/>
                  <a:pt x="138509" y="108893"/>
                  <a:pt x="133350" y="95002"/>
                </a:cubicBezTo>
                <a:cubicBezTo>
                  <a:pt x="128191" y="81111"/>
                  <a:pt x="88901" y="54120"/>
                  <a:pt x="66676" y="38286"/>
                </a:cubicBezTo>
                <a:cubicBezTo>
                  <a:pt x="44451" y="22452"/>
                  <a:pt x="5159" y="5953"/>
                  <a:pt x="0" y="0"/>
                </a:cubicBezTo>
              </a:path>
            </a:pathLst>
          </a:custGeom>
          <a:noFill/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1" name="Полилиния 140"/>
          <p:cNvSpPr/>
          <p:nvPr/>
        </p:nvSpPr>
        <p:spPr>
          <a:xfrm>
            <a:off x="7784463" y="4420805"/>
            <a:ext cx="245123" cy="66250"/>
          </a:xfrm>
          <a:custGeom>
            <a:avLst/>
            <a:gdLst>
              <a:gd name="connsiteX0" fmla="*/ 307181 w 307181"/>
              <a:gd name="connsiteY0" fmla="*/ 4802 h 71477"/>
              <a:gd name="connsiteX1" fmla="*/ 219075 w 307181"/>
              <a:gd name="connsiteY1" fmla="*/ 40 h 71477"/>
              <a:gd name="connsiteX2" fmla="*/ 140494 w 307181"/>
              <a:gd name="connsiteY2" fmla="*/ 7184 h 71477"/>
              <a:gd name="connsiteX3" fmla="*/ 50006 w 307181"/>
              <a:gd name="connsiteY3" fmla="*/ 28615 h 71477"/>
              <a:gd name="connsiteX4" fmla="*/ 0 w 307181"/>
              <a:gd name="connsiteY4" fmla="*/ 71477 h 71477"/>
              <a:gd name="connsiteX0" fmla="*/ 307181 w 307181"/>
              <a:gd name="connsiteY0" fmla="*/ 4802 h 71477"/>
              <a:gd name="connsiteX1" fmla="*/ 219075 w 307181"/>
              <a:gd name="connsiteY1" fmla="*/ 40 h 71477"/>
              <a:gd name="connsiteX2" fmla="*/ 140494 w 307181"/>
              <a:gd name="connsiteY2" fmla="*/ 7184 h 71477"/>
              <a:gd name="connsiteX3" fmla="*/ 52387 w 307181"/>
              <a:gd name="connsiteY3" fmla="*/ 40522 h 71477"/>
              <a:gd name="connsiteX4" fmla="*/ 0 w 307181"/>
              <a:gd name="connsiteY4" fmla="*/ 71477 h 71477"/>
              <a:gd name="connsiteX0" fmla="*/ 307181 w 307181"/>
              <a:gd name="connsiteY0" fmla="*/ 5008 h 71683"/>
              <a:gd name="connsiteX1" fmla="*/ 219075 w 307181"/>
              <a:gd name="connsiteY1" fmla="*/ 246 h 71683"/>
              <a:gd name="connsiteX2" fmla="*/ 150019 w 307181"/>
              <a:gd name="connsiteY2" fmla="*/ 12152 h 71683"/>
              <a:gd name="connsiteX3" fmla="*/ 52387 w 307181"/>
              <a:gd name="connsiteY3" fmla="*/ 40728 h 71683"/>
              <a:gd name="connsiteX4" fmla="*/ 0 w 307181"/>
              <a:gd name="connsiteY4" fmla="*/ 71683 h 71683"/>
              <a:gd name="connsiteX0" fmla="*/ 307181 w 307181"/>
              <a:gd name="connsiteY0" fmla="*/ 7303 h 73978"/>
              <a:gd name="connsiteX1" fmla="*/ 216694 w 307181"/>
              <a:gd name="connsiteY1" fmla="*/ 160 h 73978"/>
              <a:gd name="connsiteX2" fmla="*/ 150019 w 307181"/>
              <a:gd name="connsiteY2" fmla="*/ 14447 h 73978"/>
              <a:gd name="connsiteX3" fmla="*/ 52387 w 307181"/>
              <a:gd name="connsiteY3" fmla="*/ 43023 h 73978"/>
              <a:gd name="connsiteX4" fmla="*/ 0 w 307181"/>
              <a:gd name="connsiteY4" fmla="*/ 73978 h 73978"/>
              <a:gd name="connsiteX0" fmla="*/ 307181 w 307181"/>
              <a:gd name="connsiteY0" fmla="*/ 7696 h 74371"/>
              <a:gd name="connsiteX1" fmla="*/ 216694 w 307181"/>
              <a:gd name="connsiteY1" fmla="*/ 553 h 74371"/>
              <a:gd name="connsiteX2" fmla="*/ 147638 w 307181"/>
              <a:gd name="connsiteY2" fmla="*/ 5315 h 74371"/>
              <a:gd name="connsiteX3" fmla="*/ 52387 w 307181"/>
              <a:gd name="connsiteY3" fmla="*/ 43416 h 74371"/>
              <a:gd name="connsiteX4" fmla="*/ 0 w 307181"/>
              <a:gd name="connsiteY4" fmla="*/ 74371 h 74371"/>
              <a:gd name="connsiteX0" fmla="*/ 307181 w 307181"/>
              <a:gd name="connsiteY0" fmla="*/ 11952 h 78627"/>
              <a:gd name="connsiteX1" fmla="*/ 226219 w 307181"/>
              <a:gd name="connsiteY1" fmla="*/ 47 h 78627"/>
              <a:gd name="connsiteX2" fmla="*/ 147638 w 307181"/>
              <a:gd name="connsiteY2" fmla="*/ 9571 h 78627"/>
              <a:gd name="connsiteX3" fmla="*/ 52387 w 307181"/>
              <a:gd name="connsiteY3" fmla="*/ 47672 h 78627"/>
              <a:gd name="connsiteX4" fmla="*/ 0 w 307181"/>
              <a:gd name="connsiteY4" fmla="*/ 78627 h 78627"/>
              <a:gd name="connsiteX0" fmla="*/ 309562 w 309562"/>
              <a:gd name="connsiteY0" fmla="*/ 7165 h 78603"/>
              <a:gd name="connsiteX1" fmla="*/ 226219 w 309562"/>
              <a:gd name="connsiteY1" fmla="*/ 23 h 78603"/>
              <a:gd name="connsiteX2" fmla="*/ 147638 w 309562"/>
              <a:gd name="connsiteY2" fmla="*/ 9547 h 78603"/>
              <a:gd name="connsiteX3" fmla="*/ 52387 w 309562"/>
              <a:gd name="connsiteY3" fmla="*/ 47648 h 78603"/>
              <a:gd name="connsiteX4" fmla="*/ 0 w 309562"/>
              <a:gd name="connsiteY4" fmla="*/ 78603 h 78603"/>
              <a:gd name="connsiteX0" fmla="*/ 309562 w 309562"/>
              <a:gd name="connsiteY0" fmla="*/ 9282 h 80720"/>
              <a:gd name="connsiteX1" fmla="*/ 226219 w 309562"/>
              <a:gd name="connsiteY1" fmla="*/ 2140 h 80720"/>
              <a:gd name="connsiteX2" fmla="*/ 157163 w 309562"/>
              <a:gd name="connsiteY2" fmla="*/ 4521 h 80720"/>
              <a:gd name="connsiteX3" fmla="*/ 52387 w 309562"/>
              <a:gd name="connsiteY3" fmla="*/ 49765 h 80720"/>
              <a:gd name="connsiteX4" fmla="*/ 0 w 309562"/>
              <a:gd name="connsiteY4" fmla="*/ 80720 h 80720"/>
              <a:gd name="connsiteX0" fmla="*/ 309562 w 309562"/>
              <a:gd name="connsiteY0" fmla="*/ 14489 h 85927"/>
              <a:gd name="connsiteX1" fmla="*/ 226219 w 309562"/>
              <a:gd name="connsiteY1" fmla="*/ 203 h 85927"/>
              <a:gd name="connsiteX2" fmla="*/ 157163 w 309562"/>
              <a:gd name="connsiteY2" fmla="*/ 9728 h 85927"/>
              <a:gd name="connsiteX3" fmla="*/ 52387 w 309562"/>
              <a:gd name="connsiteY3" fmla="*/ 54972 h 85927"/>
              <a:gd name="connsiteX4" fmla="*/ 0 w 309562"/>
              <a:gd name="connsiteY4" fmla="*/ 85927 h 85927"/>
              <a:gd name="connsiteX0" fmla="*/ 309562 w 309562"/>
              <a:gd name="connsiteY0" fmla="*/ 14926 h 86364"/>
              <a:gd name="connsiteX1" fmla="*/ 226219 w 309562"/>
              <a:gd name="connsiteY1" fmla="*/ 640 h 86364"/>
              <a:gd name="connsiteX2" fmla="*/ 157163 w 309562"/>
              <a:gd name="connsiteY2" fmla="*/ 10165 h 86364"/>
              <a:gd name="connsiteX3" fmla="*/ 52387 w 309562"/>
              <a:gd name="connsiteY3" fmla="*/ 55409 h 86364"/>
              <a:gd name="connsiteX4" fmla="*/ 0 w 309562"/>
              <a:gd name="connsiteY4" fmla="*/ 86364 h 86364"/>
              <a:gd name="connsiteX0" fmla="*/ 340518 w 340518"/>
              <a:gd name="connsiteY0" fmla="*/ 27164 h 86696"/>
              <a:gd name="connsiteX1" fmla="*/ 226219 w 340518"/>
              <a:gd name="connsiteY1" fmla="*/ 972 h 86696"/>
              <a:gd name="connsiteX2" fmla="*/ 157163 w 340518"/>
              <a:gd name="connsiteY2" fmla="*/ 10497 h 86696"/>
              <a:gd name="connsiteX3" fmla="*/ 52387 w 340518"/>
              <a:gd name="connsiteY3" fmla="*/ 55741 h 86696"/>
              <a:gd name="connsiteX4" fmla="*/ 0 w 340518"/>
              <a:gd name="connsiteY4" fmla="*/ 86696 h 86696"/>
              <a:gd name="connsiteX0" fmla="*/ 340518 w 340518"/>
              <a:gd name="connsiteY0" fmla="*/ 27164 h 86696"/>
              <a:gd name="connsiteX1" fmla="*/ 226219 w 340518"/>
              <a:gd name="connsiteY1" fmla="*/ 972 h 86696"/>
              <a:gd name="connsiteX2" fmla="*/ 157163 w 340518"/>
              <a:gd name="connsiteY2" fmla="*/ 10497 h 86696"/>
              <a:gd name="connsiteX3" fmla="*/ 52387 w 340518"/>
              <a:gd name="connsiteY3" fmla="*/ 55741 h 86696"/>
              <a:gd name="connsiteX4" fmla="*/ 0 w 340518"/>
              <a:gd name="connsiteY4" fmla="*/ 86696 h 86696"/>
              <a:gd name="connsiteX0" fmla="*/ 340518 w 340518"/>
              <a:gd name="connsiteY0" fmla="*/ 33839 h 93371"/>
              <a:gd name="connsiteX1" fmla="*/ 223838 w 340518"/>
              <a:gd name="connsiteY1" fmla="*/ 504 h 93371"/>
              <a:gd name="connsiteX2" fmla="*/ 157163 w 340518"/>
              <a:gd name="connsiteY2" fmla="*/ 17172 h 93371"/>
              <a:gd name="connsiteX3" fmla="*/ 52387 w 340518"/>
              <a:gd name="connsiteY3" fmla="*/ 62416 h 93371"/>
              <a:gd name="connsiteX4" fmla="*/ 0 w 340518"/>
              <a:gd name="connsiteY4" fmla="*/ 93371 h 93371"/>
              <a:gd name="connsiteX0" fmla="*/ 340518 w 340518"/>
              <a:gd name="connsiteY0" fmla="*/ 27164 h 86696"/>
              <a:gd name="connsiteX1" fmla="*/ 233363 w 340518"/>
              <a:gd name="connsiteY1" fmla="*/ 973 h 86696"/>
              <a:gd name="connsiteX2" fmla="*/ 157163 w 340518"/>
              <a:gd name="connsiteY2" fmla="*/ 10497 h 86696"/>
              <a:gd name="connsiteX3" fmla="*/ 52387 w 340518"/>
              <a:gd name="connsiteY3" fmla="*/ 55741 h 86696"/>
              <a:gd name="connsiteX4" fmla="*/ 0 w 340518"/>
              <a:gd name="connsiteY4" fmla="*/ 86696 h 86696"/>
              <a:gd name="connsiteX0" fmla="*/ 340518 w 340518"/>
              <a:gd name="connsiteY0" fmla="*/ 23353 h 82885"/>
              <a:gd name="connsiteX1" fmla="*/ 226219 w 340518"/>
              <a:gd name="connsiteY1" fmla="*/ 1925 h 82885"/>
              <a:gd name="connsiteX2" fmla="*/ 157163 w 340518"/>
              <a:gd name="connsiteY2" fmla="*/ 6686 h 82885"/>
              <a:gd name="connsiteX3" fmla="*/ 52387 w 340518"/>
              <a:gd name="connsiteY3" fmla="*/ 51930 h 82885"/>
              <a:gd name="connsiteX4" fmla="*/ 0 w 340518"/>
              <a:gd name="connsiteY4" fmla="*/ 82885 h 82885"/>
              <a:gd name="connsiteX0" fmla="*/ 309562 w 309562"/>
              <a:gd name="connsiteY0" fmla="*/ 13590 h 85028"/>
              <a:gd name="connsiteX1" fmla="*/ 226219 w 309562"/>
              <a:gd name="connsiteY1" fmla="*/ 4068 h 85028"/>
              <a:gd name="connsiteX2" fmla="*/ 157163 w 309562"/>
              <a:gd name="connsiteY2" fmla="*/ 8829 h 85028"/>
              <a:gd name="connsiteX3" fmla="*/ 52387 w 309562"/>
              <a:gd name="connsiteY3" fmla="*/ 54073 h 85028"/>
              <a:gd name="connsiteX4" fmla="*/ 0 w 309562"/>
              <a:gd name="connsiteY4" fmla="*/ 85028 h 85028"/>
              <a:gd name="connsiteX0" fmla="*/ 309562 w 309562"/>
              <a:gd name="connsiteY0" fmla="*/ 17376 h 88814"/>
              <a:gd name="connsiteX1" fmla="*/ 230981 w 309562"/>
              <a:gd name="connsiteY1" fmla="*/ 711 h 88814"/>
              <a:gd name="connsiteX2" fmla="*/ 157163 w 309562"/>
              <a:gd name="connsiteY2" fmla="*/ 12615 h 88814"/>
              <a:gd name="connsiteX3" fmla="*/ 52387 w 309562"/>
              <a:gd name="connsiteY3" fmla="*/ 57859 h 88814"/>
              <a:gd name="connsiteX4" fmla="*/ 0 w 309562"/>
              <a:gd name="connsiteY4" fmla="*/ 88814 h 88814"/>
              <a:gd name="connsiteX0" fmla="*/ 309562 w 309562"/>
              <a:gd name="connsiteY0" fmla="*/ 18072 h 89510"/>
              <a:gd name="connsiteX1" fmla="*/ 230981 w 309562"/>
              <a:gd name="connsiteY1" fmla="*/ 1407 h 89510"/>
              <a:gd name="connsiteX2" fmla="*/ 135732 w 309562"/>
              <a:gd name="connsiteY2" fmla="*/ 22836 h 89510"/>
              <a:gd name="connsiteX3" fmla="*/ 52387 w 309562"/>
              <a:gd name="connsiteY3" fmla="*/ 58555 h 89510"/>
              <a:gd name="connsiteX4" fmla="*/ 0 w 309562"/>
              <a:gd name="connsiteY4" fmla="*/ 89510 h 89510"/>
              <a:gd name="connsiteX0" fmla="*/ 309562 w 309562"/>
              <a:gd name="connsiteY0" fmla="*/ 12282 h 83720"/>
              <a:gd name="connsiteX1" fmla="*/ 221456 w 309562"/>
              <a:gd name="connsiteY1" fmla="*/ 7523 h 83720"/>
              <a:gd name="connsiteX2" fmla="*/ 135732 w 309562"/>
              <a:gd name="connsiteY2" fmla="*/ 17046 h 83720"/>
              <a:gd name="connsiteX3" fmla="*/ 52387 w 309562"/>
              <a:gd name="connsiteY3" fmla="*/ 52765 h 83720"/>
              <a:gd name="connsiteX4" fmla="*/ 0 w 309562"/>
              <a:gd name="connsiteY4" fmla="*/ 83720 h 83720"/>
              <a:gd name="connsiteX0" fmla="*/ 309562 w 309562"/>
              <a:gd name="connsiteY0" fmla="*/ 15254 h 86692"/>
              <a:gd name="connsiteX1" fmla="*/ 216694 w 309562"/>
              <a:gd name="connsiteY1" fmla="*/ 3351 h 86692"/>
              <a:gd name="connsiteX2" fmla="*/ 135732 w 309562"/>
              <a:gd name="connsiteY2" fmla="*/ 20018 h 86692"/>
              <a:gd name="connsiteX3" fmla="*/ 52387 w 309562"/>
              <a:gd name="connsiteY3" fmla="*/ 55737 h 86692"/>
              <a:gd name="connsiteX4" fmla="*/ 0 w 309562"/>
              <a:gd name="connsiteY4" fmla="*/ 86692 h 86692"/>
              <a:gd name="connsiteX0" fmla="*/ 309562 w 309562"/>
              <a:gd name="connsiteY0" fmla="*/ 15254 h 86692"/>
              <a:gd name="connsiteX1" fmla="*/ 214313 w 309562"/>
              <a:gd name="connsiteY1" fmla="*/ 3351 h 86692"/>
              <a:gd name="connsiteX2" fmla="*/ 135732 w 309562"/>
              <a:gd name="connsiteY2" fmla="*/ 20018 h 86692"/>
              <a:gd name="connsiteX3" fmla="*/ 52387 w 309562"/>
              <a:gd name="connsiteY3" fmla="*/ 55737 h 86692"/>
              <a:gd name="connsiteX4" fmla="*/ 0 w 309562"/>
              <a:gd name="connsiteY4" fmla="*/ 86692 h 86692"/>
              <a:gd name="connsiteX0" fmla="*/ 309562 w 309562"/>
              <a:gd name="connsiteY0" fmla="*/ 17724 h 84400"/>
              <a:gd name="connsiteX1" fmla="*/ 214313 w 309562"/>
              <a:gd name="connsiteY1" fmla="*/ 1059 h 84400"/>
              <a:gd name="connsiteX2" fmla="*/ 135732 w 309562"/>
              <a:gd name="connsiteY2" fmla="*/ 17726 h 84400"/>
              <a:gd name="connsiteX3" fmla="*/ 52387 w 309562"/>
              <a:gd name="connsiteY3" fmla="*/ 53445 h 84400"/>
              <a:gd name="connsiteX4" fmla="*/ 0 w 309562"/>
              <a:gd name="connsiteY4" fmla="*/ 84400 h 84400"/>
              <a:gd name="connsiteX0" fmla="*/ 309562 w 309562"/>
              <a:gd name="connsiteY0" fmla="*/ 16665 h 83341"/>
              <a:gd name="connsiteX1" fmla="*/ 214313 w 309562"/>
              <a:gd name="connsiteY1" fmla="*/ 0 h 83341"/>
              <a:gd name="connsiteX2" fmla="*/ 135732 w 309562"/>
              <a:gd name="connsiteY2" fmla="*/ 16667 h 83341"/>
              <a:gd name="connsiteX3" fmla="*/ 52387 w 309562"/>
              <a:gd name="connsiteY3" fmla="*/ 52386 h 83341"/>
              <a:gd name="connsiteX4" fmla="*/ 0 w 309562"/>
              <a:gd name="connsiteY4" fmla="*/ 83341 h 83341"/>
              <a:gd name="connsiteX0" fmla="*/ 311943 w 311943"/>
              <a:gd name="connsiteY0" fmla="*/ 9922 h 83742"/>
              <a:gd name="connsiteX1" fmla="*/ 214313 w 311943"/>
              <a:gd name="connsiteY1" fmla="*/ 401 h 83742"/>
              <a:gd name="connsiteX2" fmla="*/ 135732 w 311943"/>
              <a:gd name="connsiteY2" fmla="*/ 17068 h 83742"/>
              <a:gd name="connsiteX3" fmla="*/ 52387 w 311943"/>
              <a:gd name="connsiteY3" fmla="*/ 52787 h 83742"/>
              <a:gd name="connsiteX4" fmla="*/ 0 w 311943"/>
              <a:gd name="connsiteY4" fmla="*/ 83742 h 83742"/>
              <a:gd name="connsiteX0" fmla="*/ 300037 w 300037"/>
              <a:gd name="connsiteY0" fmla="*/ 9922 h 78979"/>
              <a:gd name="connsiteX1" fmla="*/ 202407 w 300037"/>
              <a:gd name="connsiteY1" fmla="*/ 401 h 78979"/>
              <a:gd name="connsiteX2" fmla="*/ 123826 w 300037"/>
              <a:gd name="connsiteY2" fmla="*/ 17068 h 78979"/>
              <a:gd name="connsiteX3" fmla="*/ 40481 w 300037"/>
              <a:gd name="connsiteY3" fmla="*/ 52787 h 78979"/>
              <a:gd name="connsiteX4" fmla="*/ 0 w 300037"/>
              <a:gd name="connsiteY4" fmla="*/ 78979 h 78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0037" h="78979">
                <a:moveTo>
                  <a:pt x="300037" y="9922"/>
                </a:moveTo>
                <a:cubicBezTo>
                  <a:pt x="260349" y="199"/>
                  <a:pt x="231775" y="-790"/>
                  <a:pt x="202407" y="401"/>
                </a:cubicBezTo>
                <a:cubicBezTo>
                  <a:pt x="173039" y="1592"/>
                  <a:pt x="150814" y="8337"/>
                  <a:pt x="123826" y="17068"/>
                </a:cubicBezTo>
                <a:cubicBezTo>
                  <a:pt x="96838" y="25799"/>
                  <a:pt x="61119" y="42469"/>
                  <a:pt x="40481" y="52787"/>
                </a:cubicBezTo>
                <a:cubicBezTo>
                  <a:pt x="19843" y="63105"/>
                  <a:pt x="13295" y="62905"/>
                  <a:pt x="0" y="78979"/>
                </a:cubicBezTo>
              </a:path>
            </a:pathLst>
          </a:custGeom>
          <a:noFill/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2" name="Полилиния 141"/>
          <p:cNvSpPr/>
          <p:nvPr/>
        </p:nvSpPr>
        <p:spPr>
          <a:xfrm>
            <a:off x="7256475" y="4165943"/>
            <a:ext cx="542758" cy="367552"/>
          </a:xfrm>
          <a:custGeom>
            <a:avLst/>
            <a:gdLst>
              <a:gd name="connsiteX0" fmla="*/ 585812 w 585812"/>
              <a:gd name="connsiteY0" fmla="*/ 188119 h 236089"/>
              <a:gd name="connsiteX1" fmla="*/ 500087 w 585812"/>
              <a:gd name="connsiteY1" fmla="*/ 219075 h 236089"/>
              <a:gd name="connsiteX2" fmla="*/ 319112 w 585812"/>
              <a:gd name="connsiteY2" fmla="*/ 235744 h 236089"/>
              <a:gd name="connsiteX3" fmla="*/ 185762 w 585812"/>
              <a:gd name="connsiteY3" fmla="*/ 226219 h 236089"/>
              <a:gd name="connsiteX4" fmla="*/ 69081 w 585812"/>
              <a:gd name="connsiteY4" fmla="*/ 180975 h 236089"/>
              <a:gd name="connsiteX5" fmla="*/ 21456 w 585812"/>
              <a:gd name="connsiteY5" fmla="*/ 138113 h 236089"/>
              <a:gd name="connsiteX6" fmla="*/ 4787 w 585812"/>
              <a:gd name="connsiteY6" fmla="*/ 83344 h 236089"/>
              <a:gd name="connsiteX7" fmla="*/ 4787 w 585812"/>
              <a:gd name="connsiteY7" fmla="*/ 30957 h 236089"/>
              <a:gd name="connsiteX8" fmla="*/ 25 w 585812"/>
              <a:gd name="connsiteY8" fmla="*/ 0 h 236089"/>
              <a:gd name="connsiteX0" fmla="*/ 585812 w 585812"/>
              <a:gd name="connsiteY0" fmla="*/ 188119 h 245369"/>
              <a:gd name="connsiteX1" fmla="*/ 500087 w 585812"/>
              <a:gd name="connsiteY1" fmla="*/ 219075 h 245369"/>
              <a:gd name="connsiteX2" fmla="*/ 319112 w 585812"/>
              <a:gd name="connsiteY2" fmla="*/ 245269 h 245369"/>
              <a:gd name="connsiteX3" fmla="*/ 185762 w 585812"/>
              <a:gd name="connsiteY3" fmla="*/ 226219 h 245369"/>
              <a:gd name="connsiteX4" fmla="*/ 69081 w 585812"/>
              <a:gd name="connsiteY4" fmla="*/ 180975 h 245369"/>
              <a:gd name="connsiteX5" fmla="*/ 21456 w 585812"/>
              <a:gd name="connsiteY5" fmla="*/ 138113 h 245369"/>
              <a:gd name="connsiteX6" fmla="*/ 4787 w 585812"/>
              <a:gd name="connsiteY6" fmla="*/ 83344 h 245369"/>
              <a:gd name="connsiteX7" fmla="*/ 4787 w 585812"/>
              <a:gd name="connsiteY7" fmla="*/ 30957 h 245369"/>
              <a:gd name="connsiteX8" fmla="*/ 25 w 585812"/>
              <a:gd name="connsiteY8" fmla="*/ 0 h 245369"/>
              <a:gd name="connsiteX0" fmla="*/ 585812 w 585812"/>
              <a:gd name="connsiteY0" fmla="*/ 188119 h 245283"/>
              <a:gd name="connsiteX1" fmla="*/ 464368 w 585812"/>
              <a:gd name="connsiteY1" fmla="*/ 228600 h 245283"/>
              <a:gd name="connsiteX2" fmla="*/ 319112 w 585812"/>
              <a:gd name="connsiteY2" fmla="*/ 245269 h 245283"/>
              <a:gd name="connsiteX3" fmla="*/ 185762 w 585812"/>
              <a:gd name="connsiteY3" fmla="*/ 226219 h 245283"/>
              <a:gd name="connsiteX4" fmla="*/ 69081 w 585812"/>
              <a:gd name="connsiteY4" fmla="*/ 180975 h 245283"/>
              <a:gd name="connsiteX5" fmla="*/ 21456 w 585812"/>
              <a:gd name="connsiteY5" fmla="*/ 138113 h 245283"/>
              <a:gd name="connsiteX6" fmla="*/ 4787 w 585812"/>
              <a:gd name="connsiteY6" fmla="*/ 83344 h 245283"/>
              <a:gd name="connsiteX7" fmla="*/ 4787 w 585812"/>
              <a:gd name="connsiteY7" fmla="*/ 30957 h 245283"/>
              <a:gd name="connsiteX8" fmla="*/ 25 w 585812"/>
              <a:gd name="connsiteY8" fmla="*/ 0 h 245283"/>
              <a:gd name="connsiteX0" fmla="*/ 590575 w 590575"/>
              <a:gd name="connsiteY0" fmla="*/ 173831 h 245290"/>
              <a:gd name="connsiteX1" fmla="*/ 464368 w 590575"/>
              <a:gd name="connsiteY1" fmla="*/ 228600 h 245290"/>
              <a:gd name="connsiteX2" fmla="*/ 319112 w 590575"/>
              <a:gd name="connsiteY2" fmla="*/ 245269 h 245290"/>
              <a:gd name="connsiteX3" fmla="*/ 185762 w 590575"/>
              <a:gd name="connsiteY3" fmla="*/ 226219 h 245290"/>
              <a:gd name="connsiteX4" fmla="*/ 69081 w 590575"/>
              <a:gd name="connsiteY4" fmla="*/ 180975 h 245290"/>
              <a:gd name="connsiteX5" fmla="*/ 21456 w 590575"/>
              <a:gd name="connsiteY5" fmla="*/ 138113 h 245290"/>
              <a:gd name="connsiteX6" fmla="*/ 4787 w 590575"/>
              <a:gd name="connsiteY6" fmla="*/ 83344 h 245290"/>
              <a:gd name="connsiteX7" fmla="*/ 4787 w 590575"/>
              <a:gd name="connsiteY7" fmla="*/ 30957 h 245290"/>
              <a:gd name="connsiteX8" fmla="*/ 25 w 590575"/>
              <a:gd name="connsiteY8" fmla="*/ 0 h 245290"/>
              <a:gd name="connsiteX0" fmla="*/ 590575 w 590575"/>
              <a:gd name="connsiteY0" fmla="*/ 173831 h 245290"/>
              <a:gd name="connsiteX1" fmla="*/ 464368 w 590575"/>
              <a:gd name="connsiteY1" fmla="*/ 228600 h 245290"/>
              <a:gd name="connsiteX2" fmla="*/ 319112 w 590575"/>
              <a:gd name="connsiteY2" fmla="*/ 245269 h 245290"/>
              <a:gd name="connsiteX3" fmla="*/ 185762 w 590575"/>
              <a:gd name="connsiteY3" fmla="*/ 226219 h 245290"/>
              <a:gd name="connsiteX4" fmla="*/ 128612 w 590575"/>
              <a:gd name="connsiteY4" fmla="*/ 200025 h 245290"/>
              <a:gd name="connsiteX5" fmla="*/ 21456 w 590575"/>
              <a:gd name="connsiteY5" fmla="*/ 138113 h 245290"/>
              <a:gd name="connsiteX6" fmla="*/ 4787 w 590575"/>
              <a:gd name="connsiteY6" fmla="*/ 83344 h 245290"/>
              <a:gd name="connsiteX7" fmla="*/ 4787 w 590575"/>
              <a:gd name="connsiteY7" fmla="*/ 30957 h 245290"/>
              <a:gd name="connsiteX8" fmla="*/ 25 w 590575"/>
              <a:gd name="connsiteY8" fmla="*/ 0 h 245290"/>
              <a:gd name="connsiteX0" fmla="*/ 590575 w 590575"/>
              <a:gd name="connsiteY0" fmla="*/ 173831 h 245290"/>
              <a:gd name="connsiteX1" fmla="*/ 464368 w 590575"/>
              <a:gd name="connsiteY1" fmla="*/ 228600 h 245290"/>
              <a:gd name="connsiteX2" fmla="*/ 319112 w 590575"/>
              <a:gd name="connsiteY2" fmla="*/ 245269 h 245290"/>
              <a:gd name="connsiteX3" fmla="*/ 185762 w 590575"/>
              <a:gd name="connsiteY3" fmla="*/ 226219 h 245290"/>
              <a:gd name="connsiteX4" fmla="*/ 128612 w 590575"/>
              <a:gd name="connsiteY4" fmla="*/ 200025 h 245290"/>
              <a:gd name="connsiteX5" fmla="*/ 64318 w 590575"/>
              <a:gd name="connsiteY5" fmla="*/ 114301 h 245290"/>
              <a:gd name="connsiteX6" fmla="*/ 4787 w 590575"/>
              <a:gd name="connsiteY6" fmla="*/ 83344 h 245290"/>
              <a:gd name="connsiteX7" fmla="*/ 4787 w 590575"/>
              <a:gd name="connsiteY7" fmla="*/ 30957 h 245290"/>
              <a:gd name="connsiteX8" fmla="*/ 25 w 590575"/>
              <a:gd name="connsiteY8" fmla="*/ 0 h 245290"/>
              <a:gd name="connsiteX0" fmla="*/ 590902 w 590902"/>
              <a:gd name="connsiteY0" fmla="*/ 173831 h 245290"/>
              <a:gd name="connsiteX1" fmla="*/ 464695 w 590902"/>
              <a:gd name="connsiteY1" fmla="*/ 228600 h 245290"/>
              <a:gd name="connsiteX2" fmla="*/ 319439 w 590902"/>
              <a:gd name="connsiteY2" fmla="*/ 245269 h 245290"/>
              <a:gd name="connsiteX3" fmla="*/ 186089 w 590902"/>
              <a:gd name="connsiteY3" fmla="*/ 226219 h 245290"/>
              <a:gd name="connsiteX4" fmla="*/ 128939 w 590902"/>
              <a:gd name="connsiteY4" fmla="*/ 200025 h 245290"/>
              <a:gd name="connsiteX5" fmla="*/ 64645 w 590902"/>
              <a:gd name="connsiteY5" fmla="*/ 114301 h 245290"/>
              <a:gd name="connsiteX6" fmla="*/ 38452 w 590902"/>
              <a:gd name="connsiteY6" fmla="*/ 45244 h 245290"/>
              <a:gd name="connsiteX7" fmla="*/ 5114 w 590902"/>
              <a:gd name="connsiteY7" fmla="*/ 30957 h 245290"/>
              <a:gd name="connsiteX8" fmla="*/ 352 w 590902"/>
              <a:gd name="connsiteY8" fmla="*/ 0 h 245290"/>
              <a:gd name="connsiteX0" fmla="*/ 597319 w 597319"/>
              <a:gd name="connsiteY0" fmla="*/ 173831 h 245290"/>
              <a:gd name="connsiteX1" fmla="*/ 471112 w 597319"/>
              <a:gd name="connsiteY1" fmla="*/ 228600 h 245290"/>
              <a:gd name="connsiteX2" fmla="*/ 325856 w 597319"/>
              <a:gd name="connsiteY2" fmla="*/ 245269 h 245290"/>
              <a:gd name="connsiteX3" fmla="*/ 192506 w 597319"/>
              <a:gd name="connsiteY3" fmla="*/ 226219 h 245290"/>
              <a:gd name="connsiteX4" fmla="*/ 135356 w 597319"/>
              <a:gd name="connsiteY4" fmla="*/ 200025 h 245290"/>
              <a:gd name="connsiteX5" fmla="*/ 71062 w 597319"/>
              <a:gd name="connsiteY5" fmla="*/ 114301 h 245290"/>
              <a:gd name="connsiteX6" fmla="*/ 44869 w 597319"/>
              <a:gd name="connsiteY6" fmla="*/ 45244 h 245290"/>
              <a:gd name="connsiteX7" fmla="*/ 2006 w 597319"/>
              <a:gd name="connsiteY7" fmla="*/ 28576 h 245290"/>
              <a:gd name="connsiteX8" fmla="*/ 6769 w 597319"/>
              <a:gd name="connsiteY8" fmla="*/ 0 h 245290"/>
              <a:gd name="connsiteX0" fmla="*/ 597319 w 597319"/>
              <a:gd name="connsiteY0" fmla="*/ 173831 h 245290"/>
              <a:gd name="connsiteX1" fmla="*/ 471112 w 597319"/>
              <a:gd name="connsiteY1" fmla="*/ 228600 h 245290"/>
              <a:gd name="connsiteX2" fmla="*/ 325856 w 597319"/>
              <a:gd name="connsiteY2" fmla="*/ 245269 h 245290"/>
              <a:gd name="connsiteX3" fmla="*/ 192506 w 597319"/>
              <a:gd name="connsiteY3" fmla="*/ 226219 h 245290"/>
              <a:gd name="connsiteX4" fmla="*/ 154406 w 597319"/>
              <a:gd name="connsiteY4" fmla="*/ 185737 h 245290"/>
              <a:gd name="connsiteX5" fmla="*/ 71062 w 597319"/>
              <a:gd name="connsiteY5" fmla="*/ 114301 h 245290"/>
              <a:gd name="connsiteX6" fmla="*/ 44869 w 597319"/>
              <a:gd name="connsiteY6" fmla="*/ 45244 h 245290"/>
              <a:gd name="connsiteX7" fmla="*/ 2006 w 597319"/>
              <a:gd name="connsiteY7" fmla="*/ 28576 h 245290"/>
              <a:gd name="connsiteX8" fmla="*/ 6769 w 597319"/>
              <a:gd name="connsiteY8" fmla="*/ 0 h 245290"/>
              <a:gd name="connsiteX0" fmla="*/ 597319 w 597319"/>
              <a:gd name="connsiteY0" fmla="*/ 173831 h 246239"/>
              <a:gd name="connsiteX1" fmla="*/ 471112 w 597319"/>
              <a:gd name="connsiteY1" fmla="*/ 228600 h 246239"/>
              <a:gd name="connsiteX2" fmla="*/ 325856 w 597319"/>
              <a:gd name="connsiteY2" fmla="*/ 245269 h 246239"/>
              <a:gd name="connsiteX3" fmla="*/ 221081 w 597319"/>
              <a:gd name="connsiteY3" fmla="*/ 204788 h 246239"/>
              <a:gd name="connsiteX4" fmla="*/ 154406 w 597319"/>
              <a:gd name="connsiteY4" fmla="*/ 185737 h 246239"/>
              <a:gd name="connsiteX5" fmla="*/ 71062 w 597319"/>
              <a:gd name="connsiteY5" fmla="*/ 114301 h 246239"/>
              <a:gd name="connsiteX6" fmla="*/ 44869 w 597319"/>
              <a:gd name="connsiteY6" fmla="*/ 45244 h 246239"/>
              <a:gd name="connsiteX7" fmla="*/ 2006 w 597319"/>
              <a:gd name="connsiteY7" fmla="*/ 28576 h 246239"/>
              <a:gd name="connsiteX8" fmla="*/ 6769 w 597319"/>
              <a:gd name="connsiteY8" fmla="*/ 0 h 246239"/>
              <a:gd name="connsiteX0" fmla="*/ 597319 w 597319"/>
              <a:gd name="connsiteY0" fmla="*/ 173831 h 245845"/>
              <a:gd name="connsiteX1" fmla="*/ 471112 w 597319"/>
              <a:gd name="connsiteY1" fmla="*/ 228600 h 245845"/>
              <a:gd name="connsiteX2" fmla="*/ 325856 w 597319"/>
              <a:gd name="connsiteY2" fmla="*/ 245269 h 245845"/>
              <a:gd name="connsiteX3" fmla="*/ 221081 w 597319"/>
              <a:gd name="connsiteY3" fmla="*/ 211932 h 245845"/>
              <a:gd name="connsiteX4" fmla="*/ 154406 w 597319"/>
              <a:gd name="connsiteY4" fmla="*/ 185737 h 245845"/>
              <a:gd name="connsiteX5" fmla="*/ 71062 w 597319"/>
              <a:gd name="connsiteY5" fmla="*/ 114301 h 245845"/>
              <a:gd name="connsiteX6" fmla="*/ 44869 w 597319"/>
              <a:gd name="connsiteY6" fmla="*/ 45244 h 245845"/>
              <a:gd name="connsiteX7" fmla="*/ 2006 w 597319"/>
              <a:gd name="connsiteY7" fmla="*/ 28576 h 245845"/>
              <a:gd name="connsiteX8" fmla="*/ 6769 w 597319"/>
              <a:gd name="connsiteY8" fmla="*/ 0 h 245845"/>
              <a:gd name="connsiteX0" fmla="*/ 597319 w 597319"/>
              <a:gd name="connsiteY0" fmla="*/ 173831 h 245281"/>
              <a:gd name="connsiteX1" fmla="*/ 471112 w 597319"/>
              <a:gd name="connsiteY1" fmla="*/ 228600 h 245281"/>
              <a:gd name="connsiteX2" fmla="*/ 325856 w 597319"/>
              <a:gd name="connsiteY2" fmla="*/ 245269 h 245281"/>
              <a:gd name="connsiteX3" fmla="*/ 299663 w 597319"/>
              <a:gd name="connsiteY3" fmla="*/ 230981 h 245281"/>
              <a:gd name="connsiteX4" fmla="*/ 221081 w 597319"/>
              <a:gd name="connsiteY4" fmla="*/ 211932 h 245281"/>
              <a:gd name="connsiteX5" fmla="*/ 154406 w 597319"/>
              <a:gd name="connsiteY5" fmla="*/ 185737 h 245281"/>
              <a:gd name="connsiteX6" fmla="*/ 71062 w 597319"/>
              <a:gd name="connsiteY6" fmla="*/ 114301 h 245281"/>
              <a:gd name="connsiteX7" fmla="*/ 44869 w 597319"/>
              <a:gd name="connsiteY7" fmla="*/ 45244 h 245281"/>
              <a:gd name="connsiteX8" fmla="*/ 2006 w 597319"/>
              <a:gd name="connsiteY8" fmla="*/ 28576 h 245281"/>
              <a:gd name="connsiteX9" fmla="*/ 6769 w 597319"/>
              <a:gd name="connsiteY9" fmla="*/ 0 h 245281"/>
              <a:gd name="connsiteX0" fmla="*/ 597319 w 597319"/>
              <a:gd name="connsiteY0" fmla="*/ 173831 h 247660"/>
              <a:gd name="connsiteX1" fmla="*/ 471112 w 597319"/>
              <a:gd name="connsiteY1" fmla="*/ 228600 h 247660"/>
              <a:gd name="connsiteX2" fmla="*/ 347288 w 597319"/>
              <a:gd name="connsiteY2" fmla="*/ 247650 h 247660"/>
              <a:gd name="connsiteX3" fmla="*/ 299663 w 597319"/>
              <a:gd name="connsiteY3" fmla="*/ 230981 h 247660"/>
              <a:gd name="connsiteX4" fmla="*/ 221081 w 597319"/>
              <a:gd name="connsiteY4" fmla="*/ 211932 h 247660"/>
              <a:gd name="connsiteX5" fmla="*/ 154406 w 597319"/>
              <a:gd name="connsiteY5" fmla="*/ 185737 h 247660"/>
              <a:gd name="connsiteX6" fmla="*/ 71062 w 597319"/>
              <a:gd name="connsiteY6" fmla="*/ 114301 h 247660"/>
              <a:gd name="connsiteX7" fmla="*/ 44869 w 597319"/>
              <a:gd name="connsiteY7" fmla="*/ 45244 h 247660"/>
              <a:gd name="connsiteX8" fmla="*/ 2006 w 597319"/>
              <a:gd name="connsiteY8" fmla="*/ 28576 h 247660"/>
              <a:gd name="connsiteX9" fmla="*/ 6769 w 597319"/>
              <a:gd name="connsiteY9" fmla="*/ 0 h 247660"/>
              <a:gd name="connsiteX0" fmla="*/ 597319 w 597319"/>
              <a:gd name="connsiteY0" fmla="*/ 173831 h 236031"/>
              <a:gd name="connsiteX1" fmla="*/ 471112 w 597319"/>
              <a:gd name="connsiteY1" fmla="*/ 228600 h 236031"/>
              <a:gd name="connsiteX2" fmla="*/ 352050 w 597319"/>
              <a:gd name="connsiteY2" fmla="*/ 235744 h 236031"/>
              <a:gd name="connsiteX3" fmla="*/ 299663 w 597319"/>
              <a:gd name="connsiteY3" fmla="*/ 230981 h 236031"/>
              <a:gd name="connsiteX4" fmla="*/ 221081 w 597319"/>
              <a:gd name="connsiteY4" fmla="*/ 211932 h 236031"/>
              <a:gd name="connsiteX5" fmla="*/ 154406 w 597319"/>
              <a:gd name="connsiteY5" fmla="*/ 185737 h 236031"/>
              <a:gd name="connsiteX6" fmla="*/ 71062 w 597319"/>
              <a:gd name="connsiteY6" fmla="*/ 114301 h 236031"/>
              <a:gd name="connsiteX7" fmla="*/ 44869 w 597319"/>
              <a:gd name="connsiteY7" fmla="*/ 45244 h 236031"/>
              <a:gd name="connsiteX8" fmla="*/ 2006 w 597319"/>
              <a:gd name="connsiteY8" fmla="*/ 28576 h 236031"/>
              <a:gd name="connsiteX9" fmla="*/ 6769 w 597319"/>
              <a:gd name="connsiteY9" fmla="*/ 0 h 236031"/>
              <a:gd name="connsiteX0" fmla="*/ 597319 w 597319"/>
              <a:gd name="connsiteY0" fmla="*/ 173831 h 236031"/>
              <a:gd name="connsiteX1" fmla="*/ 471112 w 597319"/>
              <a:gd name="connsiteY1" fmla="*/ 228600 h 236031"/>
              <a:gd name="connsiteX2" fmla="*/ 352050 w 597319"/>
              <a:gd name="connsiteY2" fmla="*/ 235744 h 236031"/>
              <a:gd name="connsiteX3" fmla="*/ 299663 w 597319"/>
              <a:gd name="connsiteY3" fmla="*/ 230981 h 236031"/>
              <a:gd name="connsiteX4" fmla="*/ 221081 w 597319"/>
              <a:gd name="connsiteY4" fmla="*/ 211932 h 236031"/>
              <a:gd name="connsiteX5" fmla="*/ 154406 w 597319"/>
              <a:gd name="connsiteY5" fmla="*/ 185737 h 236031"/>
              <a:gd name="connsiteX6" fmla="*/ 71062 w 597319"/>
              <a:gd name="connsiteY6" fmla="*/ 114301 h 236031"/>
              <a:gd name="connsiteX7" fmla="*/ 44869 w 597319"/>
              <a:gd name="connsiteY7" fmla="*/ 45244 h 236031"/>
              <a:gd name="connsiteX8" fmla="*/ 2006 w 597319"/>
              <a:gd name="connsiteY8" fmla="*/ 28576 h 236031"/>
              <a:gd name="connsiteX9" fmla="*/ 6769 w 597319"/>
              <a:gd name="connsiteY9" fmla="*/ 0 h 236031"/>
              <a:gd name="connsiteX0" fmla="*/ 595367 w 595367"/>
              <a:gd name="connsiteY0" fmla="*/ 185738 h 247938"/>
              <a:gd name="connsiteX1" fmla="*/ 469160 w 595367"/>
              <a:gd name="connsiteY1" fmla="*/ 240507 h 247938"/>
              <a:gd name="connsiteX2" fmla="*/ 350098 w 595367"/>
              <a:gd name="connsiteY2" fmla="*/ 247651 h 247938"/>
              <a:gd name="connsiteX3" fmla="*/ 297711 w 595367"/>
              <a:gd name="connsiteY3" fmla="*/ 242888 h 247938"/>
              <a:gd name="connsiteX4" fmla="*/ 219129 w 595367"/>
              <a:gd name="connsiteY4" fmla="*/ 223839 h 247938"/>
              <a:gd name="connsiteX5" fmla="*/ 152454 w 595367"/>
              <a:gd name="connsiteY5" fmla="*/ 197644 h 247938"/>
              <a:gd name="connsiteX6" fmla="*/ 69110 w 595367"/>
              <a:gd name="connsiteY6" fmla="*/ 126208 h 247938"/>
              <a:gd name="connsiteX7" fmla="*/ 42917 w 595367"/>
              <a:gd name="connsiteY7" fmla="*/ 57151 h 247938"/>
              <a:gd name="connsiteX8" fmla="*/ 54 w 595367"/>
              <a:gd name="connsiteY8" fmla="*/ 40483 h 247938"/>
              <a:gd name="connsiteX9" fmla="*/ 33392 w 595367"/>
              <a:gd name="connsiteY9" fmla="*/ 0 h 247938"/>
              <a:gd name="connsiteX0" fmla="*/ 602501 w 602501"/>
              <a:gd name="connsiteY0" fmla="*/ 185738 h 247938"/>
              <a:gd name="connsiteX1" fmla="*/ 476294 w 602501"/>
              <a:gd name="connsiteY1" fmla="*/ 240507 h 247938"/>
              <a:gd name="connsiteX2" fmla="*/ 357232 w 602501"/>
              <a:gd name="connsiteY2" fmla="*/ 247651 h 247938"/>
              <a:gd name="connsiteX3" fmla="*/ 304845 w 602501"/>
              <a:gd name="connsiteY3" fmla="*/ 242888 h 247938"/>
              <a:gd name="connsiteX4" fmla="*/ 226263 w 602501"/>
              <a:gd name="connsiteY4" fmla="*/ 223839 h 247938"/>
              <a:gd name="connsiteX5" fmla="*/ 159588 w 602501"/>
              <a:gd name="connsiteY5" fmla="*/ 197644 h 247938"/>
              <a:gd name="connsiteX6" fmla="*/ 76244 w 602501"/>
              <a:gd name="connsiteY6" fmla="*/ 126208 h 247938"/>
              <a:gd name="connsiteX7" fmla="*/ 50051 w 602501"/>
              <a:gd name="connsiteY7" fmla="*/ 57151 h 247938"/>
              <a:gd name="connsiteX8" fmla="*/ 44 w 602501"/>
              <a:gd name="connsiteY8" fmla="*/ 23814 h 247938"/>
              <a:gd name="connsiteX9" fmla="*/ 40526 w 602501"/>
              <a:gd name="connsiteY9" fmla="*/ 0 h 247938"/>
              <a:gd name="connsiteX0" fmla="*/ 602546 w 602546"/>
              <a:gd name="connsiteY0" fmla="*/ 185738 h 247938"/>
              <a:gd name="connsiteX1" fmla="*/ 476339 w 602546"/>
              <a:gd name="connsiteY1" fmla="*/ 240507 h 247938"/>
              <a:gd name="connsiteX2" fmla="*/ 357277 w 602546"/>
              <a:gd name="connsiteY2" fmla="*/ 247651 h 247938"/>
              <a:gd name="connsiteX3" fmla="*/ 304890 w 602546"/>
              <a:gd name="connsiteY3" fmla="*/ 242888 h 247938"/>
              <a:gd name="connsiteX4" fmla="*/ 226308 w 602546"/>
              <a:gd name="connsiteY4" fmla="*/ 223839 h 247938"/>
              <a:gd name="connsiteX5" fmla="*/ 159633 w 602546"/>
              <a:gd name="connsiteY5" fmla="*/ 197644 h 247938"/>
              <a:gd name="connsiteX6" fmla="*/ 76289 w 602546"/>
              <a:gd name="connsiteY6" fmla="*/ 126208 h 247938"/>
              <a:gd name="connsiteX7" fmla="*/ 31046 w 602546"/>
              <a:gd name="connsiteY7" fmla="*/ 66676 h 247938"/>
              <a:gd name="connsiteX8" fmla="*/ 89 w 602546"/>
              <a:gd name="connsiteY8" fmla="*/ 23814 h 247938"/>
              <a:gd name="connsiteX9" fmla="*/ 40571 w 602546"/>
              <a:gd name="connsiteY9" fmla="*/ 0 h 247938"/>
              <a:gd name="connsiteX0" fmla="*/ 602546 w 602546"/>
              <a:gd name="connsiteY0" fmla="*/ 185738 h 247938"/>
              <a:gd name="connsiteX1" fmla="*/ 476339 w 602546"/>
              <a:gd name="connsiteY1" fmla="*/ 240507 h 247938"/>
              <a:gd name="connsiteX2" fmla="*/ 357277 w 602546"/>
              <a:gd name="connsiteY2" fmla="*/ 247651 h 247938"/>
              <a:gd name="connsiteX3" fmla="*/ 304890 w 602546"/>
              <a:gd name="connsiteY3" fmla="*/ 242888 h 247938"/>
              <a:gd name="connsiteX4" fmla="*/ 226308 w 602546"/>
              <a:gd name="connsiteY4" fmla="*/ 223839 h 247938"/>
              <a:gd name="connsiteX5" fmla="*/ 162014 w 602546"/>
              <a:gd name="connsiteY5" fmla="*/ 188119 h 247938"/>
              <a:gd name="connsiteX6" fmla="*/ 76289 w 602546"/>
              <a:gd name="connsiteY6" fmla="*/ 126208 h 247938"/>
              <a:gd name="connsiteX7" fmla="*/ 31046 w 602546"/>
              <a:gd name="connsiteY7" fmla="*/ 66676 h 247938"/>
              <a:gd name="connsiteX8" fmla="*/ 89 w 602546"/>
              <a:gd name="connsiteY8" fmla="*/ 23814 h 247938"/>
              <a:gd name="connsiteX9" fmla="*/ 40571 w 602546"/>
              <a:gd name="connsiteY9" fmla="*/ 0 h 247938"/>
              <a:gd name="connsiteX0" fmla="*/ 602546 w 602546"/>
              <a:gd name="connsiteY0" fmla="*/ 185738 h 247938"/>
              <a:gd name="connsiteX1" fmla="*/ 476339 w 602546"/>
              <a:gd name="connsiteY1" fmla="*/ 240507 h 247938"/>
              <a:gd name="connsiteX2" fmla="*/ 357277 w 602546"/>
              <a:gd name="connsiteY2" fmla="*/ 247651 h 247938"/>
              <a:gd name="connsiteX3" fmla="*/ 304890 w 602546"/>
              <a:gd name="connsiteY3" fmla="*/ 242888 h 247938"/>
              <a:gd name="connsiteX4" fmla="*/ 228689 w 602546"/>
              <a:gd name="connsiteY4" fmla="*/ 216695 h 247938"/>
              <a:gd name="connsiteX5" fmla="*/ 162014 w 602546"/>
              <a:gd name="connsiteY5" fmla="*/ 188119 h 247938"/>
              <a:gd name="connsiteX6" fmla="*/ 76289 w 602546"/>
              <a:gd name="connsiteY6" fmla="*/ 126208 h 247938"/>
              <a:gd name="connsiteX7" fmla="*/ 31046 w 602546"/>
              <a:gd name="connsiteY7" fmla="*/ 66676 h 247938"/>
              <a:gd name="connsiteX8" fmla="*/ 89 w 602546"/>
              <a:gd name="connsiteY8" fmla="*/ 23814 h 247938"/>
              <a:gd name="connsiteX9" fmla="*/ 40571 w 602546"/>
              <a:gd name="connsiteY9" fmla="*/ 0 h 247938"/>
              <a:gd name="connsiteX0" fmla="*/ 602546 w 602546"/>
              <a:gd name="connsiteY0" fmla="*/ 185738 h 247938"/>
              <a:gd name="connsiteX1" fmla="*/ 476339 w 602546"/>
              <a:gd name="connsiteY1" fmla="*/ 240507 h 247938"/>
              <a:gd name="connsiteX2" fmla="*/ 357277 w 602546"/>
              <a:gd name="connsiteY2" fmla="*/ 247651 h 247938"/>
              <a:gd name="connsiteX3" fmla="*/ 304890 w 602546"/>
              <a:gd name="connsiteY3" fmla="*/ 242888 h 247938"/>
              <a:gd name="connsiteX4" fmla="*/ 283459 w 602546"/>
              <a:gd name="connsiteY4" fmla="*/ 226219 h 247938"/>
              <a:gd name="connsiteX5" fmla="*/ 228689 w 602546"/>
              <a:gd name="connsiteY5" fmla="*/ 216695 h 247938"/>
              <a:gd name="connsiteX6" fmla="*/ 162014 w 602546"/>
              <a:gd name="connsiteY6" fmla="*/ 188119 h 247938"/>
              <a:gd name="connsiteX7" fmla="*/ 76289 w 602546"/>
              <a:gd name="connsiteY7" fmla="*/ 126208 h 247938"/>
              <a:gd name="connsiteX8" fmla="*/ 31046 w 602546"/>
              <a:gd name="connsiteY8" fmla="*/ 66676 h 247938"/>
              <a:gd name="connsiteX9" fmla="*/ 89 w 602546"/>
              <a:gd name="connsiteY9" fmla="*/ 23814 h 247938"/>
              <a:gd name="connsiteX10" fmla="*/ 40571 w 602546"/>
              <a:gd name="connsiteY10" fmla="*/ 0 h 247938"/>
              <a:gd name="connsiteX0" fmla="*/ 602546 w 602546"/>
              <a:gd name="connsiteY0" fmla="*/ 185738 h 243786"/>
              <a:gd name="connsiteX1" fmla="*/ 476339 w 602546"/>
              <a:gd name="connsiteY1" fmla="*/ 240507 h 243786"/>
              <a:gd name="connsiteX2" fmla="*/ 357277 w 602546"/>
              <a:gd name="connsiteY2" fmla="*/ 238126 h 243786"/>
              <a:gd name="connsiteX3" fmla="*/ 304890 w 602546"/>
              <a:gd name="connsiteY3" fmla="*/ 242888 h 243786"/>
              <a:gd name="connsiteX4" fmla="*/ 283459 w 602546"/>
              <a:gd name="connsiteY4" fmla="*/ 226219 h 243786"/>
              <a:gd name="connsiteX5" fmla="*/ 228689 w 602546"/>
              <a:gd name="connsiteY5" fmla="*/ 216695 h 243786"/>
              <a:gd name="connsiteX6" fmla="*/ 162014 w 602546"/>
              <a:gd name="connsiteY6" fmla="*/ 188119 h 243786"/>
              <a:gd name="connsiteX7" fmla="*/ 76289 w 602546"/>
              <a:gd name="connsiteY7" fmla="*/ 126208 h 243786"/>
              <a:gd name="connsiteX8" fmla="*/ 31046 w 602546"/>
              <a:gd name="connsiteY8" fmla="*/ 66676 h 243786"/>
              <a:gd name="connsiteX9" fmla="*/ 89 w 602546"/>
              <a:gd name="connsiteY9" fmla="*/ 23814 h 243786"/>
              <a:gd name="connsiteX10" fmla="*/ 40571 w 602546"/>
              <a:gd name="connsiteY10" fmla="*/ 0 h 243786"/>
              <a:gd name="connsiteX0" fmla="*/ 602546 w 602546"/>
              <a:gd name="connsiteY0" fmla="*/ 185738 h 243786"/>
              <a:gd name="connsiteX1" fmla="*/ 476339 w 602546"/>
              <a:gd name="connsiteY1" fmla="*/ 240507 h 243786"/>
              <a:gd name="connsiteX2" fmla="*/ 357277 w 602546"/>
              <a:gd name="connsiteY2" fmla="*/ 238126 h 243786"/>
              <a:gd name="connsiteX3" fmla="*/ 304890 w 602546"/>
              <a:gd name="connsiteY3" fmla="*/ 242888 h 243786"/>
              <a:gd name="connsiteX4" fmla="*/ 271553 w 602546"/>
              <a:gd name="connsiteY4" fmla="*/ 226219 h 243786"/>
              <a:gd name="connsiteX5" fmla="*/ 228689 w 602546"/>
              <a:gd name="connsiteY5" fmla="*/ 216695 h 243786"/>
              <a:gd name="connsiteX6" fmla="*/ 162014 w 602546"/>
              <a:gd name="connsiteY6" fmla="*/ 188119 h 243786"/>
              <a:gd name="connsiteX7" fmla="*/ 76289 w 602546"/>
              <a:gd name="connsiteY7" fmla="*/ 126208 h 243786"/>
              <a:gd name="connsiteX8" fmla="*/ 31046 w 602546"/>
              <a:gd name="connsiteY8" fmla="*/ 66676 h 243786"/>
              <a:gd name="connsiteX9" fmla="*/ 89 w 602546"/>
              <a:gd name="connsiteY9" fmla="*/ 23814 h 243786"/>
              <a:gd name="connsiteX10" fmla="*/ 40571 w 602546"/>
              <a:gd name="connsiteY10" fmla="*/ 0 h 243786"/>
              <a:gd name="connsiteX0" fmla="*/ 602546 w 602546"/>
              <a:gd name="connsiteY0" fmla="*/ 185738 h 243994"/>
              <a:gd name="connsiteX1" fmla="*/ 476339 w 602546"/>
              <a:gd name="connsiteY1" fmla="*/ 240507 h 243994"/>
              <a:gd name="connsiteX2" fmla="*/ 357277 w 602546"/>
              <a:gd name="connsiteY2" fmla="*/ 238126 h 243994"/>
              <a:gd name="connsiteX3" fmla="*/ 314415 w 602546"/>
              <a:gd name="connsiteY3" fmla="*/ 235744 h 243994"/>
              <a:gd name="connsiteX4" fmla="*/ 271553 w 602546"/>
              <a:gd name="connsiteY4" fmla="*/ 226219 h 243994"/>
              <a:gd name="connsiteX5" fmla="*/ 228689 w 602546"/>
              <a:gd name="connsiteY5" fmla="*/ 216695 h 243994"/>
              <a:gd name="connsiteX6" fmla="*/ 162014 w 602546"/>
              <a:gd name="connsiteY6" fmla="*/ 188119 h 243994"/>
              <a:gd name="connsiteX7" fmla="*/ 76289 w 602546"/>
              <a:gd name="connsiteY7" fmla="*/ 126208 h 243994"/>
              <a:gd name="connsiteX8" fmla="*/ 31046 w 602546"/>
              <a:gd name="connsiteY8" fmla="*/ 66676 h 243994"/>
              <a:gd name="connsiteX9" fmla="*/ 89 w 602546"/>
              <a:gd name="connsiteY9" fmla="*/ 23814 h 243994"/>
              <a:gd name="connsiteX10" fmla="*/ 40571 w 602546"/>
              <a:gd name="connsiteY10" fmla="*/ 0 h 243994"/>
              <a:gd name="connsiteX0" fmla="*/ 602546 w 602546"/>
              <a:gd name="connsiteY0" fmla="*/ 185738 h 246908"/>
              <a:gd name="connsiteX1" fmla="*/ 476339 w 602546"/>
              <a:gd name="connsiteY1" fmla="*/ 240507 h 246908"/>
              <a:gd name="connsiteX2" fmla="*/ 354896 w 602546"/>
              <a:gd name="connsiteY2" fmla="*/ 245270 h 246908"/>
              <a:gd name="connsiteX3" fmla="*/ 314415 w 602546"/>
              <a:gd name="connsiteY3" fmla="*/ 235744 h 246908"/>
              <a:gd name="connsiteX4" fmla="*/ 271553 w 602546"/>
              <a:gd name="connsiteY4" fmla="*/ 226219 h 246908"/>
              <a:gd name="connsiteX5" fmla="*/ 228689 w 602546"/>
              <a:gd name="connsiteY5" fmla="*/ 216695 h 246908"/>
              <a:gd name="connsiteX6" fmla="*/ 162014 w 602546"/>
              <a:gd name="connsiteY6" fmla="*/ 188119 h 246908"/>
              <a:gd name="connsiteX7" fmla="*/ 76289 w 602546"/>
              <a:gd name="connsiteY7" fmla="*/ 126208 h 246908"/>
              <a:gd name="connsiteX8" fmla="*/ 31046 w 602546"/>
              <a:gd name="connsiteY8" fmla="*/ 66676 h 246908"/>
              <a:gd name="connsiteX9" fmla="*/ 89 w 602546"/>
              <a:gd name="connsiteY9" fmla="*/ 23814 h 246908"/>
              <a:gd name="connsiteX10" fmla="*/ 40571 w 602546"/>
              <a:gd name="connsiteY10" fmla="*/ 0 h 246908"/>
              <a:gd name="connsiteX0" fmla="*/ 602546 w 602546"/>
              <a:gd name="connsiteY0" fmla="*/ 185738 h 246908"/>
              <a:gd name="connsiteX1" fmla="*/ 462052 w 602546"/>
              <a:gd name="connsiteY1" fmla="*/ 240507 h 246908"/>
              <a:gd name="connsiteX2" fmla="*/ 354896 w 602546"/>
              <a:gd name="connsiteY2" fmla="*/ 245270 h 246908"/>
              <a:gd name="connsiteX3" fmla="*/ 314415 w 602546"/>
              <a:gd name="connsiteY3" fmla="*/ 235744 h 246908"/>
              <a:gd name="connsiteX4" fmla="*/ 271553 w 602546"/>
              <a:gd name="connsiteY4" fmla="*/ 226219 h 246908"/>
              <a:gd name="connsiteX5" fmla="*/ 228689 w 602546"/>
              <a:gd name="connsiteY5" fmla="*/ 216695 h 246908"/>
              <a:gd name="connsiteX6" fmla="*/ 162014 w 602546"/>
              <a:gd name="connsiteY6" fmla="*/ 188119 h 246908"/>
              <a:gd name="connsiteX7" fmla="*/ 76289 w 602546"/>
              <a:gd name="connsiteY7" fmla="*/ 126208 h 246908"/>
              <a:gd name="connsiteX8" fmla="*/ 31046 w 602546"/>
              <a:gd name="connsiteY8" fmla="*/ 66676 h 246908"/>
              <a:gd name="connsiteX9" fmla="*/ 89 w 602546"/>
              <a:gd name="connsiteY9" fmla="*/ 23814 h 246908"/>
              <a:gd name="connsiteX10" fmla="*/ 40571 w 602546"/>
              <a:gd name="connsiteY10" fmla="*/ 0 h 246908"/>
              <a:gd name="connsiteX0" fmla="*/ 602546 w 602546"/>
              <a:gd name="connsiteY0" fmla="*/ 185738 h 246908"/>
              <a:gd name="connsiteX1" fmla="*/ 462052 w 602546"/>
              <a:gd name="connsiteY1" fmla="*/ 240507 h 246908"/>
              <a:gd name="connsiteX2" fmla="*/ 354896 w 602546"/>
              <a:gd name="connsiteY2" fmla="*/ 245270 h 246908"/>
              <a:gd name="connsiteX3" fmla="*/ 314415 w 602546"/>
              <a:gd name="connsiteY3" fmla="*/ 235744 h 246908"/>
              <a:gd name="connsiteX4" fmla="*/ 271553 w 602546"/>
              <a:gd name="connsiteY4" fmla="*/ 235744 h 246908"/>
              <a:gd name="connsiteX5" fmla="*/ 228689 w 602546"/>
              <a:gd name="connsiteY5" fmla="*/ 216695 h 246908"/>
              <a:gd name="connsiteX6" fmla="*/ 162014 w 602546"/>
              <a:gd name="connsiteY6" fmla="*/ 188119 h 246908"/>
              <a:gd name="connsiteX7" fmla="*/ 76289 w 602546"/>
              <a:gd name="connsiteY7" fmla="*/ 126208 h 246908"/>
              <a:gd name="connsiteX8" fmla="*/ 31046 w 602546"/>
              <a:gd name="connsiteY8" fmla="*/ 66676 h 246908"/>
              <a:gd name="connsiteX9" fmla="*/ 89 w 602546"/>
              <a:gd name="connsiteY9" fmla="*/ 23814 h 246908"/>
              <a:gd name="connsiteX10" fmla="*/ 40571 w 602546"/>
              <a:gd name="connsiteY10" fmla="*/ 0 h 246908"/>
              <a:gd name="connsiteX0" fmla="*/ 602546 w 602546"/>
              <a:gd name="connsiteY0" fmla="*/ 185738 h 246908"/>
              <a:gd name="connsiteX1" fmla="*/ 462052 w 602546"/>
              <a:gd name="connsiteY1" fmla="*/ 240507 h 246908"/>
              <a:gd name="connsiteX2" fmla="*/ 354896 w 602546"/>
              <a:gd name="connsiteY2" fmla="*/ 245270 h 246908"/>
              <a:gd name="connsiteX3" fmla="*/ 300127 w 602546"/>
              <a:gd name="connsiteY3" fmla="*/ 235744 h 246908"/>
              <a:gd name="connsiteX4" fmla="*/ 271553 w 602546"/>
              <a:gd name="connsiteY4" fmla="*/ 235744 h 246908"/>
              <a:gd name="connsiteX5" fmla="*/ 228689 w 602546"/>
              <a:gd name="connsiteY5" fmla="*/ 216695 h 246908"/>
              <a:gd name="connsiteX6" fmla="*/ 162014 w 602546"/>
              <a:gd name="connsiteY6" fmla="*/ 188119 h 246908"/>
              <a:gd name="connsiteX7" fmla="*/ 76289 w 602546"/>
              <a:gd name="connsiteY7" fmla="*/ 126208 h 246908"/>
              <a:gd name="connsiteX8" fmla="*/ 31046 w 602546"/>
              <a:gd name="connsiteY8" fmla="*/ 66676 h 246908"/>
              <a:gd name="connsiteX9" fmla="*/ 89 w 602546"/>
              <a:gd name="connsiteY9" fmla="*/ 23814 h 246908"/>
              <a:gd name="connsiteX10" fmla="*/ 40571 w 602546"/>
              <a:gd name="connsiteY10" fmla="*/ 0 h 246908"/>
              <a:gd name="connsiteX0" fmla="*/ 602546 w 602546"/>
              <a:gd name="connsiteY0" fmla="*/ 185738 h 246355"/>
              <a:gd name="connsiteX1" fmla="*/ 462052 w 602546"/>
              <a:gd name="connsiteY1" fmla="*/ 240507 h 246355"/>
              <a:gd name="connsiteX2" fmla="*/ 354896 w 602546"/>
              <a:gd name="connsiteY2" fmla="*/ 245270 h 246355"/>
              <a:gd name="connsiteX3" fmla="*/ 312034 w 602546"/>
              <a:gd name="connsiteY3" fmla="*/ 245269 h 246355"/>
              <a:gd name="connsiteX4" fmla="*/ 271553 w 602546"/>
              <a:gd name="connsiteY4" fmla="*/ 235744 h 246355"/>
              <a:gd name="connsiteX5" fmla="*/ 228689 w 602546"/>
              <a:gd name="connsiteY5" fmla="*/ 216695 h 246355"/>
              <a:gd name="connsiteX6" fmla="*/ 162014 w 602546"/>
              <a:gd name="connsiteY6" fmla="*/ 188119 h 246355"/>
              <a:gd name="connsiteX7" fmla="*/ 76289 w 602546"/>
              <a:gd name="connsiteY7" fmla="*/ 126208 h 246355"/>
              <a:gd name="connsiteX8" fmla="*/ 31046 w 602546"/>
              <a:gd name="connsiteY8" fmla="*/ 66676 h 246355"/>
              <a:gd name="connsiteX9" fmla="*/ 89 w 602546"/>
              <a:gd name="connsiteY9" fmla="*/ 23814 h 246355"/>
              <a:gd name="connsiteX10" fmla="*/ 40571 w 602546"/>
              <a:gd name="connsiteY10" fmla="*/ 0 h 246355"/>
              <a:gd name="connsiteX0" fmla="*/ 602546 w 602546"/>
              <a:gd name="connsiteY0" fmla="*/ 185738 h 246355"/>
              <a:gd name="connsiteX1" fmla="*/ 462052 w 602546"/>
              <a:gd name="connsiteY1" fmla="*/ 240507 h 246355"/>
              <a:gd name="connsiteX2" fmla="*/ 354896 w 602546"/>
              <a:gd name="connsiteY2" fmla="*/ 245270 h 246355"/>
              <a:gd name="connsiteX3" fmla="*/ 312034 w 602546"/>
              <a:gd name="connsiteY3" fmla="*/ 245269 h 246355"/>
              <a:gd name="connsiteX4" fmla="*/ 259647 w 602546"/>
              <a:gd name="connsiteY4" fmla="*/ 235744 h 246355"/>
              <a:gd name="connsiteX5" fmla="*/ 228689 w 602546"/>
              <a:gd name="connsiteY5" fmla="*/ 216695 h 246355"/>
              <a:gd name="connsiteX6" fmla="*/ 162014 w 602546"/>
              <a:gd name="connsiteY6" fmla="*/ 188119 h 246355"/>
              <a:gd name="connsiteX7" fmla="*/ 76289 w 602546"/>
              <a:gd name="connsiteY7" fmla="*/ 126208 h 246355"/>
              <a:gd name="connsiteX8" fmla="*/ 31046 w 602546"/>
              <a:gd name="connsiteY8" fmla="*/ 66676 h 246355"/>
              <a:gd name="connsiteX9" fmla="*/ 89 w 602546"/>
              <a:gd name="connsiteY9" fmla="*/ 23814 h 246355"/>
              <a:gd name="connsiteX10" fmla="*/ 40571 w 602546"/>
              <a:gd name="connsiteY10" fmla="*/ 0 h 246355"/>
              <a:gd name="connsiteX0" fmla="*/ 602546 w 602546"/>
              <a:gd name="connsiteY0" fmla="*/ 185738 h 246355"/>
              <a:gd name="connsiteX1" fmla="*/ 462052 w 602546"/>
              <a:gd name="connsiteY1" fmla="*/ 240507 h 246355"/>
              <a:gd name="connsiteX2" fmla="*/ 354896 w 602546"/>
              <a:gd name="connsiteY2" fmla="*/ 245270 h 246355"/>
              <a:gd name="connsiteX3" fmla="*/ 312034 w 602546"/>
              <a:gd name="connsiteY3" fmla="*/ 245269 h 246355"/>
              <a:gd name="connsiteX4" fmla="*/ 259647 w 602546"/>
              <a:gd name="connsiteY4" fmla="*/ 235744 h 246355"/>
              <a:gd name="connsiteX5" fmla="*/ 219164 w 602546"/>
              <a:gd name="connsiteY5" fmla="*/ 216695 h 246355"/>
              <a:gd name="connsiteX6" fmla="*/ 162014 w 602546"/>
              <a:gd name="connsiteY6" fmla="*/ 188119 h 246355"/>
              <a:gd name="connsiteX7" fmla="*/ 76289 w 602546"/>
              <a:gd name="connsiteY7" fmla="*/ 126208 h 246355"/>
              <a:gd name="connsiteX8" fmla="*/ 31046 w 602546"/>
              <a:gd name="connsiteY8" fmla="*/ 66676 h 246355"/>
              <a:gd name="connsiteX9" fmla="*/ 89 w 602546"/>
              <a:gd name="connsiteY9" fmla="*/ 23814 h 246355"/>
              <a:gd name="connsiteX10" fmla="*/ 40571 w 602546"/>
              <a:gd name="connsiteY10" fmla="*/ 0 h 246355"/>
              <a:gd name="connsiteX0" fmla="*/ 602546 w 602546"/>
              <a:gd name="connsiteY0" fmla="*/ 185738 h 246325"/>
              <a:gd name="connsiteX1" fmla="*/ 462052 w 602546"/>
              <a:gd name="connsiteY1" fmla="*/ 240507 h 246325"/>
              <a:gd name="connsiteX2" fmla="*/ 354896 w 602546"/>
              <a:gd name="connsiteY2" fmla="*/ 245270 h 246325"/>
              <a:gd name="connsiteX3" fmla="*/ 312034 w 602546"/>
              <a:gd name="connsiteY3" fmla="*/ 245269 h 246325"/>
              <a:gd name="connsiteX4" fmla="*/ 285840 w 602546"/>
              <a:gd name="connsiteY4" fmla="*/ 235745 h 246325"/>
              <a:gd name="connsiteX5" fmla="*/ 259647 w 602546"/>
              <a:gd name="connsiteY5" fmla="*/ 235744 h 246325"/>
              <a:gd name="connsiteX6" fmla="*/ 219164 w 602546"/>
              <a:gd name="connsiteY6" fmla="*/ 216695 h 246325"/>
              <a:gd name="connsiteX7" fmla="*/ 162014 w 602546"/>
              <a:gd name="connsiteY7" fmla="*/ 188119 h 246325"/>
              <a:gd name="connsiteX8" fmla="*/ 76289 w 602546"/>
              <a:gd name="connsiteY8" fmla="*/ 126208 h 246325"/>
              <a:gd name="connsiteX9" fmla="*/ 31046 w 602546"/>
              <a:gd name="connsiteY9" fmla="*/ 66676 h 246325"/>
              <a:gd name="connsiteX10" fmla="*/ 89 w 602546"/>
              <a:gd name="connsiteY10" fmla="*/ 23814 h 246325"/>
              <a:gd name="connsiteX11" fmla="*/ 40571 w 602546"/>
              <a:gd name="connsiteY11" fmla="*/ 0 h 246325"/>
              <a:gd name="connsiteX0" fmla="*/ 602546 w 602546"/>
              <a:gd name="connsiteY0" fmla="*/ 185738 h 250115"/>
              <a:gd name="connsiteX1" fmla="*/ 462052 w 602546"/>
              <a:gd name="connsiteY1" fmla="*/ 240507 h 250115"/>
              <a:gd name="connsiteX2" fmla="*/ 364421 w 602546"/>
              <a:gd name="connsiteY2" fmla="*/ 250033 h 250115"/>
              <a:gd name="connsiteX3" fmla="*/ 312034 w 602546"/>
              <a:gd name="connsiteY3" fmla="*/ 245269 h 250115"/>
              <a:gd name="connsiteX4" fmla="*/ 285840 w 602546"/>
              <a:gd name="connsiteY4" fmla="*/ 235745 h 250115"/>
              <a:gd name="connsiteX5" fmla="*/ 259647 w 602546"/>
              <a:gd name="connsiteY5" fmla="*/ 235744 h 250115"/>
              <a:gd name="connsiteX6" fmla="*/ 219164 w 602546"/>
              <a:gd name="connsiteY6" fmla="*/ 216695 h 250115"/>
              <a:gd name="connsiteX7" fmla="*/ 162014 w 602546"/>
              <a:gd name="connsiteY7" fmla="*/ 188119 h 250115"/>
              <a:gd name="connsiteX8" fmla="*/ 76289 w 602546"/>
              <a:gd name="connsiteY8" fmla="*/ 126208 h 250115"/>
              <a:gd name="connsiteX9" fmla="*/ 31046 w 602546"/>
              <a:gd name="connsiteY9" fmla="*/ 66676 h 250115"/>
              <a:gd name="connsiteX10" fmla="*/ 89 w 602546"/>
              <a:gd name="connsiteY10" fmla="*/ 23814 h 250115"/>
              <a:gd name="connsiteX11" fmla="*/ 40571 w 602546"/>
              <a:gd name="connsiteY11" fmla="*/ 0 h 250115"/>
              <a:gd name="connsiteX0" fmla="*/ 602546 w 602546"/>
              <a:gd name="connsiteY0" fmla="*/ 185738 h 250115"/>
              <a:gd name="connsiteX1" fmla="*/ 462052 w 602546"/>
              <a:gd name="connsiteY1" fmla="*/ 240507 h 250115"/>
              <a:gd name="connsiteX2" fmla="*/ 364421 w 602546"/>
              <a:gd name="connsiteY2" fmla="*/ 250033 h 250115"/>
              <a:gd name="connsiteX3" fmla="*/ 312034 w 602546"/>
              <a:gd name="connsiteY3" fmla="*/ 245269 h 250115"/>
              <a:gd name="connsiteX4" fmla="*/ 285840 w 602546"/>
              <a:gd name="connsiteY4" fmla="*/ 235745 h 250115"/>
              <a:gd name="connsiteX5" fmla="*/ 259647 w 602546"/>
              <a:gd name="connsiteY5" fmla="*/ 235744 h 250115"/>
              <a:gd name="connsiteX6" fmla="*/ 219164 w 602546"/>
              <a:gd name="connsiteY6" fmla="*/ 216695 h 250115"/>
              <a:gd name="connsiteX7" fmla="*/ 150108 w 602546"/>
              <a:gd name="connsiteY7" fmla="*/ 188119 h 250115"/>
              <a:gd name="connsiteX8" fmla="*/ 76289 w 602546"/>
              <a:gd name="connsiteY8" fmla="*/ 126208 h 250115"/>
              <a:gd name="connsiteX9" fmla="*/ 31046 w 602546"/>
              <a:gd name="connsiteY9" fmla="*/ 66676 h 250115"/>
              <a:gd name="connsiteX10" fmla="*/ 89 w 602546"/>
              <a:gd name="connsiteY10" fmla="*/ 23814 h 250115"/>
              <a:gd name="connsiteX11" fmla="*/ 40571 w 602546"/>
              <a:gd name="connsiteY11" fmla="*/ 0 h 250115"/>
              <a:gd name="connsiteX0" fmla="*/ 602546 w 602546"/>
              <a:gd name="connsiteY0" fmla="*/ 185738 h 250115"/>
              <a:gd name="connsiteX1" fmla="*/ 462052 w 602546"/>
              <a:gd name="connsiteY1" fmla="*/ 240507 h 250115"/>
              <a:gd name="connsiteX2" fmla="*/ 364421 w 602546"/>
              <a:gd name="connsiteY2" fmla="*/ 250033 h 250115"/>
              <a:gd name="connsiteX3" fmla="*/ 312034 w 602546"/>
              <a:gd name="connsiteY3" fmla="*/ 245269 h 250115"/>
              <a:gd name="connsiteX4" fmla="*/ 285840 w 602546"/>
              <a:gd name="connsiteY4" fmla="*/ 235745 h 250115"/>
              <a:gd name="connsiteX5" fmla="*/ 259647 w 602546"/>
              <a:gd name="connsiteY5" fmla="*/ 235744 h 250115"/>
              <a:gd name="connsiteX6" fmla="*/ 209639 w 602546"/>
              <a:gd name="connsiteY6" fmla="*/ 216695 h 250115"/>
              <a:gd name="connsiteX7" fmla="*/ 150108 w 602546"/>
              <a:gd name="connsiteY7" fmla="*/ 188119 h 250115"/>
              <a:gd name="connsiteX8" fmla="*/ 76289 w 602546"/>
              <a:gd name="connsiteY8" fmla="*/ 126208 h 250115"/>
              <a:gd name="connsiteX9" fmla="*/ 31046 w 602546"/>
              <a:gd name="connsiteY9" fmla="*/ 66676 h 250115"/>
              <a:gd name="connsiteX10" fmla="*/ 89 w 602546"/>
              <a:gd name="connsiteY10" fmla="*/ 23814 h 250115"/>
              <a:gd name="connsiteX11" fmla="*/ 40571 w 602546"/>
              <a:gd name="connsiteY11" fmla="*/ 0 h 250115"/>
              <a:gd name="connsiteX0" fmla="*/ 602546 w 602546"/>
              <a:gd name="connsiteY0" fmla="*/ 185738 h 250115"/>
              <a:gd name="connsiteX1" fmla="*/ 462052 w 602546"/>
              <a:gd name="connsiteY1" fmla="*/ 240507 h 250115"/>
              <a:gd name="connsiteX2" fmla="*/ 364421 w 602546"/>
              <a:gd name="connsiteY2" fmla="*/ 250033 h 250115"/>
              <a:gd name="connsiteX3" fmla="*/ 312034 w 602546"/>
              <a:gd name="connsiteY3" fmla="*/ 245269 h 250115"/>
              <a:gd name="connsiteX4" fmla="*/ 278696 w 602546"/>
              <a:gd name="connsiteY4" fmla="*/ 238126 h 250115"/>
              <a:gd name="connsiteX5" fmla="*/ 259647 w 602546"/>
              <a:gd name="connsiteY5" fmla="*/ 235744 h 250115"/>
              <a:gd name="connsiteX6" fmla="*/ 209639 w 602546"/>
              <a:gd name="connsiteY6" fmla="*/ 216695 h 250115"/>
              <a:gd name="connsiteX7" fmla="*/ 150108 w 602546"/>
              <a:gd name="connsiteY7" fmla="*/ 188119 h 250115"/>
              <a:gd name="connsiteX8" fmla="*/ 76289 w 602546"/>
              <a:gd name="connsiteY8" fmla="*/ 126208 h 250115"/>
              <a:gd name="connsiteX9" fmla="*/ 31046 w 602546"/>
              <a:gd name="connsiteY9" fmla="*/ 66676 h 250115"/>
              <a:gd name="connsiteX10" fmla="*/ 89 w 602546"/>
              <a:gd name="connsiteY10" fmla="*/ 23814 h 250115"/>
              <a:gd name="connsiteX11" fmla="*/ 40571 w 602546"/>
              <a:gd name="connsiteY11" fmla="*/ 0 h 250115"/>
              <a:gd name="connsiteX0" fmla="*/ 602696 w 602696"/>
              <a:gd name="connsiteY0" fmla="*/ 185738 h 250115"/>
              <a:gd name="connsiteX1" fmla="*/ 462202 w 602696"/>
              <a:gd name="connsiteY1" fmla="*/ 240507 h 250115"/>
              <a:gd name="connsiteX2" fmla="*/ 364571 w 602696"/>
              <a:gd name="connsiteY2" fmla="*/ 250033 h 250115"/>
              <a:gd name="connsiteX3" fmla="*/ 312184 w 602696"/>
              <a:gd name="connsiteY3" fmla="*/ 245269 h 250115"/>
              <a:gd name="connsiteX4" fmla="*/ 278846 w 602696"/>
              <a:gd name="connsiteY4" fmla="*/ 238126 h 250115"/>
              <a:gd name="connsiteX5" fmla="*/ 259797 w 602696"/>
              <a:gd name="connsiteY5" fmla="*/ 235744 h 250115"/>
              <a:gd name="connsiteX6" fmla="*/ 209789 w 602696"/>
              <a:gd name="connsiteY6" fmla="*/ 216695 h 250115"/>
              <a:gd name="connsiteX7" fmla="*/ 150258 w 602696"/>
              <a:gd name="connsiteY7" fmla="*/ 188119 h 250115"/>
              <a:gd name="connsiteX8" fmla="*/ 76439 w 602696"/>
              <a:gd name="connsiteY8" fmla="*/ 126208 h 250115"/>
              <a:gd name="connsiteX9" fmla="*/ 26434 w 602696"/>
              <a:gd name="connsiteY9" fmla="*/ 69058 h 250115"/>
              <a:gd name="connsiteX10" fmla="*/ 239 w 602696"/>
              <a:gd name="connsiteY10" fmla="*/ 23814 h 250115"/>
              <a:gd name="connsiteX11" fmla="*/ 40721 w 602696"/>
              <a:gd name="connsiteY11" fmla="*/ 0 h 250115"/>
              <a:gd name="connsiteX0" fmla="*/ 602696 w 602696"/>
              <a:gd name="connsiteY0" fmla="*/ 161924 h 226301"/>
              <a:gd name="connsiteX1" fmla="*/ 462202 w 602696"/>
              <a:gd name="connsiteY1" fmla="*/ 216693 h 226301"/>
              <a:gd name="connsiteX2" fmla="*/ 364571 w 602696"/>
              <a:gd name="connsiteY2" fmla="*/ 226219 h 226301"/>
              <a:gd name="connsiteX3" fmla="*/ 312184 w 602696"/>
              <a:gd name="connsiteY3" fmla="*/ 221455 h 226301"/>
              <a:gd name="connsiteX4" fmla="*/ 278846 w 602696"/>
              <a:gd name="connsiteY4" fmla="*/ 214312 h 226301"/>
              <a:gd name="connsiteX5" fmla="*/ 259797 w 602696"/>
              <a:gd name="connsiteY5" fmla="*/ 211930 h 226301"/>
              <a:gd name="connsiteX6" fmla="*/ 209789 w 602696"/>
              <a:gd name="connsiteY6" fmla="*/ 192881 h 226301"/>
              <a:gd name="connsiteX7" fmla="*/ 150258 w 602696"/>
              <a:gd name="connsiteY7" fmla="*/ 164305 h 226301"/>
              <a:gd name="connsiteX8" fmla="*/ 76439 w 602696"/>
              <a:gd name="connsiteY8" fmla="*/ 102394 h 226301"/>
              <a:gd name="connsiteX9" fmla="*/ 26434 w 602696"/>
              <a:gd name="connsiteY9" fmla="*/ 45244 h 226301"/>
              <a:gd name="connsiteX10" fmla="*/ 239 w 602696"/>
              <a:gd name="connsiteY10" fmla="*/ 0 h 226301"/>
              <a:gd name="connsiteX0" fmla="*/ 607047 w 607047"/>
              <a:gd name="connsiteY0" fmla="*/ 200465 h 226301"/>
              <a:gd name="connsiteX1" fmla="*/ 462202 w 607047"/>
              <a:gd name="connsiteY1" fmla="*/ 216693 h 226301"/>
              <a:gd name="connsiteX2" fmla="*/ 364571 w 607047"/>
              <a:gd name="connsiteY2" fmla="*/ 226219 h 226301"/>
              <a:gd name="connsiteX3" fmla="*/ 312184 w 607047"/>
              <a:gd name="connsiteY3" fmla="*/ 221455 h 226301"/>
              <a:gd name="connsiteX4" fmla="*/ 278846 w 607047"/>
              <a:gd name="connsiteY4" fmla="*/ 214312 h 226301"/>
              <a:gd name="connsiteX5" fmla="*/ 259797 w 607047"/>
              <a:gd name="connsiteY5" fmla="*/ 211930 h 226301"/>
              <a:gd name="connsiteX6" fmla="*/ 209789 w 607047"/>
              <a:gd name="connsiteY6" fmla="*/ 192881 h 226301"/>
              <a:gd name="connsiteX7" fmla="*/ 150258 w 607047"/>
              <a:gd name="connsiteY7" fmla="*/ 164305 h 226301"/>
              <a:gd name="connsiteX8" fmla="*/ 76439 w 607047"/>
              <a:gd name="connsiteY8" fmla="*/ 102394 h 226301"/>
              <a:gd name="connsiteX9" fmla="*/ 26434 w 607047"/>
              <a:gd name="connsiteY9" fmla="*/ 45244 h 226301"/>
              <a:gd name="connsiteX10" fmla="*/ 239 w 607047"/>
              <a:gd name="connsiteY10" fmla="*/ 0 h 226301"/>
              <a:gd name="connsiteX0" fmla="*/ 607047 w 607047"/>
              <a:gd name="connsiteY0" fmla="*/ 200465 h 233315"/>
              <a:gd name="connsiteX1" fmla="*/ 457851 w 607047"/>
              <a:gd name="connsiteY1" fmla="*/ 232109 h 233315"/>
              <a:gd name="connsiteX2" fmla="*/ 364571 w 607047"/>
              <a:gd name="connsiteY2" fmla="*/ 226219 h 233315"/>
              <a:gd name="connsiteX3" fmla="*/ 312184 w 607047"/>
              <a:gd name="connsiteY3" fmla="*/ 221455 h 233315"/>
              <a:gd name="connsiteX4" fmla="*/ 278846 w 607047"/>
              <a:gd name="connsiteY4" fmla="*/ 214312 h 233315"/>
              <a:gd name="connsiteX5" fmla="*/ 259797 w 607047"/>
              <a:gd name="connsiteY5" fmla="*/ 211930 h 233315"/>
              <a:gd name="connsiteX6" fmla="*/ 209789 w 607047"/>
              <a:gd name="connsiteY6" fmla="*/ 192881 h 233315"/>
              <a:gd name="connsiteX7" fmla="*/ 150258 w 607047"/>
              <a:gd name="connsiteY7" fmla="*/ 164305 h 233315"/>
              <a:gd name="connsiteX8" fmla="*/ 76439 w 607047"/>
              <a:gd name="connsiteY8" fmla="*/ 102394 h 233315"/>
              <a:gd name="connsiteX9" fmla="*/ 26434 w 607047"/>
              <a:gd name="connsiteY9" fmla="*/ 45244 h 233315"/>
              <a:gd name="connsiteX10" fmla="*/ 239 w 607047"/>
              <a:gd name="connsiteY10" fmla="*/ 0 h 233315"/>
              <a:gd name="connsiteX0" fmla="*/ 607047 w 607047"/>
              <a:gd name="connsiteY0" fmla="*/ 200465 h 235775"/>
              <a:gd name="connsiteX1" fmla="*/ 457851 w 607047"/>
              <a:gd name="connsiteY1" fmla="*/ 232109 h 235775"/>
              <a:gd name="connsiteX2" fmla="*/ 364571 w 607047"/>
              <a:gd name="connsiteY2" fmla="*/ 233927 h 235775"/>
              <a:gd name="connsiteX3" fmla="*/ 312184 w 607047"/>
              <a:gd name="connsiteY3" fmla="*/ 221455 h 235775"/>
              <a:gd name="connsiteX4" fmla="*/ 278846 w 607047"/>
              <a:gd name="connsiteY4" fmla="*/ 214312 h 235775"/>
              <a:gd name="connsiteX5" fmla="*/ 259797 w 607047"/>
              <a:gd name="connsiteY5" fmla="*/ 211930 h 235775"/>
              <a:gd name="connsiteX6" fmla="*/ 209789 w 607047"/>
              <a:gd name="connsiteY6" fmla="*/ 192881 h 235775"/>
              <a:gd name="connsiteX7" fmla="*/ 150258 w 607047"/>
              <a:gd name="connsiteY7" fmla="*/ 164305 h 235775"/>
              <a:gd name="connsiteX8" fmla="*/ 76439 w 607047"/>
              <a:gd name="connsiteY8" fmla="*/ 102394 h 235775"/>
              <a:gd name="connsiteX9" fmla="*/ 26434 w 607047"/>
              <a:gd name="connsiteY9" fmla="*/ 45244 h 235775"/>
              <a:gd name="connsiteX10" fmla="*/ 239 w 607047"/>
              <a:gd name="connsiteY10" fmla="*/ 0 h 235775"/>
              <a:gd name="connsiteX0" fmla="*/ 607047 w 607047"/>
              <a:gd name="connsiteY0" fmla="*/ 200465 h 235775"/>
              <a:gd name="connsiteX1" fmla="*/ 457851 w 607047"/>
              <a:gd name="connsiteY1" fmla="*/ 232109 h 235775"/>
              <a:gd name="connsiteX2" fmla="*/ 364571 w 607047"/>
              <a:gd name="connsiteY2" fmla="*/ 233927 h 235775"/>
              <a:gd name="connsiteX3" fmla="*/ 312184 w 607047"/>
              <a:gd name="connsiteY3" fmla="*/ 221455 h 235775"/>
              <a:gd name="connsiteX4" fmla="*/ 278846 w 607047"/>
              <a:gd name="connsiteY4" fmla="*/ 216881 h 235775"/>
              <a:gd name="connsiteX5" fmla="*/ 259797 w 607047"/>
              <a:gd name="connsiteY5" fmla="*/ 211930 h 235775"/>
              <a:gd name="connsiteX6" fmla="*/ 209789 w 607047"/>
              <a:gd name="connsiteY6" fmla="*/ 192881 h 235775"/>
              <a:gd name="connsiteX7" fmla="*/ 150258 w 607047"/>
              <a:gd name="connsiteY7" fmla="*/ 164305 h 235775"/>
              <a:gd name="connsiteX8" fmla="*/ 76439 w 607047"/>
              <a:gd name="connsiteY8" fmla="*/ 102394 h 235775"/>
              <a:gd name="connsiteX9" fmla="*/ 26434 w 607047"/>
              <a:gd name="connsiteY9" fmla="*/ 45244 h 235775"/>
              <a:gd name="connsiteX10" fmla="*/ 239 w 607047"/>
              <a:gd name="connsiteY10" fmla="*/ 0 h 235775"/>
              <a:gd name="connsiteX0" fmla="*/ 607047 w 607047"/>
              <a:gd name="connsiteY0" fmla="*/ 200465 h 235775"/>
              <a:gd name="connsiteX1" fmla="*/ 457851 w 607047"/>
              <a:gd name="connsiteY1" fmla="*/ 232109 h 235775"/>
              <a:gd name="connsiteX2" fmla="*/ 364571 w 607047"/>
              <a:gd name="connsiteY2" fmla="*/ 233927 h 235775"/>
              <a:gd name="connsiteX3" fmla="*/ 312184 w 607047"/>
              <a:gd name="connsiteY3" fmla="*/ 221455 h 235775"/>
              <a:gd name="connsiteX4" fmla="*/ 259797 w 607047"/>
              <a:gd name="connsiteY4" fmla="*/ 211930 h 235775"/>
              <a:gd name="connsiteX5" fmla="*/ 209789 w 607047"/>
              <a:gd name="connsiteY5" fmla="*/ 192881 h 235775"/>
              <a:gd name="connsiteX6" fmla="*/ 150258 w 607047"/>
              <a:gd name="connsiteY6" fmla="*/ 164305 h 235775"/>
              <a:gd name="connsiteX7" fmla="*/ 76439 w 607047"/>
              <a:gd name="connsiteY7" fmla="*/ 102394 h 235775"/>
              <a:gd name="connsiteX8" fmla="*/ 26434 w 607047"/>
              <a:gd name="connsiteY8" fmla="*/ 45244 h 235775"/>
              <a:gd name="connsiteX9" fmla="*/ 239 w 607047"/>
              <a:gd name="connsiteY9" fmla="*/ 0 h 235775"/>
              <a:gd name="connsiteX0" fmla="*/ 607047 w 607047"/>
              <a:gd name="connsiteY0" fmla="*/ 200465 h 236391"/>
              <a:gd name="connsiteX1" fmla="*/ 457851 w 607047"/>
              <a:gd name="connsiteY1" fmla="*/ 232109 h 236391"/>
              <a:gd name="connsiteX2" fmla="*/ 364571 w 607047"/>
              <a:gd name="connsiteY2" fmla="*/ 233927 h 236391"/>
              <a:gd name="connsiteX3" fmla="*/ 259797 w 607047"/>
              <a:gd name="connsiteY3" fmla="*/ 211930 h 236391"/>
              <a:gd name="connsiteX4" fmla="*/ 209789 w 607047"/>
              <a:gd name="connsiteY4" fmla="*/ 192881 h 236391"/>
              <a:gd name="connsiteX5" fmla="*/ 150258 w 607047"/>
              <a:gd name="connsiteY5" fmla="*/ 164305 h 236391"/>
              <a:gd name="connsiteX6" fmla="*/ 76439 w 607047"/>
              <a:gd name="connsiteY6" fmla="*/ 102394 h 236391"/>
              <a:gd name="connsiteX7" fmla="*/ 26434 w 607047"/>
              <a:gd name="connsiteY7" fmla="*/ 45244 h 236391"/>
              <a:gd name="connsiteX8" fmla="*/ 239 w 607047"/>
              <a:gd name="connsiteY8" fmla="*/ 0 h 236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07047" h="236391">
                <a:moveTo>
                  <a:pt x="607047" y="200465"/>
                </a:moveTo>
                <a:cubicBezTo>
                  <a:pt x="586409" y="211974"/>
                  <a:pt x="498264" y="226532"/>
                  <a:pt x="457851" y="232109"/>
                </a:cubicBezTo>
                <a:cubicBezTo>
                  <a:pt x="417438" y="237686"/>
                  <a:pt x="397580" y="237290"/>
                  <a:pt x="364571" y="233927"/>
                </a:cubicBezTo>
                <a:cubicBezTo>
                  <a:pt x="331562" y="230564"/>
                  <a:pt x="285594" y="218771"/>
                  <a:pt x="259797" y="211930"/>
                </a:cubicBezTo>
                <a:cubicBezTo>
                  <a:pt x="234000" y="205089"/>
                  <a:pt x="228045" y="200818"/>
                  <a:pt x="209789" y="192881"/>
                </a:cubicBezTo>
                <a:cubicBezTo>
                  <a:pt x="191533" y="184944"/>
                  <a:pt x="172483" y="179386"/>
                  <a:pt x="150258" y="164305"/>
                </a:cubicBezTo>
                <a:cubicBezTo>
                  <a:pt x="128033" y="149224"/>
                  <a:pt x="97076" y="122237"/>
                  <a:pt x="76439" y="102394"/>
                </a:cubicBezTo>
                <a:cubicBezTo>
                  <a:pt x="55802" y="82551"/>
                  <a:pt x="39134" y="62310"/>
                  <a:pt x="26434" y="45244"/>
                </a:cubicBezTo>
                <a:cubicBezTo>
                  <a:pt x="13734" y="28178"/>
                  <a:pt x="-2142" y="11510"/>
                  <a:pt x="239" y="0"/>
                </a:cubicBezTo>
              </a:path>
            </a:pathLst>
          </a:custGeom>
          <a:noFill/>
          <a:ln w="190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3" name="TextBox 16"/>
          <p:cNvSpPr txBox="1">
            <a:spLocks noChangeArrowheads="1"/>
          </p:cNvSpPr>
          <p:nvPr/>
        </p:nvSpPr>
        <p:spPr bwMode="auto">
          <a:xfrm>
            <a:off x="7403887" y="1365197"/>
            <a:ext cx="219322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ru-RU" altLang="ru-RU" sz="1000" b="1" dirty="0" smtClean="0">
                <a:solidFill>
                  <a:schemeClr val="bg1"/>
                </a:solidFill>
                <a:latin typeface="Neo Sans Pro" pitchFamily="34" charset="-52"/>
              </a:rPr>
              <a:t>СЦЕНА НАЦИОНАЛЬНОГО ДНЯ</a:t>
            </a:r>
            <a:endParaRPr lang="ru-RU" altLang="ru-RU" sz="1000" b="1" dirty="0">
              <a:solidFill>
                <a:schemeClr val="bg1"/>
              </a:solidFill>
              <a:latin typeface="Neo Sans Pro" pitchFamily="34" charset="-52"/>
            </a:endParaRPr>
          </a:p>
        </p:txBody>
      </p:sp>
      <p:pic>
        <p:nvPicPr>
          <p:cNvPr id="144" name="Рисунок 14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06" b="6403"/>
          <a:stretch/>
        </p:blipFill>
        <p:spPr>
          <a:xfrm>
            <a:off x="2540706" y="4990094"/>
            <a:ext cx="3383182" cy="1389261"/>
          </a:xfrm>
          <a:prstGeom prst="rect">
            <a:avLst/>
          </a:prstGeom>
        </p:spPr>
      </p:pic>
      <p:cxnSp>
        <p:nvCxnSpPr>
          <p:cNvPr id="145" name="Прямая соединительная линия 144"/>
          <p:cNvCxnSpPr/>
          <p:nvPr/>
        </p:nvCxnSpPr>
        <p:spPr>
          <a:xfrm flipV="1">
            <a:off x="8113190" y="2618834"/>
            <a:ext cx="0" cy="1674003"/>
          </a:xfrm>
          <a:prstGeom prst="line">
            <a:avLst/>
          </a:prstGeom>
          <a:ln w="12700">
            <a:solidFill>
              <a:schemeClr val="accent6">
                <a:lumMod val="7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Соединительная линия уступом 145"/>
          <p:cNvCxnSpPr/>
          <p:nvPr/>
        </p:nvCxnSpPr>
        <p:spPr>
          <a:xfrm flipH="1" flipV="1">
            <a:off x="5766180" y="4638621"/>
            <a:ext cx="2356762" cy="327516"/>
          </a:xfrm>
          <a:prstGeom prst="bentConnector3">
            <a:avLst>
              <a:gd name="adj1" fmla="val 66367"/>
            </a:avLst>
          </a:prstGeom>
          <a:ln w="12700">
            <a:solidFill>
              <a:schemeClr val="accent6">
                <a:lumMod val="7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Соединительная линия уступом 146"/>
          <p:cNvCxnSpPr>
            <a:stCxn id="131" idx="0"/>
          </p:cNvCxnSpPr>
          <p:nvPr/>
        </p:nvCxnSpPr>
        <p:spPr>
          <a:xfrm flipH="1" flipV="1">
            <a:off x="6027001" y="2641521"/>
            <a:ext cx="1170013" cy="1451863"/>
          </a:xfrm>
          <a:prstGeom prst="bentConnector4">
            <a:avLst>
              <a:gd name="adj1" fmla="val -3104"/>
              <a:gd name="adj2" fmla="val 53895"/>
            </a:avLst>
          </a:prstGeom>
          <a:ln w="12700">
            <a:solidFill>
              <a:schemeClr val="accent6">
                <a:lumMod val="7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Соединительная линия уступом 147"/>
          <p:cNvCxnSpPr/>
          <p:nvPr/>
        </p:nvCxnSpPr>
        <p:spPr>
          <a:xfrm rot="10800000" flipV="1">
            <a:off x="5766181" y="4336074"/>
            <a:ext cx="1831573" cy="1576274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6">
                <a:lumMod val="7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Овал 148"/>
          <p:cNvSpPr/>
          <p:nvPr/>
        </p:nvSpPr>
        <p:spPr>
          <a:xfrm>
            <a:off x="8005284" y="4223612"/>
            <a:ext cx="235315" cy="220791"/>
          </a:xfrm>
          <a:prstGeom prst="ellipse">
            <a:avLst/>
          </a:prstGeom>
          <a:solidFill>
            <a:schemeClr val="accent6">
              <a:lumMod val="75000"/>
              <a:alpha val="7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0" name="TextBox 16"/>
          <p:cNvSpPr txBox="1">
            <a:spLocks noChangeArrowheads="1"/>
          </p:cNvSpPr>
          <p:nvPr/>
        </p:nvSpPr>
        <p:spPr bwMode="auto">
          <a:xfrm>
            <a:off x="4732426" y="4644234"/>
            <a:ext cx="119616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000" b="1" dirty="0" smtClean="0">
                <a:solidFill>
                  <a:schemeClr val="bg1"/>
                </a:solidFill>
                <a:latin typeface="Neo Sans Pro" pitchFamily="34" charset="-52"/>
              </a:rPr>
              <a:t>ХОЛЛ ЭНЕРГИИ</a:t>
            </a:r>
            <a:endParaRPr lang="ru-RU" altLang="ru-RU" sz="1000" b="1" dirty="0">
              <a:solidFill>
                <a:schemeClr val="bg1"/>
              </a:solidFill>
              <a:latin typeface="Neo Sans Pro" pitchFamily="34" charset="-52"/>
            </a:endParaRPr>
          </a:p>
        </p:txBody>
      </p:sp>
      <p:sp>
        <p:nvSpPr>
          <p:cNvPr id="151" name="TextBox 16"/>
          <p:cNvSpPr txBox="1">
            <a:spLocks noChangeArrowheads="1"/>
          </p:cNvSpPr>
          <p:nvPr/>
        </p:nvSpPr>
        <p:spPr bwMode="auto">
          <a:xfrm>
            <a:off x="4967949" y="6108673"/>
            <a:ext cx="91082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000" b="1" dirty="0" smtClean="0">
                <a:solidFill>
                  <a:schemeClr val="bg1"/>
                </a:solidFill>
                <a:latin typeface="Neo Sans Pro" pitchFamily="34" charset="-52"/>
              </a:rPr>
              <a:t>АРТ ЦЕНТР</a:t>
            </a:r>
            <a:endParaRPr lang="ru-RU" altLang="ru-RU" sz="1000" b="1" dirty="0">
              <a:solidFill>
                <a:schemeClr val="bg1"/>
              </a:solidFill>
              <a:latin typeface="Neo Sans Pro" pitchFamily="34" charset="-52"/>
            </a:endParaRPr>
          </a:p>
        </p:txBody>
      </p:sp>
      <p:pic>
        <p:nvPicPr>
          <p:cNvPr id="34" name="Изображение 10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8130181" y="-184647"/>
            <a:ext cx="1206500" cy="1511300"/>
          </a:xfrm>
          <a:prstGeom prst="rect">
            <a:avLst/>
          </a:prstGeom>
        </p:spPr>
      </p:pic>
      <p:pic>
        <p:nvPicPr>
          <p:cNvPr id="35" name="Picture 2" descr="BI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6577" y="157540"/>
            <a:ext cx="2915423" cy="78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3770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NU5qkkZkaBYbhp0QdNu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j5nxRBuUy5WTD7INh3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j5nxRBuUy5WTD7INh3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NU5qkkZkaBYbhp0QdN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NU5qkkZkaBYbhp0QdNu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j5nxRBuUy5WTD7INh3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NU5qkkZkaBYbhp0QdN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j5nxRBuUy5WTD7INh3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NU5qkkZkaBYbhp0QdNu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j5nxRBuUy5WTD7INh3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NU5qkkZkaBYbhp0QdN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j5nxRBuUy5WTD7INh3j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j5nxRBuUy5WTD7INh3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NU5qkkZkaBYbhp0QdNu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j5nxRBuUy5WTD7INh3j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NU5qkkZkaBYbhp0QdNu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j5nxRBuUy5WTD7INh3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NU5qkkZkaBYbhp0QdNu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j5nxRBuUy5WTD7INh3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NU5qkkZkaBYbhp0QdN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j5nxRBuUy5WTD7INh3j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NU5qkkZkaBYbhp0QdN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NU5qkkZkaBYbhp0QdNu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j5nxRBuUy5WTD7INh3j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NU5qkkZkaBYbhp0QdNu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j5nxRBuUy5WTD7INh3j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NU5qkkZkaBYbhp0QdN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j5nxRBuUy5WTD7INh3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j5nxRBuUy5WTD7INh3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NU5qkkZkaBYbhp0QdN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j5nxRBuUy5WTD7INh3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NU5qkkZkaBYbhp0QdN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j5nxRBuUy5WTD7INh3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NU5qkkZkaBYbhp0QdNu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120</TotalTime>
  <Words>4464</Words>
  <Application>Microsoft Office PowerPoint</Application>
  <PresentationFormat>Широкоэкранный</PresentationFormat>
  <Paragraphs>829</Paragraphs>
  <Slides>35</Slides>
  <Notes>3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20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5</vt:i4>
      </vt:variant>
    </vt:vector>
  </HeadingPairs>
  <TitlesOfParts>
    <vt:vector size="56" baseType="lpstr">
      <vt:lpstr>MS PGothic</vt:lpstr>
      <vt:lpstr>宋体</vt:lpstr>
      <vt:lpstr>Arial</vt:lpstr>
      <vt:lpstr>Avenir Next Demi Bold</vt:lpstr>
      <vt:lpstr>Calibri</vt:lpstr>
      <vt:lpstr>Calibri Light</vt:lpstr>
      <vt:lpstr>Courier New</vt:lpstr>
      <vt:lpstr>Franklin Gothic Medium Cond</vt:lpstr>
      <vt:lpstr>Gill Sans</vt:lpstr>
      <vt:lpstr>Microsoft JhengHei UI Light</vt:lpstr>
      <vt:lpstr>Neo Sans Pro</vt:lpstr>
      <vt:lpstr>Neo Sans Pro Light</vt:lpstr>
      <vt:lpstr>Neo Sans Pro Medium</vt:lpstr>
      <vt:lpstr>Segoe UI</vt:lpstr>
      <vt:lpstr>StoneSansSemiITC TT</vt:lpstr>
      <vt:lpstr>Tahoma</vt:lpstr>
      <vt:lpstr>Times</vt:lpstr>
      <vt:lpstr>Times New Roman</vt:lpstr>
      <vt:lpstr>Trebuchet MS</vt:lpstr>
      <vt:lpstr>Wingdings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аниел Сержанулы</dc:creator>
  <cp:lastModifiedBy>Даниел Сержанулы</cp:lastModifiedBy>
  <cp:revision>868</cp:revision>
  <cp:lastPrinted>2016-01-12T09:19:51Z</cp:lastPrinted>
  <dcterms:created xsi:type="dcterms:W3CDTF">2015-04-28T02:48:43Z</dcterms:created>
  <dcterms:modified xsi:type="dcterms:W3CDTF">2016-05-27T03:17:35Z</dcterms:modified>
</cp:coreProperties>
</file>